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8"/>
  </p:notesMasterIdLst>
  <p:handoutMasterIdLst>
    <p:handoutMasterId r:id="rId19"/>
  </p:handoutMasterIdLst>
  <p:sldIdLst>
    <p:sldId id="335" r:id="rId5"/>
    <p:sldId id="354" r:id="rId6"/>
    <p:sldId id="358" r:id="rId7"/>
    <p:sldId id="341" r:id="rId8"/>
    <p:sldId id="355" r:id="rId9"/>
    <p:sldId id="356" r:id="rId10"/>
    <p:sldId id="357" r:id="rId11"/>
    <p:sldId id="337" r:id="rId12"/>
    <p:sldId id="348" r:id="rId13"/>
    <p:sldId id="351" r:id="rId14"/>
    <p:sldId id="344" r:id="rId15"/>
    <p:sldId id="372" r:id="rId16"/>
    <p:sldId id="365"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D39CA02-C5B6-BC0A-F7EC-AFDCA255153F}" name="Arpit Varma" initials="AV" userId="S::Arpit.Varma@evalueserve.com::a4f15a54-9d91-4ebd-89be-08cfd480503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dhurima Majumdar" initials="MM" lastIdx="1" clrIdx="0">
    <p:extLst>
      <p:ext uri="{19B8F6BF-5375-455C-9EA6-DF929625EA0E}">
        <p15:presenceInfo xmlns:p15="http://schemas.microsoft.com/office/powerpoint/2012/main" userId="S::Madhurima.Majumdar@evalueserve.com::daaa3904-3c94-4506-be8d-3311c97d6afe" providerId="AD"/>
      </p:ext>
    </p:extLst>
  </p:cmAuthor>
  <p:cmAuthor id="2" name="Evalueserve" initials="EV" lastIdx="6" clrIdx="1">
    <p:extLst>
      <p:ext uri="{19B8F6BF-5375-455C-9EA6-DF929625EA0E}">
        <p15:presenceInfo xmlns:p15="http://schemas.microsoft.com/office/powerpoint/2012/main" userId="Evalueserv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3224D"/>
    <a:srgbClr val="4CB4E7"/>
    <a:srgbClr val="786EAA"/>
    <a:srgbClr val="414042"/>
    <a:srgbClr val="F9F9F9"/>
    <a:srgbClr val="94D2F1"/>
    <a:srgbClr val="BFBFBF"/>
    <a:srgbClr val="1B91CB"/>
    <a:srgbClr val="79A1D7"/>
    <a:srgbClr val="A059B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E25E649-3F16-4E02-A733-19D2CDBF48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471" autoAdjust="0"/>
    <p:restoredTop sz="96357" autoAdjust="0"/>
  </p:normalViewPr>
  <p:slideViewPr>
    <p:cSldViewPr snapToGrid="0">
      <p:cViewPr varScale="1">
        <p:scale>
          <a:sx n="64" d="100"/>
          <a:sy n="64" d="100"/>
        </p:scale>
        <p:origin x="884" y="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roceeds ($Bn)</c:v>
                </c:pt>
              </c:strCache>
            </c:strRef>
          </c:tx>
          <c:spPr>
            <a:solidFill>
              <a:srgbClr val="43224D"/>
            </a:solidFill>
            <a:ln>
              <a:noFill/>
            </a:ln>
            <a:effectLst/>
          </c:spPr>
          <c:invertIfNegative val="0"/>
          <c:dPt>
            <c:idx val="6"/>
            <c:invertIfNegative val="0"/>
            <c:bubble3D val="0"/>
            <c:spPr>
              <a:solidFill>
                <a:srgbClr val="43224D"/>
              </a:solidFill>
              <a:ln>
                <a:noFill/>
              </a:ln>
              <a:effectLst/>
            </c:spPr>
            <c:extLst>
              <c:ext xmlns:c16="http://schemas.microsoft.com/office/drawing/2014/chart" uri="{C3380CC4-5D6E-409C-BE32-E72D297353CC}">
                <c16:uniqueId val="{00000001-7DAF-4DAC-B413-41288E0A4360}"/>
              </c:ext>
            </c:extLst>
          </c:dPt>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3:$A$11</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B$3:$B$11</c:f>
              <c:numCache>
                <c:formatCode>"$"#,##0.0</c:formatCode>
                <c:ptCount val="9"/>
                <c:pt idx="0">
                  <c:v>132.5</c:v>
                </c:pt>
                <c:pt idx="1">
                  <c:v>192.3</c:v>
                </c:pt>
                <c:pt idx="2">
                  <c:v>205.8</c:v>
                </c:pt>
                <c:pt idx="3">
                  <c:v>208.3</c:v>
                </c:pt>
                <c:pt idx="4">
                  <c:v>271.3</c:v>
                </c:pt>
                <c:pt idx="5">
                  <c:v>459.9</c:v>
                </c:pt>
                <c:pt idx="6">
                  <c:v>184.3</c:v>
                </c:pt>
                <c:pt idx="7">
                  <c:v>126.1</c:v>
                </c:pt>
                <c:pt idx="8">
                  <c:v>121.2</c:v>
                </c:pt>
              </c:numCache>
            </c:numRef>
          </c:val>
          <c:extLst>
            <c:ext xmlns:c16="http://schemas.microsoft.com/office/drawing/2014/chart" uri="{C3380CC4-5D6E-409C-BE32-E72D297353CC}">
              <c16:uniqueId val="{00000000-05C6-4F88-9C00-1E4640BC3837}"/>
            </c:ext>
          </c:extLst>
        </c:ser>
        <c:dLbls>
          <c:showLegendKey val="0"/>
          <c:showVal val="0"/>
          <c:showCatName val="0"/>
          <c:showSerName val="0"/>
          <c:showPercent val="0"/>
          <c:showBubbleSize val="0"/>
        </c:dLbls>
        <c:gapWidth val="50"/>
        <c:axId val="803947280"/>
        <c:axId val="803959744"/>
      </c:barChart>
      <c:lineChart>
        <c:grouping val="standard"/>
        <c:varyColors val="0"/>
        <c:ser>
          <c:idx val="1"/>
          <c:order val="1"/>
          <c:tx>
            <c:strRef>
              <c:f>Sheet1!$C$1</c:f>
              <c:strCache>
                <c:ptCount val="1"/>
                <c:pt idx="0">
                  <c:v># of deals</c:v>
                </c:pt>
              </c:strCache>
            </c:strRef>
          </c:tx>
          <c:spPr>
            <a:ln w="28575" cap="rnd">
              <a:solidFill>
                <a:schemeClr val="accent2"/>
              </a:solidFill>
              <a:round/>
            </a:ln>
            <a:effectLst/>
          </c:spPr>
          <c:marker>
            <c:symbol val="none"/>
          </c:marker>
          <c:dLbls>
            <c:dLbl>
              <c:idx val="5"/>
              <c:layout>
                <c:manualLayout>
                  <c:x val="-2.4560537426417003E-2"/>
                  <c:y val="-0.1386726513371998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DAF-4DAC-B413-41288E0A436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3:$A$11</c:f>
              <c:numCache>
                <c:formatCode>General</c:formatCode>
                <c:ptCount val="9"/>
                <c:pt idx="0">
                  <c:v>2016</c:v>
                </c:pt>
                <c:pt idx="1">
                  <c:v>2017</c:v>
                </c:pt>
                <c:pt idx="2">
                  <c:v>2018</c:v>
                </c:pt>
                <c:pt idx="3">
                  <c:v>2019</c:v>
                </c:pt>
                <c:pt idx="4">
                  <c:v>2020</c:v>
                </c:pt>
                <c:pt idx="5">
                  <c:v>2021</c:v>
                </c:pt>
                <c:pt idx="6">
                  <c:v>2022</c:v>
                </c:pt>
                <c:pt idx="7">
                  <c:v>2023</c:v>
                </c:pt>
                <c:pt idx="8">
                  <c:v>2024</c:v>
                </c:pt>
              </c:numCache>
            </c:numRef>
          </c:cat>
          <c:val>
            <c:numRef>
              <c:f>Sheet1!$C$3:$C$11</c:f>
              <c:numCache>
                <c:formatCode>#,##0</c:formatCode>
                <c:ptCount val="9"/>
                <c:pt idx="0">
                  <c:v>1055</c:v>
                </c:pt>
                <c:pt idx="1">
                  <c:v>1714</c:v>
                </c:pt>
                <c:pt idx="2">
                  <c:v>1383</c:v>
                </c:pt>
                <c:pt idx="3">
                  <c:v>1146</c:v>
                </c:pt>
                <c:pt idx="4">
                  <c:v>1452</c:v>
                </c:pt>
                <c:pt idx="5">
                  <c:v>2436</c:v>
                </c:pt>
                <c:pt idx="6">
                  <c:v>1415</c:v>
                </c:pt>
                <c:pt idx="7">
                  <c:v>1351</c:v>
                </c:pt>
                <c:pt idx="8">
                  <c:v>1215</c:v>
                </c:pt>
              </c:numCache>
            </c:numRef>
          </c:val>
          <c:smooth val="1"/>
          <c:extLst>
            <c:ext xmlns:c16="http://schemas.microsoft.com/office/drawing/2014/chart" uri="{C3380CC4-5D6E-409C-BE32-E72D297353CC}">
              <c16:uniqueId val="{00000001-05C6-4F88-9C00-1E4640BC3837}"/>
            </c:ext>
          </c:extLst>
        </c:ser>
        <c:dLbls>
          <c:showLegendKey val="0"/>
          <c:showVal val="0"/>
          <c:showCatName val="0"/>
          <c:showSerName val="0"/>
          <c:showPercent val="0"/>
          <c:showBubbleSize val="0"/>
        </c:dLbls>
        <c:marker val="1"/>
        <c:smooth val="0"/>
        <c:axId val="816400192"/>
        <c:axId val="816399864"/>
      </c:lineChart>
      <c:catAx>
        <c:axId val="803947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803959744"/>
        <c:crosses val="autoZero"/>
        <c:auto val="1"/>
        <c:lblAlgn val="ctr"/>
        <c:lblOffset val="100"/>
        <c:noMultiLvlLbl val="0"/>
      </c:catAx>
      <c:valAx>
        <c:axId val="803959744"/>
        <c:scaling>
          <c:orientation val="minMax"/>
        </c:scaling>
        <c:delete val="0"/>
        <c:axPos val="l"/>
        <c:numFmt formatCode="&quot;$&quot;#,##0.0"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03947280"/>
        <c:crosses val="autoZero"/>
        <c:crossBetween val="between"/>
      </c:valAx>
      <c:valAx>
        <c:axId val="816399864"/>
        <c:scaling>
          <c:orientation val="minMax"/>
          <c:max val="4000"/>
        </c:scaling>
        <c:delete val="0"/>
        <c:axPos val="r"/>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816400192"/>
        <c:crosses val="max"/>
        <c:crossBetween val="between"/>
      </c:valAx>
      <c:catAx>
        <c:axId val="816400192"/>
        <c:scaling>
          <c:orientation val="minMax"/>
        </c:scaling>
        <c:delete val="1"/>
        <c:axPos val="b"/>
        <c:numFmt formatCode="General" sourceLinked="1"/>
        <c:majorTickMark val="out"/>
        <c:minorTickMark val="none"/>
        <c:tickLblPos val="nextTo"/>
        <c:crossAx val="816399864"/>
        <c:crosses val="autoZero"/>
        <c:auto val="1"/>
        <c:lblAlgn val="ctr"/>
        <c:lblOffset val="100"/>
        <c:noMultiLvlLbl val="0"/>
      </c:catAx>
      <c:spPr>
        <a:noFill/>
        <a:ln>
          <a:noFill/>
        </a:ln>
        <a:effectLst/>
      </c:spPr>
    </c:plotArea>
    <c:legend>
      <c:legendPos val="b"/>
      <c:layout>
        <c:manualLayout>
          <c:xMode val="edge"/>
          <c:yMode val="edge"/>
          <c:x val="0.37785002536510437"/>
          <c:y val="0.75678836573380182"/>
          <c:w val="0.24429994926979132"/>
          <c:h val="0.14397071012220961"/>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41404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2"/>
                </a:solidFill>
                <a:latin typeface="+mn-lt"/>
                <a:ea typeface="+mn-ea"/>
                <a:cs typeface="+mn-cs"/>
              </a:defRPr>
            </a:pPr>
            <a:r>
              <a:rPr lang="en-IN" sz="1400" b="1" dirty="0">
                <a:solidFill>
                  <a:schemeClr val="bg2"/>
                </a:solidFill>
              </a:rPr>
              <a:t>Asia-Pacific</a:t>
            </a:r>
          </a:p>
        </c:rich>
      </c:tx>
      <c:layout>
        <c:manualLayout>
          <c:xMode val="edge"/>
          <c:yMode val="edge"/>
          <c:x val="1.7403544378884772E-3"/>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2"/>
              </a:solidFill>
              <a:latin typeface="+mn-lt"/>
              <a:ea typeface="+mn-ea"/>
              <a:cs typeface="+mn-cs"/>
            </a:defRPr>
          </a:pPr>
          <a:endParaRPr lang="en-US"/>
        </a:p>
      </c:txPr>
    </c:title>
    <c:autoTitleDeleted val="0"/>
    <c:plotArea>
      <c:layout>
        <c:manualLayout>
          <c:layoutTarget val="inner"/>
          <c:xMode val="edge"/>
          <c:yMode val="edge"/>
          <c:x val="4.0093423128825308E-2"/>
          <c:y val="0.24901796426034697"/>
          <c:w val="0.9198131537423494"/>
          <c:h val="0.59595366243355996"/>
        </c:manualLayout>
      </c:layout>
      <c:barChart>
        <c:barDir val="col"/>
        <c:grouping val="clustered"/>
        <c:varyColors val="0"/>
        <c:ser>
          <c:idx val="1"/>
          <c:order val="1"/>
          <c:tx>
            <c:strRef>
              <c:f>Sheet1!$C$1</c:f>
              <c:strCache>
                <c:ptCount val="1"/>
                <c:pt idx="0">
                  <c:v>Proceeds</c:v>
                </c:pt>
              </c:strCache>
            </c:strRef>
          </c:tx>
          <c:spPr>
            <a:solidFill>
              <a:schemeClr val="bg2"/>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7</c:f>
              <c:numCache>
                <c:formatCode>General</c:formatCode>
                <c:ptCount val="5"/>
                <c:pt idx="0">
                  <c:v>2020</c:v>
                </c:pt>
                <c:pt idx="1">
                  <c:v>2021</c:v>
                </c:pt>
                <c:pt idx="2">
                  <c:v>2022</c:v>
                </c:pt>
                <c:pt idx="3">
                  <c:v>2023</c:v>
                </c:pt>
                <c:pt idx="4">
                  <c:v>2024</c:v>
                </c:pt>
              </c:numCache>
            </c:numRef>
          </c:cat>
          <c:val>
            <c:numRef>
              <c:f>Sheet1!$C$3:$C$7</c:f>
              <c:numCache>
                <c:formatCode>"$"#,##0</c:formatCode>
                <c:ptCount val="5"/>
                <c:pt idx="0">
                  <c:v>138.5</c:v>
                </c:pt>
                <c:pt idx="1">
                  <c:v>175.4</c:v>
                </c:pt>
                <c:pt idx="2">
                  <c:v>124.4</c:v>
                </c:pt>
                <c:pt idx="3">
                  <c:v>70.8</c:v>
                </c:pt>
                <c:pt idx="4">
                  <c:v>34.9</c:v>
                </c:pt>
              </c:numCache>
            </c:numRef>
          </c:val>
          <c:extLst>
            <c:ext xmlns:c16="http://schemas.microsoft.com/office/drawing/2014/chart" uri="{C3380CC4-5D6E-409C-BE32-E72D297353CC}">
              <c16:uniqueId val="{00000001-6F32-48C6-9EAE-BD0E35BDB0A0}"/>
            </c:ext>
          </c:extLst>
        </c:ser>
        <c:dLbls>
          <c:showLegendKey val="0"/>
          <c:showVal val="0"/>
          <c:showCatName val="0"/>
          <c:showSerName val="0"/>
          <c:showPercent val="0"/>
          <c:showBubbleSize val="0"/>
        </c:dLbls>
        <c:gapWidth val="50"/>
        <c:axId val="1092118335"/>
        <c:axId val="1092063007"/>
      </c:barChart>
      <c:lineChart>
        <c:grouping val="standard"/>
        <c:varyColors val="0"/>
        <c:ser>
          <c:idx val="0"/>
          <c:order val="0"/>
          <c:tx>
            <c:strRef>
              <c:f>Sheet1!$B$1</c:f>
              <c:strCache>
                <c:ptCount val="1"/>
                <c:pt idx="0">
                  <c:v>Deal Volume</c:v>
                </c:pt>
              </c:strCache>
            </c:strRef>
          </c:tx>
          <c:spPr>
            <a:ln w="28575" cap="rnd">
              <a:solidFill>
                <a:schemeClr val="accent3"/>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3:$A$7</c:f>
              <c:numCache>
                <c:formatCode>General</c:formatCode>
                <c:ptCount val="5"/>
                <c:pt idx="0">
                  <c:v>2020</c:v>
                </c:pt>
                <c:pt idx="1">
                  <c:v>2021</c:v>
                </c:pt>
                <c:pt idx="2">
                  <c:v>2022</c:v>
                </c:pt>
                <c:pt idx="3">
                  <c:v>2023</c:v>
                </c:pt>
                <c:pt idx="4">
                  <c:v>2024</c:v>
                </c:pt>
              </c:numCache>
            </c:numRef>
          </c:cat>
          <c:val>
            <c:numRef>
              <c:f>Sheet1!$B$3:$B$7</c:f>
              <c:numCache>
                <c:formatCode>General</c:formatCode>
                <c:ptCount val="5"/>
                <c:pt idx="0">
                  <c:v>889</c:v>
                </c:pt>
                <c:pt idx="1">
                  <c:v>1148</c:v>
                </c:pt>
                <c:pt idx="2">
                  <c:v>897</c:v>
                </c:pt>
                <c:pt idx="3">
                  <c:v>755</c:v>
                </c:pt>
                <c:pt idx="4">
                  <c:v>488</c:v>
                </c:pt>
              </c:numCache>
            </c:numRef>
          </c:val>
          <c:smooth val="1"/>
          <c:extLst>
            <c:ext xmlns:c16="http://schemas.microsoft.com/office/drawing/2014/chart" uri="{C3380CC4-5D6E-409C-BE32-E72D297353CC}">
              <c16:uniqueId val="{00000003-6F32-48C6-9EAE-BD0E35BDB0A0}"/>
            </c:ext>
          </c:extLst>
        </c:ser>
        <c:dLbls>
          <c:showLegendKey val="0"/>
          <c:showVal val="0"/>
          <c:showCatName val="0"/>
          <c:showSerName val="0"/>
          <c:showPercent val="0"/>
          <c:showBubbleSize val="0"/>
        </c:dLbls>
        <c:marker val="1"/>
        <c:smooth val="0"/>
        <c:axId val="643424448"/>
        <c:axId val="643427072"/>
      </c:lineChart>
      <c:catAx>
        <c:axId val="1092118335"/>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92063007"/>
        <c:crosses val="autoZero"/>
        <c:auto val="1"/>
        <c:lblAlgn val="ctr"/>
        <c:lblOffset val="100"/>
        <c:noMultiLvlLbl val="0"/>
      </c:catAx>
      <c:valAx>
        <c:axId val="1092063007"/>
        <c:scaling>
          <c:orientation val="minMax"/>
          <c:max val="200"/>
        </c:scaling>
        <c:delete val="0"/>
        <c:axPos val="l"/>
        <c:numFmt formatCode="&quot;$&quot;#,##0" sourceLinked="1"/>
        <c:majorTickMark val="out"/>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92118335"/>
        <c:crosses val="autoZero"/>
        <c:crossBetween val="between"/>
      </c:valAx>
      <c:valAx>
        <c:axId val="643427072"/>
        <c:scaling>
          <c:orientation val="minMax"/>
          <c:max val="1200"/>
        </c:scaling>
        <c:delete val="0"/>
        <c:axPos val="r"/>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643424448"/>
        <c:crosses val="max"/>
        <c:crossBetween val="between"/>
      </c:valAx>
      <c:catAx>
        <c:axId val="643424448"/>
        <c:scaling>
          <c:orientation val="minMax"/>
        </c:scaling>
        <c:delete val="1"/>
        <c:axPos val="b"/>
        <c:numFmt formatCode="General" sourceLinked="1"/>
        <c:majorTickMark val="out"/>
        <c:minorTickMark val="none"/>
        <c:tickLblPos val="nextTo"/>
        <c:crossAx val="643427072"/>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2"/>
                </a:solidFill>
                <a:latin typeface="+mn-lt"/>
                <a:ea typeface="+mn-ea"/>
                <a:cs typeface="+mn-cs"/>
              </a:defRPr>
            </a:pPr>
            <a:r>
              <a:rPr lang="en-IN" sz="1400" b="1" dirty="0">
                <a:solidFill>
                  <a:schemeClr val="bg2"/>
                </a:solidFill>
              </a:rPr>
              <a:t>EMEIA</a:t>
            </a:r>
          </a:p>
        </c:rich>
      </c:tx>
      <c:layout>
        <c:manualLayout>
          <c:xMode val="edge"/>
          <c:yMode val="edge"/>
          <c:x val="1.7403473003092102E-3"/>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2"/>
              </a:solidFill>
              <a:latin typeface="+mn-lt"/>
              <a:ea typeface="+mn-ea"/>
              <a:cs typeface="+mn-cs"/>
            </a:defRPr>
          </a:pPr>
          <a:endParaRPr lang="en-US"/>
        </a:p>
      </c:txPr>
    </c:title>
    <c:autoTitleDeleted val="0"/>
    <c:plotArea>
      <c:layout>
        <c:manualLayout>
          <c:layoutTarget val="inner"/>
          <c:xMode val="edge"/>
          <c:yMode val="edge"/>
          <c:x val="4.0093423128825308E-2"/>
          <c:y val="0.24901796426034697"/>
          <c:w val="0.9198131537423494"/>
          <c:h val="0.59595366243355996"/>
        </c:manualLayout>
      </c:layout>
      <c:barChart>
        <c:barDir val="col"/>
        <c:grouping val="clustered"/>
        <c:varyColors val="0"/>
        <c:ser>
          <c:idx val="1"/>
          <c:order val="1"/>
          <c:tx>
            <c:strRef>
              <c:f>Sheet1!$C$1</c:f>
              <c:strCache>
                <c:ptCount val="1"/>
                <c:pt idx="0">
                  <c:v>Proceeds</c:v>
                </c:pt>
              </c:strCache>
            </c:strRef>
          </c:tx>
          <c:spPr>
            <a:solidFill>
              <a:schemeClr val="bg2"/>
            </a:solidFill>
            <a:ln w="254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7</c:f>
              <c:numCache>
                <c:formatCode>General</c:formatCode>
                <c:ptCount val="5"/>
                <c:pt idx="0">
                  <c:v>2020</c:v>
                </c:pt>
                <c:pt idx="1">
                  <c:v>2021</c:v>
                </c:pt>
                <c:pt idx="2">
                  <c:v>2022</c:v>
                </c:pt>
                <c:pt idx="3">
                  <c:v>2023</c:v>
                </c:pt>
                <c:pt idx="4">
                  <c:v>2024</c:v>
                </c:pt>
              </c:numCache>
            </c:numRef>
          </c:cat>
          <c:val>
            <c:numRef>
              <c:f>Sheet1!$C$3:$C$7</c:f>
              <c:numCache>
                <c:formatCode>"$"#,##0</c:formatCode>
                <c:ptCount val="5"/>
                <c:pt idx="0">
                  <c:v>34.9</c:v>
                </c:pt>
                <c:pt idx="1">
                  <c:v>110</c:v>
                </c:pt>
                <c:pt idx="2">
                  <c:v>51</c:v>
                </c:pt>
                <c:pt idx="3">
                  <c:v>32.5</c:v>
                </c:pt>
                <c:pt idx="4">
                  <c:v>53.2</c:v>
                </c:pt>
              </c:numCache>
            </c:numRef>
          </c:val>
          <c:extLst>
            <c:ext xmlns:c16="http://schemas.microsoft.com/office/drawing/2014/chart" uri="{C3380CC4-5D6E-409C-BE32-E72D297353CC}">
              <c16:uniqueId val="{00000001-AC96-4FAA-A732-889D952DE01F}"/>
            </c:ext>
          </c:extLst>
        </c:ser>
        <c:dLbls>
          <c:showLegendKey val="0"/>
          <c:showVal val="0"/>
          <c:showCatName val="0"/>
          <c:showSerName val="0"/>
          <c:showPercent val="0"/>
          <c:showBubbleSize val="0"/>
        </c:dLbls>
        <c:gapWidth val="50"/>
        <c:axId val="1092118335"/>
        <c:axId val="1092063007"/>
      </c:barChart>
      <c:lineChart>
        <c:grouping val="standard"/>
        <c:varyColors val="0"/>
        <c:ser>
          <c:idx val="0"/>
          <c:order val="0"/>
          <c:tx>
            <c:strRef>
              <c:f>Sheet1!$B$1</c:f>
              <c:strCache>
                <c:ptCount val="1"/>
                <c:pt idx="0">
                  <c:v>Deal Volume</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7</c:f>
              <c:numCache>
                <c:formatCode>General</c:formatCode>
                <c:ptCount val="5"/>
                <c:pt idx="0">
                  <c:v>2020</c:v>
                </c:pt>
                <c:pt idx="1">
                  <c:v>2021</c:v>
                </c:pt>
                <c:pt idx="2">
                  <c:v>2022</c:v>
                </c:pt>
                <c:pt idx="3">
                  <c:v>2023</c:v>
                </c:pt>
                <c:pt idx="4">
                  <c:v>2024</c:v>
                </c:pt>
              </c:numCache>
            </c:numRef>
          </c:cat>
          <c:val>
            <c:numRef>
              <c:f>Sheet1!$B$3:$B$7</c:f>
              <c:numCache>
                <c:formatCode>General</c:formatCode>
                <c:ptCount val="5"/>
                <c:pt idx="0">
                  <c:v>281</c:v>
                </c:pt>
                <c:pt idx="1">
                  <c:v>756</c:v>
                </c:pt>
                <c:pt idx="2">
                  <c:v>385</c:v>
                </c:pt>
                <c:pt idx="3">
                  <c:v>446</c:v>
                </c:pt>
                <c:pt idx="4">
                  <c:v>522</c:v>
                </c:pt>
              </c:numCache>
            </c:numRef>
          </c:val>
          <c:smooth val="1"/>
          <c:extLst>
            <c:ext xmlns:c16="http://schemas.microsoft.com/office/drawing/2014/chart" uri="{C3380CC4-5D6E-409C-BE32-E72D297353CC}">
              <c16:uniqueId val="{00000003-AC96-4FAA-A732-889D952DE01F}"/>
            </c:ext>
          </c:extLst>
        </c:ser>
        <c:dLbls>
          <c:showLegendKey val="0"/>
          <c:showVal val="0"/>
          <c:showCatName val="0"/>
          <c:showSerName val="0"/>
          <c:showPercent val="0"/>
          <c:showBubbleSize val="0"/>
        </c:dLbls>
        <c:marker val="1"/>
        <c:smooth val="0"/>
        <c:axId val="643424448"/>
        <c:axId val="643427072"/>
      </c:lineChart>
      <c:catAx>
        <c:axId val="1092118335"/>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92063007"/>
        <c:crosses val="autoZero"/>
        <c:auto val="1"/>
        <c:lblAlgn val="ctr"/>
        <c:lblOffset val="100"/>
        <c:noMultiLvlLbl val="0"/>
      </c:catAx>
      <c:valAx>
        <c:axId val="1092063007"/>
        <c:scaling>
          <c:orientation val="minMax"/>
          <c:max val="150"/>
        </c:scaling>
        <c:delete val="0"/>
        <c:axPos val="l"/>
        <c:numFmt formatCode="&quot;$&quot;#,##0" sourceLinked="1"/>
        <c:majorTickMark val="out"/>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92118335"/>
        <c:crosses val="autoZero"/>
        <c:crossBetween val="between"/>
      </c:valAx>
      <c:valAx>
        <c:axId val="643427072"/>
        <c:scaling>
          <c:orientation val="minMax"/>
        </c:scaling>
        <c:delete val="0"/>
        <c:axPos val="r"/>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643424448"/>
        <c:crosses val="max"/>
        <c:crossBetween val="between"/>
      </c:valAx>
      <c:catAx>
        <c:axId val="643424448"/>
        <c:scaling>
          <c:orientation val="minMax"/>
        </c:scaling>
        <c:delete val="1"/>
        <c:axPos val="b"/>
        <c:numFmt formatCode="General" sourceLinked="1"/>
        <c:majorTickMark val="out"/>
        <c:minorTickMark val="none"/>
        <c:tickLblPos val="nextTo"/>
        <c:crossAx val="643427072"/>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76170022907589"/>
          <c:y val="0.1230158938156832"/>
          <c:w val="0.21107042296675005"/>
          <c:h val="0.74186499191133204"/>
        </c:manualLayout>
      </c:layout>
      <c:pieChart>
        <c:varyColors val="1"/>
        <c:ser>
          <c:idx val="0"/>
          <c:order val="0"/>
          <c:tx>
            <c:strRef>
              <c:f>Sheet1!$B$1</c:f>
              <c:strCache>
                <c:ptCount val="1"/>
                <c:pt idx="0">
                  <c:v>2024</c:v>
                </c:pt>
              </c:strCache>
            </c:strRef>
          </c:tx>
          <c:spPr>
            <a:ln w="9525"/>
          </c:spPr>
          <c:dPt>
            <c:idx val="0"/>
            <c:bubble3D val="0"/>
            <c:spPr>
              <a:solidFill>
                <a:schemeClr val="accent1"/>
              </a:solidFill>
              <a:ln w="9525">
                <a:solidFill>
                  <a:schemeClr val="lt1"/>
                </a:solidFill>
              </a:ln>
              <a:effectLst/>
            </c:spPr>
            <c:extLst>
              <c:ext xmlns:c16="http://schemas.microsoft.com/office/drawing/2014/chart" uri="{C3380CC4-5D6E-409C-BE32-E72D297353CC}">
                <c16:uniqueId val="{00000001-2594-4EE8-96B3-E0C08A61C24F}"/>
              </c:ext>
            </c:extLst>
          </c:dPt>
          <c:dPt>
            <c:idx val="1"/>
            <c:bubble3D val="0"/>
            <c:spPr>
              <a:solidFill>
                <a:schemeClr val="accent2"/>
              </a:solidFill>
              <a:ln w="9525">
                <a:solidFill>
                  <a:schemeClr val="lt1"/>
                </a:solidFill>
              </a:ln>
              <a:effectLst/>
            </c:spPr>
            <c:extLst>
              <c:ext xmlns:c16="http://schemas.microsoft.com/office/drawing/2014/chart" uri="{C3380CC4-5D6E-409C-BE32-E72D297353CC}">
                <c16:uniqueId val="{00000003-2594-4EE8-96B3-E0C08A61C24F}"/>
              </c:ext>
            </c:extLst>
          </c:dPt>
          <c:dPt>
            <c:idx val="2"/>
            <c:bubble3D val="0"/>
            <c:spPr>
              <a:solidFill>
                <a:schemeClr val="accent3"/>
              </a:solidFill>
              <a:ln w="9525">
                <a:solidFill>
                  <a:schemeClr val="lt1"/>
                </a:solidFill>
              </a:ln>
              <a:effectLst/>
            </c:spPr>
            <c:extLst>
              <c:ext xmlns:c16="http://schemas.microsoft.com/office/drawing/2014/chart" uri="{C3380CC4-5D6E-409C-BE32-E72D297353CC}">
                <c16:uniqueId val="{00000005-2594-4EE8-96B3-E0C08A61C24F}"/>
              </c:ext>
            </c:extLst>
          </c:dPt>
          <c:dPt>
            <c:idx val="3"/>
            <c:bubble3D val="0"/>
            <c:spPr>
              <a:solidFill>
                <a:schemeClr val="accent4"/>
              </a:solidFill>
              <a:ln w="9525">
                <a:solidFill>
                  <a:schemeClr val="lt1"/>
                </a:solidFill>
              </a:ln>
              <a:effectLst/>
            </c:spPr>
            <c:extLst>
              <c:ext xmlns:c16="http://schemas.microsoft.com/office/drawing/2014/chart" uri="{C3380CC4-5D6E-409C-BE32-E72D297353CC}">
                <c16:uniqueId val="{00000007-2594-4EE8-96B3-E0C08A61C24F}"/>
              </c:ext>
            </c:extLst>
          </c:dPt>
          <c:dPt>
            <c:idx val="4"/>
            <c:bubble3D val="0"/>
            <c:spPr>
              <a:solidFill>
                <a:schemeClr val="accent5"/>
              </a:solidFill>
              <a:ln w="9525">
                <a:solidFill>
                  <a:schemeClr val="lt1"/>
                </a:solidFill>
              </a:ln>
              <a:effectLst/>
            </c:spPr>
            <c:extLst>
              <c:ext xmlns:c16="http://schemas.microsoft.com/office/drawing/2014/chart" uri="{C3380CC4-5D6E-409C-BE32-E72D297353CC}">
                <c16:uniqueId val="{00000009-2594-4EE8-96B3-E0C08A61C24F}"/>
              </c:ext>
            </c:extLst>
          </c:dPt>
          <c:dPt>
            <c:idx val="5"/>
            <c:bubble3D val="0"/>
            <c:spPr>
              <a:solidFill>
                <a:schemeClr val="accent6"/>
              </a:solidFill>
              <a:ln w="9525">
                <a:solidFill>
                  <a:schemeClr val="lt1"/>
                </a:solidFill>
              </a:ln>
              <a:effectLst/>
            </c:spPr>
            <c:extLst>
              <c:ext xmlns:c16="http://schemas.microsoft.com/office/drawing/2014/chart" uri="{C3380CC4-5D6E-409C-BE32-E72D297353CC}">
                <c16:uniqueId val="{0000000B-2594-4EE8-96B3-E0C08A61C24F}"/>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Consumer</c:v>
                </c:pt>
                <c:pt idx="1">
                  <c:v>Technology</c:v>
                </c:pt>
                <c:pt idx="2">
                  <c:v>Industrials</c:v>
                </c:pt>
                <c:pt idx="3">
                  <c:v>Health and Life Sciences</c:v>
                </c:pt>
                <c:pt idx="4">
                  <c:v>Energy</c:v>
                </c:pt>
                <c:pt idx="5">
                  <c:v>Others</c:v>
                </c:pt>
              </c:strCache>
            </c:strRef>
          </c:cat>
          <c:val>
            <c:numRef>
              <c:f>Sheet1!$B$2:$B$7</c:f>
              <c:numCache>
                <c:formatCode>"$"#,##0.0</c:formatCode>
                <c:ptCount val="6"/>
                <c:pt idx="0">
                  <c:v>15.875</c:v>
                </c:pt>
                <c:pt idx="1">
                  <c:v>30.649350649350652</c:v>
                </c:pt>
                <c:pt idx="2">
                  <c:v>8.32</c:v>
                </c:pt>
                <c:pt idx="3">
                  <c:v>12.481751824817518</c:v>
                </c:pt>
                <c:pt idx="4">
                  <c:v>17.291666666666664</c:v>
                </c:pt>
                <c:pt idx="5">
                  <c:v>41.482230859165156</c:v>
                </c:pt>
              </c:numCache>
            </c:numRef>
          </c:val>
          <c:extLst>
            <c:ext xmlns:c16="http://schemas.microsoft.com/office/drawing/2014/chart" uri="{C3380CC4-5D6E-409C-BE32-E72D297353CC}">
              <c16:uniqueId val="{00000000-BB62-4F89-BEB1-A7821A9D0E18}"/>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9-ABDA-48CA-8D01-88309385255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B-ABDA-48CA-8D01-88309385255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D-ABDA-48CA-8D01-88309385255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1F-ABDA-48CA-8D01-88309385255C}"/>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21-ABDA-48CA-8D01-88309385255C}"/>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23-ABDA-48CA-8D01-88309385255C}"/>
              </c:ext>
            </c:extLst>
          </c:dPt>
          <c:cat>
            <c:strRef>
              <c:f>Sheet1!$A$2:$A$7</c:f>
              <c:strCache>
                <c:ptCount val="6"/>
                <c:pt idx="0">
                  <c:v>Consumer</c:v>
                </c:pt>
                <c:pt idx="1">
                  <c:v>Technology</c:v>
                </c:pt>
                <c:pt idx="2">
                  <c:v>Industrials</c:v>
                </c:pt>
                <c:pt idx="3">
                  <c:v>Health and Life Sciences</c:v>
                </c:pt>
                <c:pt idx="4">
                  <c:v>Energy</c:v>
                </c:pt>
                <c:pt idx="5">
                  <c:v>Others</c:v>
                </c:pt>
              </c:strCache>
            </c:strRef>
          </c:cat>
          <c:val>
            <c:numRef>
              <c:f>Sheet1!$C$2:$C$7</c:f>
              <c:numCache>
                <c:formatCode>0.0%</c:formatCode>
                <c:ptCount val="6"/>
                <c:pt idx="0">
                  <c:v>0.12589214908802537</c:v>
                </c:pt>
                <c:pt idx="1">
                  <c:v>0.24305591315900596</c:v>
                </c:pt>
                <c:pt idx="2">
                  <c:v>6.5979381443298971E-2</c:v>
                </c:pt>
                <c:pt idx="3">
                  <c:v>9.898296451084472E-2</c:v>
                </c:pt>
                <c:pt idx="4">
                  <c:v>0.13712661908538196</c:v>
                </c:pt>
                <c:pt idx="5">
                  <c:v>0.32896297271344299</c:v>
                </c:pt>
              </c:numCache>
            </c:numRef>
          </c:val>
          <c:extLst>
            <c:ext xmlns:c16="http://schemas.microsoft.com/office/drawing/2014/chart" uri="{C3380CC4-5D6E-409C-BE32-E72D297353CC}">
              <c16:uniqueId val="{00000019-DEDD-462B-A56C-25934BBD66D3}"/>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44321902496949972"/>
          <c:y val="3.8368638363873317E-2"/>
          <c:w val="0.54645039511756732"/>
          <c:h val="0.7114558887647329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611995115193935"/>
          <c:y val="0.1411161458591261"/>
          <c:w val="0.38128703372305733"/>
          <c:h val="0.759696429455752"/>
        </c:manualLayout>
      </c:layout>
      <c:pieChart>
        <c:varyColors val="1"/>
        <c:ser>
          <c:idx val="0"/>
          <c:order val="0"/>
          <c:tx>
            <c:strRef>
              <c:f>Sheet1!$B$1</c:f>
              <c:strCache>
                <c:ptCount val="1"/>
                <c:pt idx="0">
                  <c:v>2024</c:v>
                </c:pt>
              </c:strCache>
            </c:strRef>
          </c:tx>
          <c:spPr>
            <a:ln w="9525"/>
          </c:spPr>
          <c:dPt>
            <c:idx val="0"/>
            <c:bubble3D val="0"/>
            <c:spPr>
              <a:solidFill>
                <a:schemeClr val="accent1"/>
              </a:solidFill>
              <a:ln w="9525">
                <a:solidFill>
                  <a:schemeClr val="lt1"/>
                </a:solidFill>
              </a:ln>
              <a:effectLst/>
            </c:spPr>
            <c:extLst>
              <c:ext xmlns:c16="http://schemas.microsoft.com/office/drawing/2014/chart" uri="{C3380CC4-5D6E-409C-BE32-E72D297353CC}">
                <c16:uniqueId val="{00000001-FD27-4A20-B0F8-2953BFDA1BD0}"/>
              </c:ext>
            </c:extLst>
          </c:dPt>
          <c:dPt>
            <c:idx val="1"/>
            <c:bubble3D val="0"/>
            <c:spPr>
              <a:solidFill>
                <a:schemeClr val="accent2"/>
              </a:solidFill>
              <a:ln w="9525">
                <a:solidFill>
                  <a:schemeClr val="lt1"/>
                </a:solidFill>
              </a:ln>
              <a:effectLst/>
            </c:spPr>
            <c:extLst>
              <c:ext xmlns:c16="http://schemas.microsoft.com/office/drawing/2014/chart" uri="{C3380CC4-5D6E-409C-BE32-E72D297353CC}">
                <c16:uniqueId val="{00000003-FD27-4A20-B0F8-2953BFDA1BD0}"/>
              </c:ext>
            </c:extLst>
          </c:dPt>
          <c:dPt>
            <c:idx val="2"/>
            <c:bubble3D val="0"/>
            <c:spPr>
              <a:solidFill>
                <a:schemeClr val="accent3"/>
              </a:solidFill>
              <a:ln w="9525">
                <a:solidFill>
                  <a:schemeClr val="lt1"/>
                </a:solidFill>
              </a:ln>
              <a:effectLst/>
            </c:spPr>
            <c:extLst>
              <c:ext xmlns:c16="http://schemas.microsoft.com/office/drawing/2014/chart" uri="{C3380CC4-5D6E-409C-BE32-E72D297353CC}">
                <c16:uniqueId val="{00000005-FD27-4A20-B0F8-2953BFDA1BD0}"/>
              </c:ext>
            </c:extLst>
          </c:dPt>
          <c:dPt>
            <c:idx val="3"/>
            <c:bubble3D val="0"/>
            <c:spPr>
              <a:solidFill>
                <a:schemeClr val="accent4"/>
              </a:solidFill>
              <a:ln w="9525">
                <a:solidFill>
                  <a:schemeClr val="lt1"/>
                </a:solidFill>
              </a:ln>
              <a:effectLst/>
            </c:spPr>
            <c:extLst>
              <c:ext xmlns:c16="http://schemas.microsoft.com/office/drawing/2014/chart" uri="{C3380CC4-5D6E-409C-BE32-E72D297353CC}">
                <c16:uniqueId val="{00000007-FD27-4A20-B0F8-2953BFDA1BD0}"/>
              </c:ext>
            </c:extLst>
          </c:dPt>
          <c:dPt>
            <c:idx val="4"/>
            <c:bubble3D val="0"/>
            <c:spPr>
              <a:solidFill>
                <a:schemeClr val="accent5"/>
              </a:solidFill>
              <a:ln w="9525">
                <a:solidFill>
                  <a:schemeClr val="lt1"/>
                </a:solidFill>
              </a:ln>
              <a:effectLst/>
            </c:spPr>
            <c:extLst>
              <c:ext xmlns:c16="http://schemas.microsoft.com/office/drawing/2014/chart" uri="{C3380CC4-5D6E-409C-BE32-E72D297353CC}">
                <c16:uniqueId val="{00000009-FD27-4A20-B0F8-2953BFDA1BD0}"/>
              </c:ext>
            </c:extLst>
          </c:dPt>
          <c:dPt>
            <c:idx val="5"/>
            <c:bubble3D val="0"/>
            <c:spPr>
              <a:solidFill>
                <a:schemeClr val="accent6"/>
              </a:solidFill>
              <a:ln w="9525">
                <a:solidFill>
                  <a:schemeClr val="lt1"/>
                </a:solidFill>
              </a:ln>
              <a:effectLst/>
            </c:spPr>
            <c:extLst>
              <c:ext xmlns:c16="http://schemas.microsoft.com/office/drawing/2014/chart" uri="{C3380CC4-5D6E-409C-BE32-E72D297353CC}">
                <c16:uniqueId val="{0000000B-FD27-4A20-B0F8-2953BFDA1BD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Consumer</c:v>
                </c:pt>
                <c:pt idx="1">
                  <c:v>Technology</c:v>
                </c:pt>
                <c:pt idx="2">
                  <c:v>Industrials</c:v>
                </c:pt>
                <c:pt idx="3">
                  <c:v>Health and Life Sciences</c:v>
                </c:pt>
                <c:pt idx="4">
                  <c:v>Energy</c:v>
                </c:pt>
                <c:pt idx="5">
                  <c:v>Others</c:v>
                </c:pt>
              </c:strCache>
            </c:strRef>
          </c:cat>
          <c:val>
            <c:numRef>
              <c:f>Sheet1!$B$2:$B$7</c:f>
              <c:numCache>
                <c:formatCode>"$"#,##0.0</c:formatCode>
                <c:ptCount val="6"/>
                <c:pt idx="0">
                  <c:v>25.400000000000002</c:v>
                </c:pt>
                <c:pt idx="1">
                  <c:v>23.6</c:v>
                </c:pt>
                <c:pt idx="2">
                  <c:v>20.8</c:v>
                </c:pt>
                <c:pt idx="3">
                  <c:v>17.100000000000001</c:v>
                </c:pt>
                <c:pt idx="4">
                  <c:v>8.2999999999999989</c:v>
                </c:pt>
                <c:pt idx="5">
                  <c:v>26</c:v>
                </c:pt>
              </c:numCache>
            </c:numRef>
          </c:val>
          <c:extLst>
            <c:ext xmlns:c16="http://schemas.microsoft.com/office/drawing/2014/chart" uri="{C3380CC4-5D6E-409C-BE32-E72D297353CC}">
              <c16:uniqueId val="{00000000-BB62-4F89-BEB1-A7821A9D0E18}"/>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76170022907589"/>
          <c:y val="0.1230158938156832"/>
          <c:w val="0.21107042296675005"/>
          <c:h val="0.74186499191133204"/>
        </c:manualLayout>
      </c:layout>
      <c:pieChart>
        <c:varyColors val="1"/>
        <c:ser>
          <c:idx val="0"/>
          <c:order val="0"/>
          <c:tx>
            <c:strRef>
              <c:f>Sheet1!$B$1</c:f>
              <c:strCache>
                <c:ptCount val="1"/>
                <c:pt idx="0">
                  <c:v>2023</c:v>
                </c:pt>
              </c:strCache>
            </c:strRef>
          </c:tx>
          <c:spPr>
            <a:ln w="9525"/>
          </c:spPr>
          <c:dPt>
            <c:idx val="0"/>
            <c:bubble3D val="0"/>
            <c:spPr>
              <a:solidFill>
                <a:schemeClr val="accent1"/>
              </a:solidFill>
              <a:ln w="9525">
                <a:solidFill>
                  <a:schemeClr val="lt1"/>
                </a:solidFill>
              </a:ln>
              <a:effectLst/>
            </c:spPr>
            <c:extLst>
              <c:ext xmlns:c16="http://schemas.microsoft.com/office/drawing/2014/chart" uri="{C3380CC4-5D6E-409C-BE32-E72D297353CC}">
                <c16:uniqueId val="{00000001-D2ED-40DE-8022-90F12DB00E4A}"/>
              </c:ext>
            </c:extLst>
          </c:dPt>
          <c:dPt>
            <c:idx val="1"/>
            <c:bubble3D val="0"/>
            <c:spPr>
              <a:solidFill>
                <a:schemeClr val="accent2"/>
              </a:solidFill>
              <a:ln w="9525">
                <a:solidFill>
                  <a:schemeClr val="lt1"/>
                </a:solidFill>
              </a:ln>
              <a:effectLst/>
            </c:spPr>
            <c:extLst>
              <c:ext xmlns:c16="http://schemas.microsoft.com/office/drawing/2014/chart" uri="{C3380CC4-5D6E-409C-BE32-E72D297353CC}">
                <c16:uniqueId val="{00000003-D2ED-40DE-8022-90F12DB00E4A}"/>
              </c:ext>
            </c:extLst>
          </c:dPt>
          <c:dPt>
            <c:idx val="2"/>
            <c:bubble3D val="0"/>
            <c:spPr>
              <a:solidFill>
                <a:schemeClr val="accent3"/>
              </a:solidFill>
              <a:ln w="9525">
                <a:solidFill>
                  <a:schemeClr val="lt1"/>
                </a:solidFill>
              </a:ln>
              <a:effectLst/>
            </c:spPr>
            <c:extLst>
              <c:ext xmlns:c16="http://schemas.microsoft.com/office/drawing/2014/chart" uri="{C3380CC4-5D6E-409C-BE32-E72D297353CC}">
                <c16:uniqueId val="{00000005-D2ED-40DE-8022-90F12DB00E4A}"/>
              </c:ext>
            </c:extLst>
          </c:dPt>
          <c:dPt>
            <c:idx val="3"/>
            <c:bubble3D val="0"/>
            <c:spPr>
              <a:solidFill>
                <a:schemeClr val="accent4"/>
              </a:solidFill>
              <a:ln w="9525">
                <a:solidFill>
                  <a:schemeClr val="lt1"/>
                </a:solidFill>
              </a:ln>
              <a:effectLst/>
            </c:spPr>
            <c:extLst>
              <c:ext xmlns:c16="http://schemas.microsoft.com/office/drawing/2014/chart" uri="{C3380CC4-5D6E-409C-BE32-E72D297353CC}">
                <c16:uniqueId val="{00000007-D2ED-40DE-8022-90F12DB00E4A}"/>
              </c:ext>
            </c:extLst>
          </c:dPt>
          <c:dPt>
            <c:idx val="4"/>
            <c:bubble3D val="0"/>
            <c:spPr>
              <a:solidFill>
                <a:schemeClr val="accent5"/>
              </a:solidFill>
              <a:ln w="9525">
                <a:solidFill>
                  <a:schemeClr val="lt1"/>
                </a:solidFill>
              </a:ln>
              <a:effectLst/>
            </c:spPr>
            <c:extLst>
              <c:ext xmlns:c16="http://schemas.microsoft.com/office/drawing/2014/chart" uri="{C3380CC4-5D6E-409C-BE32-E72D297353CC}">
                <c16:uniqueId val="{00000009-D2ED-40DE-8022-90F12DB00E4A}"/>
              </c:ext>
            </c:extLst>
          </c:dPt>
          <c:dPt>
            <c:idx val="5"/>
            <c:bubble3D val="0"/>
            <c:spPr>
              <a:solidFill>
                <a:schemeClr val="accent6"/>
              </a:solidFill>
              <a:ln w="9525">
                <a:solidFill>
                  <a:schemeClr val="lt1"/>
                </a:solidFill>
              </a:ln>
              <a:effectLst/>
            </c:spPr>
            <c:extLst>
              <c:ext xmlns:c16="http://schemas.microsoft.com/office/drawing/2014/chart" uri="{C3380CC4-5D6E-409C-BE32-E72D297353CC}">
                <c16:uniqueId val="{0000000B-D2ED-40DE-8022-90F12DB00E4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showLeaderLines val="0"/>
            <c:extLst>
              <c:ext xmlns:c15="http://schemas.microsoft.com/office/drawing/2012/chart" uri="{CE6537A1-D6FC-4f65-9D91-7224C49458BB}"/>
            </c:extLst>
          </c:dLbls>
          <c:cat>
            <c:strRef>
              <c:f>Sheet1!$A$2:$A$7</c:f>
              <c:strCache>
                <c:ptCount val="6"/>
                <c:pt idx="0">
                  <c:v>Consumer</c:v>
                </c:pt>
                <c:pt idx="1">
                  <c:v>Industrials</c:v>
                </c:pt>
                <c:pt idx="2">
                  <c:v>Technology</c:v>
                </c:pt>
                <c:pt idx="3">
                  <c:v>Health and Life Sciences</c:v>
                </c:pt>
                <c:pt idx="4">
                  <c:v>Energy</c:v>
                </c:pt>
                <c:pt idx="5">
                  <c:v>Others</c:v>
                </c:pt>
              </c:strCache>
            </c:strRef>
          </c:cat>
          <c:val>
            <c:numRef>
              <c:f>Sheet1!$B$2:$B$7</c:f>
              <c:numCache>
                <c:formatCode>0</c:formatCode>
                <c:ptCount val="6"/>
                <c:pt idx="0">
                  <c:v>188.67924528301887</c:v>
                </c:pt>
                <c:pt idx="1">
                  <c:v>351.38888888888891</c:v>
                </c:pt>
                <c:pt idx="2">
                  <c:v>257.3170731707317</c:v>
                </c:pt>
                <c:pt idx="3">
                  <c:v>140.04</c:v>
                </c:pt>
                <c:pt idx="4">
                  <c:v>133.33333333333334</c:v>
                </c:pt>
                <c:pt idx="5">
                  <c:v>280.24145932402735</c:v>
                </c:pt>
              </c:numCache>
            </c:numRef>
          </c:val>
          <c:extLst>
            <c:ext xmlns:c16="http://schemas.microsoft.com/office/drawing/2014/chart" uri="{C3380CC4-5D6E-409C-BE32-E72D297353CC}">
              <c16:uniqueId val="{00000018-D2ED-40DE-8022-90F12DB00E4A}"/>
            </c:ext>
          </c:extLst>
        </c:ser>
        <c:ser>
          <c:idx val="1"/>
          <c:order val="1"/>
          <c:tx>
            <c:strRef>
              <c:f>Sheet1!$C$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A-D2ED-40DE-8022-90F12DB00E4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1C-D2ED-40DE-8022-90F12DB00E4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1E-D2ED-40DE-8022-90F12DB00E4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20-D2ED-40DE-8022-90F12DB00E4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22-D2ED-40DE-8022-90F12DB00E4A}"/>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24-D2ED-40DE-8022-90F12DB00E4A}"/>
              </c:ext>
            </c:extLst>
          </c:dPt>
          <c:cat>
            <c:strRef>
              <c:f>Sheet1!$A$2:$A$7</c:f>
              <c:strCache>
                <c:ptCount val="6"/>
                <c:pt idx="0">
                  <c:v>Consumer</c:v>
                </c:pt>
                <c:pt idx="1">
                  <c:v>Industrials</c:v>
                </c:pt>
                <c:pt idx="2">
                  <c:v>Technology</c:v>
                </c:pt>
                <c:pt idx="3">
                  <c:v>Health and Life Sciences</c:v>
                </c:pt>
                <c:pt idx="4">
                  <c:v>Energy</c:v>
                </c:pt>
                <c:pt idx="5">
                  <c:v>Others</c:v>
                </c:pt>
              </c:strCache>
            </c:strRef>
          </c:cat>
          <c:val>
            <c:numRef>
              <c:f>Sheet1!$C$2:$C$7</c:f>
              <c:numCache>
                <c:formatCode>0.0%</c:formatCode>
                <c:ptCount val="6"/>
                <c:pt idx="0">
                  <c:v>0.13965895283717164</c:v>
                </c:pt>
                <c:pt idx="1">
                  <c:v>0.26009540258244923</c:v>
                </c:pt>
                <c:pt idx="2">
                  <c:v>0.19046415482659637</c:v>
                </c:pt>
                <c:pt idx="3">
                  <c:v>0.10365655070318282</c:v>
                </c:pt>
                <c:pt idx="4">
                  <c:v>9.8692326671601285E-2</c:v>
                </c:pt>
                <c:pt idx="5">
                  <c:v>0.20743261237899877</c:v>
                </c:pt>
              </c:numCache>
            </c:numRef>
          </c:val>
          <c:extLst>
            <c:ext xmlns:c16="http://schemas.microsoft.com/office/drawing/2014/chart" uri="{C3380CC4-5D6E-409C-BE32-E72D297353CC}">
              <c16:uniqueId val="{00000031-D2ED-40DE-8022-90F12DB00E4A}"/>
            </c:ext>
          </c:extLst>
        </c:ser>
        <c:dLbls>
          <c:showLegendKey val="0"/>
          <c:showVal val="0"/>
          <c:showCatName val="0"/>
          <c:showSerName val="0"/>
          <c:showPercent val="0"/>
          <c:showBubbleSize val="0"/>
          <c:showLeaderLines val="0"/>
        </c:dLbls>
        <c:firstSliceAng val="0"/>
      </c:pieChart>
      <c:spPr>
        <a:noFill/>
        <a:ln>
          <a:noFill/>
        </a:ln>
        <a:effectLst/>
      </c:spPr>
    </c:plotArea>
    <c:legend>
      <c:legendPos val="r"/>
      <c:layout>
        <c:manualLayout>
          <c:xMode val="edge"/>
          <c:yMode val="edge"/>
          <c:x val="0.44321902496949972"/>
          <c:y val="3.8368638363873317E-2"/>
          <c:w val="0.54645039511756732"/>
          <c:h val="0.7114558887647329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611995115193935"/>
          <c:y val="0.1411161458591261"/>
          <c:w val="0.38128703372305733"/>
          <c:h val="0.759696429455752"/>
        </c:manualLayout>
      </c:layout>
      <c:pieChart>
        <c:varyColors val="1"/>
        <c:ser>
          <c:idx val="0"/>
          <c:order val="0"/>
          <c:tx>
            <c:strRef>
              <c:f>Sheet1!$B$1</c:f>
              <c:strCache>
                <c:ptCount val="1"/>
                <c:pt idx="0">
                  <c:v>2024</c:v>
                </c:pt>
              </c:strCache>
            </c:strRef>
          </c:tx>
          <c:spPr>
            <a:ln w="9525"/>
          </c:spPr>
          <c:dPt>
            <c:idx val="0"/>
            <c:bubble3D val="0"/>
            <c:spPr>
              <a:solidFill>
                <a:schemeClr val="accent1"/>
              </a:solidFill>
              <a:ln w="9525">
                <a:solidFill>
                  <a:schemeClr val="lt1"/>
                </a:solidFill>
              </a:ln>
              <a:effectLst/>
            </c:spPr>
            <c:extLst>
              <c:ext xmlns:c16="http://schemas.microsoft.com/office/drawing/2014/chart" uri="{C3380CC4-5D6E-409C-BE32-E72D297353CC}">
                <c16:uniqueId val="{00000001-383A-4755-B0BF-31FE9CC9ACA0}"/>
              </c:ext>
            </c:extLst>
          </c:dPt>
          <c:dPt>
            <c:idx val="1"/>
            <c:bubble3D val="0"/>
            <c:spPr>
              <a:solidFill>
                <a:schemeClr val="accent2"/>
              </a:solidFill>
              <a:ln w="9525">
                <a:solidFill>
                  <a:schemeClr val="lt1"/>
                </a:solidFill>
              </a:ln>
              <a:effectLst/>
            </c:spPr>
            <c:extLst>
              <c:ext xmlns:c16="http://schemas.microsoft.com/office/drawing/2014/chart" uri="{C3380CC4-5D6E-409C-BE32-E72D297353CC}">
                <c16:uniqueId val="{00000003-383A-4755-B0BF-31FE9CC9ACA0}"/>
              </c:ext>
            </c:extLst>
          </c:dPt>
          <c:dPt>
            <c:idx val="2"/>
            <c:bubble3D val="0"/>
            <c:spPr>
              <a:solidFill>
                <a:schemeClr val="accent3"/>
              </a:solidFill>
              <a:ln w="9525">
                <a:solidFill>
                  <a:schemeClr val="lt1"/>
                </a:solidFill>
              </a:ln>
              <a:effectLst/>
            </c:spPr>
            <c:extLst>
              <c:ext xmlns:c16="http://schemas.microsoft.com/office/drawing/2014/chart" uri="{C3380CC4-5D6E-409C-BE32-E72D297353CC}">
                <c16:uniqueId val="{00000005-383A-4755-B0BF-31FE9CC9ACA0}"/>
              </c:ext>
            </c:extLst>
          </c:dPt>
          <c:dPt>
            <c:idx val="3"/>
            <c:bubble3D val="0"/>
            <c:spPr>
              <a:solidFill>
                <a:schemeClr val="accent4"/>
              </a:solidFill>
              <a:ln w="9525">
                <a:solidFill>
                  <a:schemeClr val="lt1"/>
                </a:solidFill>
              </a:ln>
              <a:effectLst/>
            </c:spPr>
            <c:extLst>
              <c:ext xmlns:c16="http://schemas.microsoft.com/office/drawing/2014/chart" uri="{C3380CC4-5D6E-409C-BE32-E72D297353CC}">
                <c16:uniqueId val="{00000007-383A-4755-B0BF-31FE9CC9ACA0}"/>
              </c:ext>
            </c:extLst>
          </c:dPt>
          <c:dPt>
            <c:idx val="4"/>
            <c:bubble3D val="0"/>
            <c:spPr>
              <a:solidFill>
                <a:schemeClr val="accent5"/>
              </a:solidFill>
              <a:ln w="9525">
                <a:solidFill>
                  <a:schemeClr val="lt1"/>
                </a:solidFill>
              </a:ln>
              <a:effectLst/>
            </c:spPr>
            <c:extLst>
              <c:ext xmlns:c16="http://schemas.microsoft.com/office/drawing/2014/chart" uri="{C3380CC4-5D6E-409C-BE32-E72D297353CC}">
                <c16:uniqueId val="{00000009-383A-4755-B0BF-31FE9CC9ACA0}"/>
              </c:ext>
            </c:extLst>
          </c:dPt>
          <c:dPt>
            <c:idx val="5"/>
            <c:bubble3D val="0"/>
            <c:spPr>
              <a:solidFill>
                <a:schemeClr val="accent6"/>
              </a:solidFill>
              <a:ln w="9525">
                <a:solidFill>
                  <a:schemeClr val="lt1"/>
                </a:solidFill>
              </a:ln>
              <a:effectLst/>
            </c:spPr>
            <c:extLst>
              <c:ext xmlns:c16="http://schemas.microsoft.com/office/drawing/2014/chart" uri="{C3380CC4-5D6E-409C-BE32-E72D297353CC}">
                <c16:uniqueId val="{0000000B-383A-4755-B0BF-31FE9CC9ACA0}"/>
              </c:ext>
            </c:extLst>
          </c:dPt>
          <c:dPt>
            <c:idx val="6"/>
            <c:bubble3D val="0"/>
            <c:spPr>
              <a:solidFill>
                <a:schemeClr val="accent1">
                  <a:lumMod val="60000"/>
                </a:schemeClr>
              </a:solidFill>
              <a:ln w="9525">
                <a:solidFill>
                  <a:schemeClr val="lt1"/>
                </a:solidFill>
              </a:ln>
              <a:effectLst/>
            </c:spPr>
            <c:extLst>
              <c:ext xmlns:c16="http://schemas.microsoft.com/office/drawing/2014/chart" uri="{C3380CC4-5D6E-409C-BE32-E72D297353CC}">
                <c16:uniqueId val="{0000000D-383A-4755-B0BF-31FE9CC9ACA0}"/>
              </c:ext>
            </c:extLst>
          </c:dPt>
          <c:dPt>
            <c:idx val="7"/>
            <c:bubble3D val="0"/>
            <c:spPr>
              <a:solidFill>
                <a:schemeClr val="accent2">
                  <a:lumMod val="60000"/>
                </a:schemeClr>
              </a:solidFill>
              <a:ln w="9525">
                <a:solidFill>
                  <a:schemeClr val="lt1"/>
                </a:solidFill>
              </a:ln>
              <a:effectLst/>
            </c:spPr>
            <c:extLst>
              <c:ext xmlns:c16="http://schemas.microsoft.com/office/drawing/2014/chart" uri="{C3380CC4-5D6E-409C-BE32-E72D297353CC}">
                <c16:uniqueId val="{0000000F-383A-4755-B0BF-31FE9CC9ACA0}"/>
              </c:ext>
            </c:extLst>
          </c:dPt>
          <c:dPt>
            <c:idx val="8"/>
            <c:bubble3D val="0"/>
            <c:spPr>
              <a:solidFill>
                <a:schemeClr val="accent3">
                  <a:lumMod val="60000"/>
                </a:schemeClr>
              </a:solidFill>
              <a:ln w="9525">
                <a:solidFill>
                  <a:schemeClr val="lt1"/>
                </a:solidFill>
              </a:ln>
              <a:effectLst/>
            </c:spPr>
            <c:extLst>
              <c:ext xmlns:c16="http://schemas.microsoft.com/office/drawing/2014/chart" uri="{C3380CC4-5D6E-409C-BE32-E72D297353CC}">
                <c16:uniqueId val="{00000011-383A-4755-B0BF-31FE9CC9ACA0}"/>
              </c:ext>
            </c:extLst>
          </c:dPt>
          <c:dPt>
            <c:idx val="9"/>
            <c:bubble3D val="0"/>
            <c:spPr>
              <a:solidFill>
                <a:schemeClr val="accent4">
                  <a:lumMod val="60000"/>
                </a:schemeClr>
              </a:solidFill>
              <a:ln w="9525">
                <a:solidFill>
                  <a:schemeClr val="lt1"/>
                </a:solidFill>
              </a:ln>
              <a:effectLst/>
            </c:spPr>
            <c:extLst>
              <c:ext xmlns:c16="http://schemas.microsoft.com/office/drawing/2014/chart" uri="{C3380CC4-5D6E-409C-BE32-E72D297353CC}">
                <c16:uniqueId val="{00000013-383A-4755-B0BF-31FE9CC9ACA0}"/>
              </c:ext>
            </c:extLst>
          </c:dPt>
          <c:dPt>
            <c:idx val="10"/>
            <c:bubble3D val="0"/>
            <c:spPr>
              <a:solidFill>
                <a:schemeClr val="accent5">
                  <a:lumMod val="60000"/>
                </a:schemeClr>
              </a:solidFill>
              <a:ln w="9525">
                <a:solidFill>
                  <a:schemeClr val="lt1"/>
                </a:solidFill>
              </a:ln>
              <a:effectLst/>
            </c:spPr>
            <c:extLst>
              <c:ext xmlns:c16="http://schemas.microsoft.com/office/drawing/2014/chart" uri="{C3380CC4-5D6E-409C-BE32-E72D297353CC}">
                <c16:uniqueId val="{00000015-383A-4755-B0BF-31FE9CC9ACA0}"/>
              </c:ext>
            </c:extLst>
          </c:dPt>
          <c:dPt>
            <c:idx val="11"/>
            <c:bubble3D val="0"/>
            <c:spPr>
              <a:solidFill>
                <a:schemeClr val="accent6">
                  <a:lumMod val="60000"/>
                </a:schemeClr>
              </a:solidFill>
              <a:ln w="9525">
                <a:solidFill>
                  <a:schemeClr val="lt1"/>
                </a:solidFill>
              </a:ln>
              <a:effectLst/>
            </c:spPr>
            <c:extLst>
              <c:ext xmlns:c16="http://schemas.microsoft.com/office/drawing/2014/chart" uri="{C3380CC4-5D6E-409C-BE32-E72D297353CC}">
                <c16:uniqueId val="{00000017-383A-4755-B0BF-31FE9CC9ACA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1"/>
            <c:showBubbleSize val="0"/>
            <c:showLeaderLines val="0"/>
            <c:extLst>
              <c:ext xmlns:c15="http://schemas.microsoft.com/office/drawing/2012/chart" uri="{CE6537A1-D6FC-4f65-9D91-7224C49458BB}"/>
            </c:extLst>
          </c:dLbls>
          <c:cat>
            <c:strRef>
              <c:f>Sheet1!$A$2:$A$13</c:f>
              <c:strCache>
                <c:ptCount val="6"/>
                <c:pt idx="0">
                  <c:v>Consumer</c:v>
                </c:pt>
                <c:pt idx="1">
                  <c:v>Industrials</c:v>
                </c:pt>
                <c:pt idx="2">
                  <c:v>Technology</c:v>
                </c:pt>
                <c:pt idx="3">
                  <c:v>Health and Life Sciences</c:v>
                </c:pt>
                <c:pt idx="4">
                  <c:v>Energy</c:v>
                </c:pt>
                <c:pt idx="5">
                  <c:v>Others</c:v>
                </c:pt>
              </c:strCache>
            </c:strRef>
          </c:cat>
          <c:val>
            <c:numRef>
              <c:f>Sheet1!$B$2:$B$13</c:f>
              <c:numCache>
                <c:formatCode>General</c:formatCode>
                <c:ptCount val="12"/>
                <c:pt idx="0">
                  <c:v>200</c:v>
                </c:pt>
                <c:pt idx="1">
                  <c:v>253</c:v>
                </c:pt>
                <c:pt idx="2">
                  <c:v>211</c:v>
                </c:pt>
                <c:pt idx="3">
                  <c:v>139</c:v>
                </c:pt>
                <c:pt idx="4">
                  <c:v>120</c:v>
                </c:pt>
                <c:pt idx="5">
                  <c:v>292</c:v>
                </c:pt>
              </c:numCache>
            </c:numRef>
          </c:val>
          <c:extLst>
            <c:ext xmlns:c16="http://schemas.microsoft.com/office/drawing/2014/chart" uri="{C3380CC4-5D6E-409C-BE32-E72D297353CC}">
              <c16:uniqueId val="{00000018-383A-4755-B0BF-31FE9CC9ACA0}"/>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200" b="1" dirty="0">
                <a:solidFill>
                  <a:schemeClr val="tx1"/>
                </a:solidFill>
              </a:rPr>
              <a:t>IPO by Deals</a:t>
            </a:r>
          </a:p>
          <a:p>
            <a:pPr>
              <a:defRPr sz="1200" b="1">
                <a:solidFill>
                  <a:schemeClr val="tx1"/>
                </a:solidFill>
              </a:defRPr>
            </a:pPr>
            <a:r>
              <a:rPr lang="en-US" sz="1200" b="1" dirty="0">
                <a:solidFill>
                  <a:schemeClr val="tx1"/>
                </a:solidFill>
              </a:rPr>
              <a:t>2024 (1,215)</a:t>
            </a:r>
          </a:p>
        </c:rich>
      </c:tx>
      <c:layout>
        <c:manualLayout>
          <c:xMode val="edge"/>
          <c:yMode val="edge"/>
          <c:x val="0.27700170115314976"/>
          <c:y val="3.6563506806665036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24044661290993519"/>
          <c:y val="0.31004429447803539"/>
          <c:w val="0.55690269710497442"/>
          <c:h val="0.51027870615187709"/>
        </c:manualLayout>
      </c:layout>
      <c:pieChart>
        <c:varyColors val="1"/>
        <c:ser>
          <c:idx val="0"/>
          <c:order val="0"/>
          <c:tx>
            <c:strRef>
              <c:f>Sheet1!$B$1</c:f>
              <c:strCache>
                <c:ptCount val="1"/>
                <c:pt idx="0">
                  <c:v>IPO by Deals (1,215)</c:v>
                </c:pt>
              </c:strCache>
            </c:strRef>
          </c:tx>
          <c:spPr>
            <a:ln w="3175"/>
          </c:spPr>
          <c:dPt>
            <c:idx val="0"/>
            <c:bubble3D val="0"/>
            <c:spPr>
              <a:solidFill>
                <a:schemeClr val="bg2"/>
              </a:solidFill>
              <a:ln w="3175">
                <a:solidFill>
                  <a:schemeClr val="lt1"/>
                </a:solidFill>
              </a:ln>
              <a:effectLst/>
            </c:spPr>
            <c:extLst>
              <c:ext xmlns:c16="http://schemas.microsoft.com/office/drawing/2014/chart" uri="{C3380CC4-5D6E-409C-BE32-E72D297353CC}">
                <c16:uniqueId val="{00000001-7A3D-4F5F-B58B-C8C4962F7B77}"/>
              </c:ext>
            </c:extLst>
          </c:dPt>
          <c:dPt>
            <c:idx val="1"/>
            <c:bubble3D val="0"/>
            <c:spPr>
              <a:solidFill>
                <a:schemeClr val="accent1"/>
              </a:solidFill>
              <a:ln w="3175">
                <a:solidFill>
                  <a:schemeClr val="lt1"/>
                </a:solidFill>
              </a:ln>
              <a:effectLst/>
            </c:spPr>
            <c:extLst>
              <c:ext xmlns:c16="http://schemas.microsoft.com/office/drawing/2014/chart" uri="{C3380CC4-5D6E-409C-BE32-E72D297353CC}">
                <c16:uniqueId val="{00000003-7A3D-4F5F-B58B-C8C4962F7B77}"/>
              </c:ext>
            </c:extLst>
          </c:dPt>
          <c:dPt>
            <c:idx val="2"/>
            <c:bubble3D val="0"/>
            <c:spPr>
              <a:solidFill>
                <a:schemeClr val="accent3"/>
              </a:solidFill>
              <a:ln w="3175">
                <a:solidFill>
                  <a:schemeClr val="lt1"/>
                </a:solidFill>
              </a:ln>
              <a:effectLst/>
            </c:spPr>
            <c:extLst>
              <c:ext xmlns:c16="http://schemas.microsoft.com/office/drawing/2014/chart" uri="{C3380CC4-5D6E-409C-BE32-E72D297353CC}">
                <c16:uniqueId val="{00000005-7A3D-4F5F-B58B-C8C4962F7B77}"/>
              </c:ext>
            </c:extLst>
          </c:dPt>
          <c:dLbls>
            <c:dLbl>
              <c:idx val="0"/>
              <c:layout>
                <c:manualLayout>
                  <c:x val="-0.10734396791235455"/>
                  <c:y val="0.1049074991674724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A3D-4F5F-B58B-C8C4962F7B7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Americas</c:v>
                </c:pt>
                <c:pt idx="1">
                  <c:v>Asia-Pacific</c:v>
                </c:pt>
                <c:pt idx="2">
                  <c:v>EMEIA</c:v>
                </c:pt>
              </c:strCache>
            </c:strRef>
          </c:cat>
          <c:val>
            <c:numRef>
              <c:f>Sheet1!$B$2:$B$4</c:f>
              <c:numCache>
                <c:formatCode>0%</c:formatCode>
                <c:ptCount val="3"/>
                <c:pt idx="0">
                  <c:v>0.16872427983539096</c:v>
                </c:pt>
                <c:pt idx="1">
                  <c:v>0.40164609053497941</c:v>
                </c:pt>
                <c:pt idx="2">
                  <c:v>0.42962962962962964</c:v>
                </c:pt>
              </c:numCache>
            </c:numRef>
          </c:val>
          <c:extLst>
            <c:ext xmlns:c16="http://schemas.microsoft.com/office/drawing/2014/chart" uri="{C3380CC4-5D6E-409C-BE32-E72D297353CC}">
              <c16:uniqueId val="{00000006-7A3D-4F5F-B58B-C8C4962F7B7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200" b="1" dirty="0">
                <a:solidFill>
                  <a:schemeClr val="tx1"/>
                </a:solidFill>
              </a:rPr>
              <a:t>IPO by Proceeds </a:t>
            </a:r>
          </a:p>
          <a:p>
            <a:pPr>
              <a:defRPr sz="1200" b="1">
                <a:solidFill>
                  <a:schemeClr val="tx1"/>
                </a:solidFill>
              </a:defRPr>
            </a:pPr>
            <a:r>
              <a:rPr lang="en-US" sz="1200" b="1" dirty="0">
                <a:solidFill>
                  <a:schemeClr val="tx1"/>
                </a:solidFill>
              </a:rPr>
              <a:t>2024 ($121.2Bn)</a:t>
            </a:r>
          </a:p>
        </c:rich>
      </c:tx>
      <c:layout>
        <c:manualLayout>
          <c:xMode val="edge"/>
          <c:yMode val="edge"/>
          <c:x val="0.16578087746223855"/>
          <c:y val="3.6563506806665036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23349531142925323"/>
          <c:y val="0.3066881050870443"/>
          <c:w val="0.55690269710497442"/>
          <c:h val="0.51027870615187709"/>
        </c:manualLayout>
      </c:layout>
      <c:pieChart>
        <c:varyColors val="1"/>
        <c:ser>
          <c:idx val="0"/>
          <c:order val="0"/>
          <c:tx>
            <c:strRef>
              <c:f>Sheet1!$B$1</c:f>
              <c:strCache>
                <c:ptCount val="1"/>
                <c:pt idx="0">
                  <c:v>IPO by Proceeds FY24 ($ 121.2B)</c:v>
                </c:pt>
              </c:strCache>
            </c:strRef>
          </c:tx>
          <c:spPr>
            <a:ln w="3175"/>
          </c:spPr>
          <c:dPt>
            <c:idx val="0"/>
            <c:bubble3D val="0"/>
            <c:spPr>
              <a:solidFill>
                <a:schemeClr val="bg2"/>
              </a:solidFill>
              <a:ln w="3175">
                <a:solidFill>
                  <a:schemeClr val="lt1"/>
                </a:solidFill>
              </a:ln>
              <a:effectLst/>
            </c:spPr>
            <c:extLst>
              <c:ext xmlns:c16="http://schemas.microsoft.com/office/drawing/2014/chart" uri="{C3380CC4-5D6E-409C-BE32-E72D297353CC}">
                <c16:uniqueId val="{00000001-C56A-40C4-B4C1-C8F0A720F66C}"/>
              </c:ext>
            </c:extLst>
          </c:dPt>
          <c:dPt>
            <c:idx val="1"/>
            <c:bubble3D val="0"/>
            <c:spPr>
              <a:solidFill>
                <a:schemeClr val="accent1"/>
              </a:solidFill>
              <a:ln w="3175">
                <a:solidFill>
                  <a:schemeClr val="lt1"/>
                </a:solidFill>
              </a:ln>
              <a:effectLst/>
            </c:spPr>
            <c:extLst>
              <c:ext xmlns:c16="http://schemas.microsoft.com/office/drawing/2014/chart" uri="{C3380CC4-5D6E-409C-BE32-E72D297353CC}">
                <c16:uniqueId val="{00000003-C56A-40C4-B4C1-C8F0A720F66C}"/>
              </c:ext>
            </c:extLst>
          </c:dPt>
          <c:dPt>
            <c:idx val="2"/>
            <c:bubble3D val="0"/>
            <c:spPr>
              <a:solidFill>
                <a:schemeClr val="accent3"/>
              </a:solidFill>
              <a:ln w="3175">
                <a:solidFill>
                  <a:schemeClr val="lt1"/>
                </a:solidFill>
              </a:ln>
              <a:effectLst/>
            </c:spPr>
            <c:extLst>
              <c:ext xmlns:c16="http://schemas.microsoft.com/office/drawing/2014/chart" uri="{C3380CC4-5D6E-409C-BE32-E72D297353CC}">
                <c16:uniqueId val="{00000005-C56A-40C4-B4C1-C8F0A720F66C}"/>
              </c:ext>
            </c:extLst>
          </c:dPt>
          <c:dLbls>
            <c:dLbl>
              <c:idx val="0"/>
              <c:layout>
                <c:manualLayout>
                  <c:x val="-0.13394884279987476"/>
                  <c:y val="0.11609095213066871"/>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C56A-40C4-B4C1-C8F0A720F66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Americas</c:v>
                </c:pt>
                <c:pt idx="1">
                  <c:v>Asia-Pacific</c:v>
                </c:pt>
                <c:pt idx="2">
                  <c:v>EMEIA</c:v>
                </c:pt>
              </c:strCache>
            </c:strRef>
          </c:cat>
          <c:val>
            <c:numRef>
              <c:f>Sheet1!$B$2:$B$4</c:f>
              <c:numCache>
                <c:formatCode>0.00</c:formatCode>
                <c:ptCount val="3"/>
                <c:pt idx="0">
                  <c:v>33.1</c:v>
                </c:pt>
                <c:pt idx="1">
                  <c:v>34.9</c:v>
                </c:pt>
                <c:pt idx="2">
                  <c:v>53.2</c:v>
                </c:pt>
              </c:numCache>
            </c:numRef>
          </c:val>
          <c:extLst>
            <c:ext xmlns:c16="http://schemas.microsoft.com/office/drawing/2014/chart" uri="{C3380CC4-5D6E-409C-BE32-E72D297353CC}">
              <c16:uniqueId val="{00000006-C56A-40C4-B4C1-C8F0A720F66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200" b="1" dirty="0">
                <a:solidFill>
                  <a:schemeClr val="tx1"/>
                </a:solidFill>
              </a:rPr>
              <a:t>IPO by Proceeds </a:t>
            </a:r>
          </a:p>
          <a:p>
            <a:pPr>
              <a:defRPr sz="1200" b="1">
                <a:solidFill>
                  <a:schemeClr val="tx1"/>
                </a:solidFill>
              </a:defRPr>
            </a:pPr>
            <a:r>
              <a:rPr lang="en-US" sz="1200" b="1" dirty="0">
                <a:solidFill>
                  <a:schemeClr val="tx1"/>
                </a:solidFill>
              </a:rPr>
              <a:t>2020 ($271.3Bn)</a:t>
            </a:r>
          </a:p>
        </c:rich>
      </c:tx>
      <c:layout>
        <c:manualLayout>
          <c:xMode val="edge"/>
          <c:yMode val="edge"/>
          <c:x val="0.16578105915028357"/>
          <c:y val="3.6563667806122351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23349531142925323"/>
          <c:y val="0.31305744239511157"/>
          <c:w val="0.54995139562429252"/>
          <c:h val="0.50390936884380977"/>
        </c:manualLayout>
      </c:layout>
      <c:pieChart>
        <c:varyColors val="1"/>
        <c:ser>
          <c:idx val="0"/>
          <c:order val="0"/>
          <c:tx>
            <c:strRef>
              <c:f>Sheet1!$B$1</c:f>
              <c:strCache>
                <c:ptCount val="1"/>
                <c:pt idx="0">
                  <c:v>IPO by Proceeds ($ 205.8B)</c:v>
                </c:pt>
              </c:strCache>
            </c:strRef>
          </c:tx>
          <c:spPr>
            <a:ln w="3175"/>
          </c:spPr>
          <c:dPt>
            <c:idx val="0"/>
            <c:bubble3D val="0"/>
            <c:spPr>
              <a:solidFill>
                <a:schemeClr val="bg2"/>
              </a:solidFill>
              <a:ln w="3175">
                <a:solidFill>
                  <a:schemeClr val="lt1"/>
                </a:solidFill>
              </a:ln>
              <a:effectLst/>
            </c:spPr>
            <c:extLst>
              <c:ext xmlns:c16="http://schemas.microsoft.com/office/drawing/2014/chart" uri="{C3380CC4-5D6E-409C-BE32-E72D297353CC}">
                <c16:uniqueId val="{00000001-C14A-43C7-84D7-8FDD2F03FFF9}"/>
              </c:ext>
            </c:extLst>
          </c:dPt>
          <c:dPt>
            <c:idx val="1"/>
            <c:bubble3D val="0"/>
            <c:spPr>
              <a:solidFill>
                <a:schemeClr val="accent1"/>
              </a:solidFill>
              <a:ln w="3175">
                <a:solidFill>
                  <a:schemeClr val="lt1"/>
                </a:solidFill>
              </a:ln>
              <a:effectLst/>
            </c:spPr>
            <c:extLst>
              <c:ext xmlns:c16="http://schemas.microsoft.com/office/drawing/2014/chart" uri="{C3380CC4-5D6E-409C-BE32-E72D297353CC}">
                <c16:uniqueId val="{00000003-C14A-43C7-84D7-8FDD2F03FFF9}"/>
              </c:ext>
            </c:extLst>
          </c:dPt>
          <c:dPt>
            <c:idx val="2"/>
            <c:bubble3D val="0"/>
            <c:spPr>
              <a:solidFill>
                <a:schemeClr val="accent3"/>
              </a:solidFill>
              <a:ln w="3175">
                <a:solidFill>
                  <a:schemeClr val="lt1"/>
                </a:solidFill>
              </a:ln>
              <a:effectLst/>
            </c:spPr>
            <c:extLst>
              <c:ext xmlns:c16="http://schemas.microsoft.com/office/drawing/2014/chart" uri="{C3380CC4-5D6E-409C-BE32-E72D297353CC}">
                <c16:uniqueId val="{00000005-C14A-43C7-84D7-8FDD2F03FFF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Americas</c:v>
                </c:pt>
                <c:pt idx="1">
                  <c:v>Asia-Pacific</c:v>
                </c:pt>
                <c:pt idx="2">
                  <c:v>EMEIA</c:v>
                </c:pt>
              </c:strCache>
            </c:strRef>
          </c:cat>
          <c:val>
            <c:numRef>
              <c:f>Sheet1!$B$2:$B$4</c:f>
              <c:numCache>
                <c:formatCode>0%</c:formatCode>
                <c:ptCount val="3"/>
                <c:pt idx="0" formatCode="_(&quot;$&quot;* #,##0.0_);_(&quot;$&quot;* \(#,##0.0\);_(&quot;$&quot;* &quot;-&quot;??_);_(@_)">
                  <c:v>0.2635621699471915</c:v>
                </c:pt>
                <c:pt idx="1">
                  <c:v>0.44935189630340849</c:v>
                </c:pt>
                <c:pt idx="2">
                  <c:v>0.28708593374939989</c:v>
                </c:pt>
              </c:numCache>
            </c:numRef>
          </c:val>
          <c:extLst>
            <c:ext xmlns:c16="http://schemas.microsoft.com/office/drawing/2014/chart" uri="{C3380CC4-5D6E-409C-BE32-E72D297353CC}">
              <c16:uniqueId val="{00000000-0684-4E72-8D67-66271F92DA5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200" b="1" dirty="0">
                <a:solidFill>
                  <a:schemeClr val="tx1"/>
                </a:solidFill>
              </a:rPr>
              <a:t>IPO by Proceeds </a:t>
            </a:r>
          </a:p>
          <a:p>
            <a:pPr>
              <a:defRPr sz="1200" b="1">
                <a:solidFill>
                  <a:schemeClr val="tx1"/>
                </a:solidFill>
              </a:defRPr>
            </a:pPr>
            <a:r>
              <a:rPr lang="en-US" sz="1200" b="1" dirty="0">
                <a:solidFill>
                  <a:schemeClr val="tx1"/>
                </a:solidFill>
              </a:rPr>
              <a:t>2023 ($126.1Bn)</a:t>
            </a:r>
          </a:p>
        </c:rich>
      </c:tx>
      <c:layout>
        <c:manualLayout>
          <c:xMode val="edge"/>
          <c:yMode val="edge"/>
          <c:x val="0.16578105915028357"/>
          <c:y val="3.6563667806122351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23349531142925323"/>
          <c:y val="0.3194267797031789"/>
          <c:w val="0.54995139562429252"/>
          <c:h val="0.50390936884380977"/>
        </c:manualLayout>
      </c:layout>
      <c:pieChart>
        <c:varyColors val="1"/>
        <c:ser>
          <c:idx val="0"/>
          <c:order val="0"/>
          <c:tx>
            <c:strRef>
              <c:f>Sheet1!$B$1</c:f>
              <c:strCache>
                <c:ptCount val="1"/>
                <c:pt idx="0">
                  <c:v>IPO by Proceeds 2023 ($ 126.1B)</c:v>
                </c:pt>
              </c:strCache>
            </c:strRef>
          </c:tx>
          <c:spPr>
            <a:ln w="3175"/>
          </c:spPr>
          <c:dPt>
            <c:idx val="0"/>
            <c:bubble3D val="0"/>
            <c:spPr>
              <a:solidFill>
                <a:schemeClr val="bg2"/>
              </a:solidFill>
              <a:ln w="3175">
                <a:solidFill>
                  <a:schemeClr val="lt1"/>
                </a:solidFill>
              </a:ln>
              <a:effectLst/>
            </c:spPr>
            <c:extLst>
              <c:ext xmlns:c16="http://schemas.microsoft.com/office/drawing/2014/chart" uri="{C3380CC4-5D6E-409C-BE32-E72D297353CC}">
                <c16:uniqueId val="{00000001-976C-41ED-B595-0675C70B3D7C}"/>
              </c:ext>
            </c:extLst>
          </c:dPt>
          <c:dPt>
            <c:idx val="1"/>
            <c:bubble3D val="0"/>
            <c:spPr>
              <a:solidFill>
                <a:schemeClr val="accent1"/>
              </a:solidFill>
              <a:ln w="3175">
                <a:solidFill>
                  <a:schemeClr val="lt1"/>
                </a:solidFill>
              </a:ln>
              <a:effectLst/>
            </c:spPr>
            <c:extLst>
              <c:ext xmlns:c16="http://schemas.microsoft.com/office/drawing/2014/chart" uri="{C3380CC4-5D6E-409C-BE32-E72D297353CC}">
                <c16:uniqueId val="{00000003-976C-41ED-B595-0675C70B3D7C}"/>
              </c:ext>
            </c:extLst>
          </c:dPt>
          <c:dPt>
            <c:idx val="2"/>
            <c:bubble3D val="0"/>
            <c:spPr>
              <a:solidFill>
                <a:schemeClr val="accent3"/>
              </a:solidFill>
              <a:ln w="3175">
                <a:solidFill>
                  <a:schemeClr val="lt1"/>
                </a:solidFill>
              </a:ln>
              <a:effectLst/>
            </c:spPr>
            <c:extLst>
              <c:ext xmlns:c16="http://schemas.microsoft.com/office/drawing/2014/chart" uri="{C3380CC4-5D6E-409C-BE32-E72D297353CC}">
                <c16:uniqueId val="{00000005-976C-41ED-B595-0675C70B3D7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Americas</c:v>
                </c:pt>
                <c:pt idx="1">
                  <c:v>Asia-Pacific</c:v>
                </c:pt>
                <c:pt idx="2">
                  <c:v>EMEIA</c:v>
                </c:pt>
              </c:strCache>
            </c:strRef>
          </c:cat>
          <c:val>
            <c:numRef>
              <c:f>Sheet1!$B$2:$B$4</c:f>
              <c:numCache>
                <c:formatCode>_("$"* #,##0.0_);_("$"* \(#,##0.0\);_("$"* "-"??_);_(@_)</c:formatCode>
                <c:ptCount val="3"/>
                <c:pt idx="0">
                  <c:v>22.8</c:v>
                </c:pt>
                <c:pt idx="1">
                  <c:v>70.8</c:v>
                </c:pt>
                <c:pt idx="2">
                  <c:v>32.5</c:v>
                </c:pt>
              </c:numCache>
            </c:numRef>
          </c:val>
          <c:extLst>
            <c:ext xmlns:c16="http://schemas.microsoft.com/office/drawing/2014/chart" uri="{C3380CC4-5D6E-409C-BE32-E72D297353CC}">
              <c16:uniqueId val="{00000000-0684-4E72-8D67-66271F92DA5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200" b="1" dirty="0">
                <a:solidFill>
                  <a:schemeClr val="tx1"/>
                </a:solidFill>
              </a:rPr>
              <a:t>IPO by Deals</a:t>
            </a:r>
          </a:p>
          <a:p>
            <a:pPr>
              <a:defRPr sz="1200" b="1">
                <a:solidFill>
                  <a:schemeClr val="tx1"/>
                </a:solidFill>
              </a:defRPr>
            </a:pPr>
            <a:r>
              <a:rPr lang="en-US" sz="1200" b="1" dirty="0">
                <a:solidFill>
                  <a:schemeClr val="tx1"/>
                </a:solidFill>
              </a:rPr>
              <a:t>2020 (1,452)</a:t>
            </a:r>
          </a:p>
        </c:rich>
      </c:tx>
      <c:layout>
        <c:manualLayout>
          <c:xMode val="edge"/>
          <c:yMode val="edge"/>
          <c:x val="0.23529389226905806"/>
          <c:y val="3.6563506806665036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23349531142925323"/>
          <c:y val="0.31305744239511157"/>
          <c:w val="0.55690269710497442"/>
          <c:h val="0.51027870615187709"/>
        </c:manualLayout>
      </c:layout>
      <c:pieChart>
        <c:varyColors val="1"/>
        <c:ser>
          <c:idx val="0"/>
          <c:order val="0"/>
          <c:tx>
            <c:strRef>
              <c:f>Sheet1!$B$1</c:f>
              <c:strCache>
                <c:ptCount val="1"/>
                <c:pt idx="0">
                  <c:v>IPO by Deal volume (1,383)</c:v>
                </c:pt>
              </c:strCache>
            </c:strRef>
          </c:tx>
          <c:spPr>
            <a:ln w="3175"/>
          </c:spPr>
          <c:dPt>
            <c:idx val="0"/>
            <c:bubble3D val="0"/>
            <c:spPr>
              <a:solidFill>
                <a:schemeClr val="bg2"/>
              </a:solidFill>
              <a:ln w="3175">
                <a:solidFill>
                  <a:schemeClr val="lt1"/>
                </a:solidFill>
              </a:ln>
              <a:effectLst/>
            </c:spPr>
            <c:extLst>
              <c:ext xmlns:c16="http://schemas.microsoft.com/office/drawing/2014/chart" uri="{C3380CC4-5D6E-409C-BE32-E72D297353CC}">
                <c16:uniqueId val="{00000001-976C-41ED-B595-0675C70B3D7C}"/>
              </c:ext>
            </c:extLst>
          </c:dPt>
          <c:dPt>
            <c:idx val="1"/>
            <c:bubble3D val="0"/>
            <c:spPr>
              <a:solidFill>
                <a:schemeClr val="accent1"/>
              </a:solidFill>
              <a:ln w="3175">
                <a:solidFill>
                  <a:schemeClr val="lt1"/>
                </a:solidFill>
              </a:ln>
              <a:effectLst/>
            </c:spPr>
            <c:extLst>
              <c:ext xmlns:c16="http://schemas.microsoft.com/office/drawing/2014/chart" uri="{C3380CC4-5D6E-409C-BE32-E72D297353CC}">
                <c16:uniqueId val="{00000003-976C-41ED-B595-0675C70B3D7C}"/>
              </c:ext>
            </c:extLst>
          </c:dPt>
          <c:dPt>
            <c:idx val="2"/>
            <c:bubble3D val="0"/>
            <c:spPr>
              <a:solidFill>
                <a:schemeClr val="accent3"/>
              </a:solidFill>
              <a:ln w="3175">
                <a:solidFill>
                  <a:schemeClr val="lt1"/>
                </a:solidFill>
              </a:ln>
              <a:effectLst/>
            </c:spPr>
            <c:extLst>
              <c:ext xmlns:c16="http://schemas.microsoft.com/office/drawing/2014/chart" uri="{C3380CC4-5D6E-409C-BE32-E72D297353CC}">
                <c16:uniqueId val="{00000005-976C-41ED-B595-0675C70B3D7C}"/>
              </c:ext>
            </c:extLst>
          </c:dPt>
          <c:dLbls>
            <c:dLbl>
              <c:idx val="0"/>
              <c:layout>
                <c:manualLayout>
                  <c:x val="-0.10599968472837379"/>
                  <c:y val="0.1075575447057265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76C-41ED-B595-0675C70B3D7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Americas</c:v>
                </c:pt>
                <c:pt idx="1">
                  <c:v>Asia-Pacific</c:v>
                </c:pt>
                <c:pt idx="2">
                  <c:v>EMEIA</c:v>
                </c:pt>
              </c:strCache>
            </c:strRef>
          </c:cat>
          <c:val>
            <c:numRef>
              <c:f>Sheet1!$B$2:$B$4</c:f>
              <c:numCache>
                <c:formatCode>0%</c:formatCode>
                <c:ptCount val="3"/>
                <c:pt idx="0">
                  <c:v>0.18935427574171029</c:v>
                </c:pt>
                <c:pt idx="1">
                  <c:v>0.59860383944153572</c:v>
                </c:pt>
                <c:pt idx="2">
                  <c:v>0.21204188481675393</c:v>
                </c:pt>
              </c:numCache>
            </c:numRef>
          </c:val>
          <c:extLst>
            <c:ext xmlns:c16="http://schemas.microsoft.com/office/drawing/2014/chart" uri="{C3380CC4-5D6E-409C-BE32-E72D297353CC}">
              <c16:uniqueId val="{00000000-0684-4E72-8D67-66271F92DA5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r>
              <a:rPr lang="en-US" sz="1200" b="1" dirty="0">
                <a:solidFill>
                  <a:schemeClr val="tx1"/>
                </a:solidFill>
              </a:rPr>
              <a:t>IPO by Deals</a:t>
            </a:r>
          </a:p>
          <a:p>
            <a:pPr>
              <a:defRPr sz="1200" b="1">
                <a:solidFill>
                  <a:schemeClr val="tx1"/>
                </a:solidFill>
              </a:defRPr>
            </a:pPr>
            <a:r>
              <a:rPr lang="en-US" sz="1200" b="1" dirty="0">
                <a:solidFill>
                  <a:schemeClr val="tx1"/>
                </a:solidFill>
              </a:rPr>
              <a:t>2023 (1,351)</a:t>
            </a:r>
          </a:p>
        </c:rich>
      </c:tx>
      <c:layout>
        <c:manualLayout>
          <c:xMode val="edge"/>
          <c:yMode val="edge"/>
          <c:x val="0.24224519374974002"/>
          <c:y val="3.6563506806665036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24739791439061715"/>
          <c:y val="0.3043424837807584"/>
          <c:w val="0.55690269710497442"/>
          <c:h val="0.51027870615187709"/>
        </c:manualLayout>
      </c:layout>
      <c:pieChart>
        <c:varyColors val="1"/>
        <c:ser>
          <c:idx val="0"/>
          <c:order val="0"/>
          <c:tx>
            <c:strRef>
              <c:f>Sheet1!$B$1</c:f>
              <c:strCache>
                <c:ptCount val="1"/>
                <c:pt idx="0">
                  <c:v>IPO by deal volume (1,351)</c:v>
                </c:pt>
              </c:strCache>
            </c:strRef>
          </c:tx>
          <c:spPr>
            <a:ln w="3175"/>
          </c:spPr>
          <c:dPt>
            <c:idx val="0"/>
            <c:bubble3D val="0"/>
            <c:spPr>
              <a:solidFill>
                <a:schemeClr val="bg2"/>
              </a:solidFill>
              <a:ln w="3175">
                <a:solidFill>
                  <a:schemeClr val="lt1"/>
                </a:solidFill>
              </a:ln>
              <a:effectLst/>
            </c:spPr>
            <c:extLst>
              <c:ext xmlns:c16="http://schemas.microsoft.com/office/drawing/2014/chart" uri="{C3380CC4-5D6E-409C-BE32-E72D297353CC}">
                <c16:uniqueId val="{00000001-976C-41ED-B595-0675C70B3D7C}"/>
              </c:ext>
            </c:extLst>
          </c:dPt>
          <c:dPt>
            <c:idx val="1"/>
            <c:bubble3D val="0"/>
            <c:spPr>
              <a:solidFill>
                <a:schemeClr val="accent1"/>
              </a:solidFill>
              <a:ln w="3175">
                <a:solidFill>
                  <a:schemeClr val="lt1"/>
                </a:solidFill>
              </a:ln>
              <a:effectLst/>
            </c:spPr>
            <c:extLst>
              <c:ext xmlns:c16="http://schemas.microsoft.com/office/drawing/2014/chart" uri="{C3380CC4-5D6E-409C-BE32-E72D297353CC}">
                <c16:uniqueId val="{00000003-976C-41ED-B595-0675C70B3D7C}"/>
              </c:ext>
            </c:extLst>
          </c:dPt>
          <c:dPt>
            <c:idx val="2"/>
            <c:bubble3D val="0"/>
            <c:spPr>
              <a:solidFill>
                <a:schemeClr val="accent3"/>
              </a:solidFill>
              <a:ln w="3175">
                <a:solidFill>
                  <a:schemeClr val="lt1"/>
                </a:solidFill>
              </a:ln>
              <a:effectLst/>
            </c:spPr>
            <c:extLst>
              <c:ext xmlns:c16="http://schemas.microsoft.com/office/drawing/2014/chart" uri="{C3380CC4-5D6E-409C-BE32-E72D297353CC}">
                <c16:uniqueId val="{00000005-976C-41ED-B595-0675C70B3D7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Americas</c:v>
                </c:pt>
                <c:pt idx="1">
                  <c:v>Asia-Pacific</c:v>
                </c:pt>
                <c:pt idx="2">
                  <c:v>EMEIA</c:v>
                </c:pt>
              </c:strCache>
            </c:strRef>
          </c:cat>
          <c:val>
            <c:numRef>
              <c:f>Sheet1!$B$2:$B$4</c:f>
              <c:numCache>
                <c:formatCode>_(* #,##0_);_(* \(#,##0\);_(* "-"??_);_(@_)</c:formatCode>
                <c:ptCount val="3"/>
                <c:pt idx="0">
                  <c:v>150</c:v>
                </c:pt>
                <c:pt idx="1">
                  <c:v>755</c:v>
                </c:pt>
                <c:pt idx="2">
                  <c:v>446</c:v>
                </c:pt>
              </c:numCache>
            </c:numRef>
          </c:val>
          <c:extLst>
            <c:ext xmlns:c16="http://schemas.microsoft.com/office/drawing/2014/chart" uri="{C3380CC4-5D6E-409C-BE32-E72D297353CC}">
              <c16:uniqueId val="{00000000-0684-4E72-8D67-66271F92DA5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bg2"/>
                </a:solidFill>
                <a:latin typeface="+mn-lt"/>
                <a:ea typeface="+mn-ea"/>
                <a:cs typeface="+mn-cs"/>
              </a:defRPr>
            </a:pPr>
            <a:r>
              <a:rPr lang="en-IN" sz="1400" b="1" dirty="0">
                <a:solidFill>
                  <a:schemeClr val="bg2"/>
                </a:solidFill>
              </a:rPr>
              <a:t>Americas</a:t>
            </a:r>
          </a:p>
        </c:rich>
      </c:tx>
      <c:layout>
        <c:manualLayout>
          <c:xMode val="edge"/>
          <c:yMode val="edge"/>
          <c:x val="1.7403544378884772E-3"/>
          <c:y val="0"/>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bg2"/>
              </a:solidFill>
              <a:latin typeface="+mn-lt"/>
              <a:ea typeface="+mn-ea"/>
              <a:cs typeface="+mn-cs"/>
            </a:defRPr>
          </a:pPr>
          <a:endParaRPr lang="en-US"/>
        </a:p>
      </c:txPr>
    </c:title>
    <c:autoTitleDeleted val="0"/>
    <c:plotArea>
      <c:layout>
        <c:manualLayout>
          <c:layoutTarget val="inner"/>
          <c:xMode val="edge"/>
          <c:yMode val="edge"/>
          <c:x val="4.0093423128825308E-2"/>
          <c:y val="0.24901796426034697"/>
          <c:w val="0.9198131537423494"/>
          <c:h val="0.59595366243355996"/>
        </c:manualLayout>
      </c:layout>
      <c:barChart>
        <c:barDir val="col"/>
        <c:grouping val="clustered"/>
        <c:varyColors val="0"/>
        <c:ser>
          <c:idx val="1"/>
          <c:order val="1"/>
          <c:tx>
            <c:strRef>
              <c:f>Sheet1!$C$1</c:f>
              <c:strCache>
                <c:ptCount val="1"/>
                <c:pt idx="0">
                  <c:v>Proceeds</c:v>
                </c:pt>
              </c:strCache>
            </c:strRef>
          </c:tx>
          <c:spPr>
            <a:solidFill>
              <a:schemeClr val="bg2"/>
            </a:solidFill>
            <a:ln w="25400">
              <a:noFill/>
            </a:ln>
            <a:effectLst/>
          </c:spPr>
          <c:invertIfNegative val="0"/>
          <c:dLbls>
            <c:dLbl>
              <c:idx val="2"/>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2"/>
                      </a:solidFill>
                      <a:latin typeface="+mn-lt"/>
                      <a:ea typeface="+mn-ea"/>
                      <a:cs typeface="+mn-cs"/>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4DF1-4F1D-9ADD-D5DCB41C8E8F}"/>
                </c:ext>
              </c:extLst>
            </c:dLbl>
            <c:dLbl>
              <c:idx val="3"/>
              <c:layout>
                <c:manualLayout>
                  <c:x val="3.6448566480750278E-3"/>
                  <c:y val="0.1192237335584852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64C-4B71-AA89-9C3359D63652}"/>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7</c:f>
              <c:numCache>
                <c:formatCode>General</c:formatCode>
                <c:ptCount val="5"/>
                <c:pt idx="0">
                  <c:v>2020</c:v>
                </c:pt>
                <c:pt idx="1">
                  <c:v>2021</c:v>
                </c:pt>
                <c:pt idx="2">
                  <c:v>2022</c:v>
                </c:pt>
                <c:pt idx="3">
                  <c:v>2023</c:v>
                </c:pt>
                <c:pt idx="4">
                  <c:v>2024</c:v>
                </c:pt>
              </c:numCache>
            </c:numRef>
          </c:cat>
          <c:val>
            <c:numRef>
              <c:f>Sheet1!$C$3:$C$7</c:f>
              <c:numCache>
                <c:formatCode>"$"#,##0</c:formatCode>
                <c:ptCount val="5"/>
                <c:pt idx="0">
                  <c:v>97.9</c:v>
                </c:pt>
                <c:pt idx="1">
                  <c:v>174.5</c:v>
                </c:pt>
                <c:pt idx="2">
                  <c:v>8.9</c:v>
                </c:pt>
                <c:pt idx="3">
                  <c:v>22.8</c:v>
                </c:pt>
                <c:pt idx="4">
                  <c:v>33.1</c:v>
                </c:pt>
              </c:numCache>
            </c:numRef>
          </c:val>
          <c:extLst>
            <c:ext xmlns:c16="http://schemas.microsoft.com/office/drawing/2014/chart" uri="{C3380CC4-5D6E-409C-BE32-E72D297353CC}">
              <c16:uniqueId val="{00000001-556D-4DBE-89C1-C1788549879F}"/>
            </c:ext>
          </c:extLst>
        </c:ser>
        <c:dLbls>
          <c:showLegendKey val="0"/>
          <c:showVal val="0"/>
          <c:showCatName val="0"/>
          <c:showSerName val="0"/>
          <c:showPercent val="0"/>
          <c:showBubbleSize val="0"/>
        </c:dLbls>
        <c:gapWidth val="50"/>
        <c:axId val="1092118335"/>
        <c:axId val="1092063007"/>
      </c:barChart>
      <c:lineChart>
        <c:grouping val="standard"/>
        <c:varyColors val="0"/>
        <c:ser>
          <c:idx val="0"/>
          <c:order val="0"/>
          <c:tx>
            <c:strRef>
              <c:f>Sheet1!$B$1</c:f>
              <c:strCache>
                <c:ptCount val="1"/>
                <c:pt idx="0">
                  <c:v>Deal Volume</c:v>
                </c:pt>
              </c:strCache>
            </c:strRef>
          </c:tx>
          <c:spPr>
            <a:ln w="28575" cap="rnd">
              <a:solidFill>
                <a:schemeClr val="accent3"/>
              </a:solidFill>
              <a:round/>
            </a:ln>
            <a:effectLst/>
          </c:spPr>
          <c:marker>
            <c:symbol val="none"/>
          </c:marker>
          <c:dLbls>
            <c:dLbl>
              <c:idx val="2"/>
              <c:layout>
                <c:manualLayout>
                  <c:x val="-5.6112711595408281E-2"/>
                  <c:y val="-9.23014592058520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DF1-4F1D-9ADD-D5DCB41C8E8F}"/>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3:$A$7</c:f>
              <c:numCache>
                <c:formatCode>General</c:formatCode>
                <c:ptCount val="5"/>
                <c:pt idx="0">
                  <c:v>2020</c:v>
                </c:pt>
                <c:pt idx="1">
                  <c:v>2021</c:v>
                </c:pt>
                <c:pt idx="2">
                  <c:v>2022</c:v>
                </c:pt>
                <c:pt idx="3">
                  <c:v>2023</c:v>
                </c:pt>
                <c:pt idx="4">
                  <c:v>2024</c:v>
                </c:pt>
              </c:numCache>
            </c:numRef>
          </c:cat>
          <c:val>
            <c:numRef>
              <c:f>Sheet1!$B$3:$B$7</c:f>
              <c:numCache>
                <c:formatCode>General</c:formatCode>
                <c:ptCount val="5"/>
                <c:pt idx="0">
                  <c:v>282</c:v>
                </c:pt>
                <c:pt idx="1">
                  <c:v>532</c:v>
                </c:pt>
                <c:pt idx="2">
                  <c:v>133</c:v>
                </c:pt>
                <c:pt idx="3">
                  <c:v>150</c:v>
                </c:pt>
                <c:pt idx="4">
                  <c:v>205</c:v>
                </c:pt>
              </c:numCache>
            </c:numRef>
          </c:val>
          <c:smooth val="1"/>
          <c:extLst>
            <c:ext xmlns:c16="http://schemas.microsoft.com/office/drawing/2014/chart" uri="{C3380CC4-5D6E-409C-BE32-E72D297353CC}">
              <c16:uniqueId val="{00000000-556D-4DBE-89C1-C1788549879F}"/>
            </c:ext>
          </c:extLst>
        </c:ser>
        <c:dLbls>
          <c:showLegendKey val="0"/>
          <c:showVal val="0"/>
          <c:showCatName val="0"/>
          <c:showSerName val="0"/>
          <c:showPercent val="0"/>
          <c:showBubbleSize val="0"/>
        </c:dLbls>
        <c:marker val="1"/>
        <c:smooth val="0"/>
        <c:axId val="643424448"/>
        <c:axId val="643427072"/>
      </c:lineChart>
      <c:catAx>
        <c:axId val="1092118335"/>
        <c:scaling>
          <c:orientation val="minMax"/>
        </c:scaling>
        <c:delete val="0"/>
        <c:axPos val="b"/>
        <c:numFmt formatCode="General" sourceLinked="1"/>
        <c:majorTickMark val="none"/>
        <c:minorTickMark val="none"/>
        <c:tickLblPos val="nextTo"/>
        <c:spPr>
          <a:noFill/>
          <a:ln w="9525" cap="flat" cmpd="sng" algn="ctr">
            <a:solidFill>
              <a:schemeClr val="bg1">
                <a:lumMod val="7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92063007"/>
        <c:crosses val="autoZero"/>
        <c:auto val="1"/>
        <c:lblAlgn val="ctr"/>
        <c:lblOffset val="100"/>
        <c:noMultiLvlLbl val="0"/>
      </c:catAx>
      <c:valAx>
        <c:axId val="1092063007"/>
        <c:scaling>
          <c:orientation val="minMax"/>
          <c:max val="200"/>
        </c:scaling>
        <c:delete val="0"/>
        <c:axPos val="l"/>
        <c:numFmt formatCode="&quot;$&quot;#,##0" sourceLinked="1"/>
        <c:majorTickMark val="out"/>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1092118335"/>
        <c:crosses val="autoZero"/>
        <c:crossBetween val="between"/>
      </c:valAx>
      <c:valAx>
        <c:axId val="643427072"/>
        <c:scaling>
          <c:orientation val="minMax"/>
        </c:scaling>
        <c:delete val="0"/>
        <c:axPos val="r"/>
        <c:numFmt formatCode="General" sourceLinked="1"/>
        <c:majorTickMark val="out"/>
        <c:minorTickMark val="none"/>
        <c:tickLblPos val="none"/>
        <c:spPr>
          <a:noFill/>
          <a:ln>
            <a:no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643424448"/>
        <c:crosses val="max"/>
        <c:crossBetween val="between"/>
      </c:valAx>
      <c:catAx>
        <c:axId val="643424448"/>
        <c:scaling>
          <c:orientation val="minMax"/>
        </c:scaling>
        <c:delete val="1"/>
        <c:axPos val="b"/>
        <c:numFmt formatCode="General" sourceLinked="1"/>
        <c:majorTickMark val="out"/>
        <c:minorTickMark val="none"/>
        <c:tickLblPos val="nextTo"/>
        <c:crossAx val="643427072"/>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448566480750278E-3"/>
          <c:y val="9.4268323083538899E-2"/>
          <c:w val="0.9198131537423494"/>
          <c:h val="0.59595366243355996"/>
        </c:manualLayout>
      </c:layout>
      <c:lineChart>
        <c:grouping val="standard"/>
        <c:varyColors val="0"/>
        <c:ser>
          <c:idx val="1"/>
          <c:order val="0"/>
          <c:tx>
            <c:strRef>
              <c:f>Sheet1!$B$1</c:f>
              <c:strCache>
                <c:ptCount val="1"/>
                <c:pt idx="0">
                  <c:v>Number of deals</c:v>
                </c:pt>
              </c:strCache>
            </c:strRef>
          </c:tx>
          <c:spPr>
            <a:ln w="25400" cap="rnd">
              <a:solidFill>
                <a:srgbClr val="4CB4E7"/>
              </a:solidFill>
              <a:round/>
            </a:ln>
            <a:effectLst/>
          </c:spPr>
          <c:marker>
            <c:symbol val="none"/>
          </c:marker>
          <c:cat>
            <c:numRef>
              <c:f>Sheet1!$A$2:$A$6</c:f>
              <c:numCache>
                <c:formatCode>General</c:formatCode>
                <c:ptCount val="5"/>
                <c:pt idx="0">
                  <c:v>2018</c:v>
                </c:pt>
                <c:pt idx="1">
                  <c:v>2019</c:v>
                </c:pt>
                <c:pt idx="2">
                  <c:v>2020</c:v>
                </c:pt>
                <c:pt idx="3">
                  <c:v>2021</c:v>
                </c:pt>
                <c:pt idx="4">
                  <c:v>2022</c:v>
                </c:pt>
              </c:numCache>
            </c:numRef>
          </c:cat>
          <c:val>
            <c:numRef>
              <c:f>Sheet1!$C$2:$C$6</c:f>
              <c:numCache>
                <c:formatCode>General</c:formatCode>
                <c:ptCount val="5"/>
              </c:numCache>
            </c:numRef>
          </c:val>
          <c:smooth val="1"/>
          <c:extLst>
            <c:ext xmlns:c16="http://schemas.microsoft.com/office/drawing/2014/chart" uri="{C3380CC4-5D6E-409C-BE32-E72D297353CC}">
              <c16:uniqueId val="{00000001-556D-4DBE-89C1-C1788549879F}"/>
            </c:ext>
          </c:extLst>
        </c:ser>
        <c:ser>
          <c:idx val="0"/>
          <c:order val="1"/>
          <c:tx>
            <c:strRef>
              <c:f>Sheet1!$C$1</c:f>
              <c:strCache>
                <c:ptCount val="1"/>
                <c:pt idx="0">
                  <c:v>Proceeds ($Bn)</c:v>
                </c:pt>
              </c:strCache>
            </c:strRef>
          </c:tx>
          <c:spPr>
            <a:ln w="28575" cap="rnd">
              <a:solidFill>
                <a:schemeClr val="accent1"/>
              </a:solidFill>
              <a:round/>
            </a:ln>
            <a:effectLst/>
          </c:spPr>
          <c:marker>
            <c:symbol val="none"/>
          </c:marker>
          <c:val>
            <c:numLit>
              <c:formatCode>General</c:formatCode>
              <c:ptCount val="1"/>
              <c:pt idx="0">
                <c:v>1</c:v>
              </c:pt>
            </c:numLit>
          </c:val>
          <c:smooth val="0"/>
          <c:extLst>
            <c:ext xmlns:c16="http://schemas.microsoft.com/office/drawing/2014/chart" uri="{C3380CC4-5D6E-409C-BE32-E72D297353CC}">
              <c16:uniqueId val="{00000001-4F3F-4F81-A2C1-FF5E14B01F4B}"/>
            </c:ext>
          </c:extLst>
        </c:ser>
        <c:dLbls>
          <c:showLegendKey val="0"/>
          <c:showVal val="0"/>
          <c:showCatName val="0"/>
          <c:showSerName val="0"/>
          <c:showPercent val="0"/>
          <c:showBubbleSize val="0"/>
        </c:dLbls>
        <c:smooth val="0"/>
        <c:axId val="1092118335"/>
        <c:axId val="1092063007"/>
      </c:lineChart>
      <c:catAx>
        <c:axId val="1092118335"/>
        <c:scaling>
          <c:orientation val="minMax"/>
        </c:scaling>
        <c:delete val="1"/>
        <c:axPos val="b"/>
        <c:numFmt formatCode="General" sourceLinked="1"/>
        <c:majorTickMark val="none"/>
        <c:minorTickMark val="none"/>
        <c:tickLblPos val="nextTo"/>
        <c:crossAx val="1092063007"/>
        <c:crosses val="autoZero"/>
        <c:auto val="1"/>
        <c:lblAlgn val="ctr"/>
        <c:lblOffset val="100"/>
        <c:noMultiLvlLbl val="0"/>
      </c:catAx>
      <c:valAx>
        <c:axId val="1092063007"/>
        <c:scaling>
          <c:orientation val="minMax"/>
        </c:scaling>
        <c:delete val="1"/>
        <c:axPos val="l"/>
        <c:numFmt formatCode="General" sourceLinked="1"/>
        <c:majorTickMark val="none"/>
        <c:minorTickMark val="none"/>
        <c:tickLblPos val="nextTo"/>
        <c:crossAx val="1092118335"/>
        <c:crosses val="autoZero"/>
        <c:crossBetween val="between"/>
      </c:valAx>
      <c:spPr>
        <a:noFill/>
        <a:ln w="25400">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831C3C9-8BB4-41CE-AFD9-F29D7FB374C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BDE2AA12-045A-4286-AF34-21E446AFDA6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FE2E85-3F1B-4735-9440-E547577C036D}" type="datetimeFigureOut">
              <a:rPr lang="en-GB" smtClean="0"/>
              <a:t>13/02/2025</a:t>
            </a:fld>
            <a:endParaRPr lang="en-GB" dirty="0"/>
          </a:p>
        </p:txBody>
      </p:sp>
      <p:sp>
        <p:nvSpPr>
          <p:cNvPr id="4" name="Footer Placeholder 3">
            <a:extLst>
              <a:ext uri="{FF2B5EF4-FFF2-40B4-BE49-F238E27FC236}">
                <a16:creationId xmlns:a16="http://schemas.microsoft.com/office/drawing/2014/main" id="{7E035F69-0441-45AB-9075-3159AB32432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4F0DD238-8E14-4D6F-AEF3-941566C3D3D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1B7E8-778D-4516-A21D-A027C86556B5}" type="slidenum">
              <a:rPr lang="en-GB" smtClean="0"/>
              <a:t>‹#›</a:t>
            </a:fld>
            <a:endParaRPr lang="en-GB" dirty="0"/>
          </a:p>
        </p:txBody>
      </p:sp>
    </p:spTree>
    <p:extLst>
      <p:ext uri="{BB962C8B-B14F-4D97-AF65-F5344CB8AC3E}">
        <p14:creationId xmlns:p14="http://schemas.microsoft.com/office/powerpoint/2010/main" val="26597369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06B3EEA-D1A9-4940-9B9B-02A0AAADE5C4}" type="datetimeFigureOut">
              <a:rPr lang="en-GB" smtClean="0"/>
              <a:t>13/02/2025</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6077C7-D987-43E8-8DBF-729E2B9862E9}" type="slidenum">
              <a:rPr lang="en-GB" smtClean="0"/>
              <a:t>‹#›</a:t>
            </a:fld>
            <a:endParaRPr lang="en-GB" dirty="0"/>
          </a:p>
        </p:txBody>
      </p:sp>
    </p:spTree>
    <p:extLst>
      <p:ext uri="{BB962C8B-B14F-4D97-AF65-F5344CB8AC3E}">
        <p14:creationId xmlns:p14="http://schemas.microsoft.com/office/powerpoint/2010/main" val="852524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2.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svg"/></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5.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5.svg"/><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5.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5.svg"/></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5.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5.svg"/></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5.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5.svg"/></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5.svg"/></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5.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5.sv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svg"/></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9.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with Image">
    <p:bg>
      <p:bgPr>
        <a:solidFill>
          <a:schemeClr val="bg1"/>
        </a:solidFill>
        <a:effectLst/>
      </p:bgPr>
    </p:bg>
    <p:spTree>
      <p:nvGrpSpPr>
        <p:cNvPr id="1" name=""/>
        <p:cNvGrpSpPr/>
        <p:nvPr/>
      </p:nvGrpSpPr>
      <p:grpSpPr>
        <a:xfrm>
          <a:off x="0" y="0"/>
          <a:ext cx="0" cy="0"/>
          <a:chOff x="0" y="0"/>
          <a:chExt cx="0" cy="0"/>
        </a:xfrm>
      </p:grpSpPr>
      <p:pic>
        <p:nvPicPr>
          <p:cNvPr id="9" name="Picture 8" descr="A few people looking at a computer&#10;&#10;Description automatically generated with low confidence">
            <a:extLst>
              <a:ext uri="{FF2B5EF4-FFF2-40B4-BE49-F238E27FC236}">
                <a16:creationId xmlns:a16="http://schemas.microsoft.com/office/drawing/2014/main" id="{2A4D6FA0-0E0C-4F19-9EAE-ACF865BC29C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3324" r="22892" b="9567"/>
          <a:stretch/>
        </p:blipFill>
        <p:spPr>
          <a:xfrm>
            <a:off x="0" y="0"/>
            <a:ext cx="12192000" cy="6858000"/>
          </a:xfrm>
          <a:prstGeom prst="rect">
            <a:avLst/>
          </a:prstGeom>
        </p:spPr>
      </p:pic>
      <p:sp>
        <p:nvSpPr>
          <p:cNvPr id="7" name="Rectangle 6">
            <a:extLst>
              <a:ext uri="{FF2B5EF4-FFF2-40B4-BE49-F238E27FC236}">
                <a16:creationId xmlns:a16="http://schemas.microsoft.com/office/drawing/2014/main" id="{7CF8B57D-2DC0-44FD-A100-240874391ABC}"/>
              </a:ext>
            </a:extLst>
          </p:cNvPr>
          <p:cNvSpPr>
            <a:spLocks/>
          </p:cNvSpPr>
          <p:nvPr userDrawn="1"/>
        </p:nvSpPr>
        <p:spPr>
          <a:xfrm>
            <a:off x="0" y="0"/>
            <a:ext cx="12192000" cy="6858000"/>
          </a:xfrm>
          <a:prstGeom prst="rect">
            <a:avLst/>
          </a:prstGeom>
          <a:solidFill>
            <a:schemeClr val="tx1">
              <a:lumMod val="5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 dirty="0"/>
          </a:p>
        </p:txBody>
      </p:sp>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1524000" y="3999344"/>
            <a:ext cx="9144000"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endParaRPr lang="en-GB" dirty="0"/>
          </a:p>
        </p:txBody>
      </p:sp>
      <p:pic>
        <p:nvPicPr>
          <p:cNvPr id="6" name="Graphic 5">
            <a:extLst>
              <a:ext uri="{FF2B5EF4-FFF2-40B4-BE49-F238E27FC236}">
                <a16:creationId xmlns:a16="http://schemas.microsoft.com/office/drawing/2014/main" id="{D6505CBB-906A-468A-9AD3-706C136763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848850" y="557212"/>
            <a:ext cx="1905000" cy="198723"/>
          </a:xfrm>
          <a:prstGeom prst="rect">
            <a:avLst/>
          </a:prstGeom>
        </p:spPr>
      </p:pic>
      <p:sp>
        <p:nvSpPr>
          <p:cNvPr id="8" name="Text Placeholder 7">
            <a:extLst>
              <a:ext uri="{FF2B5EF4-FFF2-40B4-BE49-F238E27FC236}">
                <a16:creationId xmlns:a16="http://schemas.microsoft.com/office/drawing/2014/main" id="{1CAAE0C1-BF92-4903-9FBA-D5BF95690F4A}"/>
              </a:ext>
            </a:extLst>
          </p:cNvPr>
          <p:cNvSpPr>
            <a:spLocks noGrp="1"/>
          </p:cNvSpPr>
          <p:nvPr>
            <p:ph type="body" sz="quarter" idx="11" hasCustomPrompt="1"/>
          </p:nvPr>
        </p:nvSpPr>
        <p:spPr>
          <a:xfrm>
            <a:off x="1524000" y="2834640"/>
            <a:ext cx="9144000" cy="957262"/>
          </a:xfrm>
        </p:spPr>
        <p:txBody>
          <a:bodyPr/>
          <a:lstStyle>
            <a:lvl1pPr marL="0" indent="0" algn="ctr" defTabSz="914400" rtl="0" eaLnBrk="1" latinLnBrk="0" hangingPunct="1">
              <a:buFontTx/>
              <a:buNone/>
              <a:defRPr lang="en-US" sz="5400" b="1" kern="1200" dirty="0" smtClean="0">
                <a:solidFill>
                  <a:schemeClr val="bg1"/>
                </a:solidFill>
                <a:latin typeface="Segoe UI" panose="020B0502040204020203" pitchFamily="34" charset="0"/>
                <a:ea typeface="+mn-ea"/>
                <a:cs typeface="Segoe UI" panose="020B0502040204020203" pitchFamily="34" charset="0"/>
              </a:defRPr>
            </a:lvl1pPr>
            <a:lvl2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2pPr>
            <a:lvl3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3pPr>
            <a:lvl4pPr marL="0" algn="ctr" defTabSz="914400" rtl="0" eaLnBrk="1" latinLnBrk="0" hangingPunct="1">
              <a:defRPr lang="en-US" sz="5400" b="1" kern="1200" dirty="0" smtClean="0">
                <a:solidFill>
                  <a:schemeClr val="bg1"/>
                </a:solidFill>
                <a:latin typeface="Segoe UI" panose="020B0502040204020203" pitchFamily="34" charset="0"/>
                <a:ea typeface="+mn-ea"/>
                <a:cs typeface="Segoe UI" panose="020B0502040204020203" pitchFamily="34" charset="0"/>
              </a:defRPr>
            </a:lvl4pPr>
            <a:lvl5pPr marL="0" indent="0" algn="ctr" defTabSz="914400" rtl="0" eaLnBrk="1" latinLnBrk="0" hangingPunct="1">
              <a:buNone/>
              <a:defRPr lang="en-IN" sz="5400" b="1" kern="1200" dirty="0">
                <a:solidFill>
                  <a:schemeClr val="bg1"/>
                </a:solidFill>
                <a:latin typeface="Segoe UI" panose="020B0502040204020203" pitchFamily="34" charset="0"/>
                <a:ea typeface="+mn-ea"/>
                <a:cs typeface="Segoe UI" panose="020B0502040204020203" pitchFamily="34" charset="0"/>
              </a:defRPr>
            </a:lvl5pPr>
          </a:lstStyle>
          <a:p>
            <a:pPr lvl="0"/>
            <a:r>
              <a:rPr lang="en-US" dirty="0"/>
              <a:t>Elevate your  impact.</a:t>
            </a:r>
          </a:p>
        </p:txBody>
      </p:sp>
    </p:spTree>
    <p:custDataLst>
      <p:tags r:id="rId1"/>
    </p:custDataLst>
    <p:extLst>
      <p:ext uri="{BB962C8B-B14F-4D97-AF65-F5344CB8AC3E}">
        <p14:creationId xmlns:p14="http://schemas.microsoft.com/office/powerpoint/2010/main" val="14491161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Image Center">
    <p:bg>
      <p:bgPr>
        <a:solidFill>
          <a:schemeClr val="tx2"/>
        </a:solidFill>
        <a:effectLst/>
      </p:bgPr>
    </p:bg>
    <p:spTree>
      <p:nvGrpSpPr>
        <p:cNvPr id="1" name=""/>
        <p:cNvGrpSpPr/>
        <p:nvPr/>
      </p:nvGrpSpPr>
      <p:grpSpPr>
        <a:xfrm>
          <a:off x="0" y="0"/>
          <a:ext cx="0" cy="0"/>
          <a:chOff x="0" y="0"/>
          <a:chExt cx="0" cy="0"/>
        </a:xfrm>
      </p:grpSpPr>
      <p:pic>
        <p:nvPicPr>
          <p:cNvPr id="4" name="Picture 3" descr="A picture containing blur, laser&#10;&#10;Description automatically generated">
            <a:extLst>
              <a:ext uri="{FF2B5EF4-FFF2-40B4-BE49-F238E27FC236}">
                <a16:creationId xmlns:a16="http://schemas.microsoft.com/office/drawing/2014/main" id="{C7B9FB9A-565F-4706-A7EF-DE1DEAC63C7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9044" t="31578" r="66399" b="47701"/>
          <a:stretch/>
        </p:blipFill>
        <p:spPr>
          <a:xfrm flipH="1">
            <a:off x="-1" y="0"/>
            <a:ext cx="12192001" cy="6858000"/>
          </a:xfrm>
          <a:prstGeom prst="rect">
            <a:avLst/>
          </a:prstGeom>
        </p:spPr>
      </p:pic>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3525848" y="4405744"/>
            <a:ext cx="5140303"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endParaRPr lang="en-GB" dirty="0"/>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3130550" y="2766219"/>
            <a:ext cx="5930900" cy="1325563"/>
          </a:xfrm>
        </p:spPr>
        <p:txBody>
          <a:bodyPr anchor="ctr">
            <a:normAutofit/>
          </a:bodyPr>
          <a:lstStyle>
            <a:lvl1pPr algn="ctr">
              <a:defRPr sz="3600">
                <a:solidFill>
                  <a:schemeClr val="bg1"/>
                </a:solidFill>
              </a:defRPr>
            </a:lvl1pPr>
          </a:lstStyle>
          <a:p>
            <a:r>
              <a:rPr lang="en-US" dirty="0"/>
              <a:t>Divider placeholder bit </a:t>
            </a:r>
            <a:r>
              <a:rPr lang="en-US" dirty="0" err="1"/>
              <a:t>odis</a:t>
            </a:r>
            <a:r>
              <a:rPr lang="en-US" dirty="0"/>
              <a:t> re </a:t>
            </a:r>
            <a:r>
              <a:rPr lang="en-US" dirty="0" err="1"/>
              <a:t>pernatiis</a:t>
            </a:r>
            <a:r>
              <a:rPr lang="en-US" dirty="0"/>
              <a:t> </a:t>
            </a:r>
            <a:r>
              <a:rPr lang="en-US" dirty="0" err="1"/>
              <a:t>dundel</a:t>
            </a:r>
            <a:r>
              <a:rPr lang="en-US" dirty="0"/>
              <a:t> </a:t>
            </a:r>
            <a:r>
              <a:rPr lang="en-US" dirty="0" err="1"/>
              <a:t>eatem</a:t>
            </a:r>
            <a:r>
              <a:rPr lang="en-US" dirty="0"/>
              <a:t> </a:t>
            </a:r>
            <a:r>
              <a:rPr lang="en-US" dirty="0" err="1"/>
              <a:t>epsum</a:t>
            </a:r>
            <a:r>
              <a:rPr lang="en-US" dirty="0"/>
              <a:t> </a:t>
            </a:r>
            <a:r>
              <a:rPr lang="en-US" dirty="0" err="1"/>
              <a:t>videntor</a:t>
            </a:r>
            <a:r>
              <a:rPr lang="en-US" dirty="0"/>
              <a:t>.</a:t>
            </a:r>
            <a:endParaRPr lang="en-GB" dirty="0"/>
          </a:p>
        </p:txBody>
      </p:sp>
      <p:pic>
        <p:nvPicPr>
          <p:cNvPr id="9" name="Graphic 8">
            <a:extLst>
              <a:ext uri="{FF2B5EF4-FFF2-40B4-BE49-F238E27FC236}">
                <a16:creationId xmlns:a16="http://schemas.microsoft.com/office/drawing/2014/main" id="{7491E757-5C16-4299-9914-01E37DA4D133}"/>
              </a:ext>
            </a:extLst>
          </p:cNvPr>
          <p:cNvPicPr>
            <a:picLocks noChangeAspect="1"/>
          </p:cNvPicPr>
          <p:nvPr userDrawn="1"/>
        </p:nvPicPr>
        <p:blipFill>
          <a:blip r:embed="rId4">
            <a:extLst>
              <a:ext uri="{96DAC541-7B7A-43D3-8B79-37D633B846F1}">
                <asvg:svgBlip xmlns:asvg="http://schemas.microsoft.com/office/drawing/2016/SVG/main" r:embed="rId5"/>
              </a:ext>
            </a:extLst>
          </a:blip>
          <a:srcRect l="2467"/>
          <a:stretch>
            <a:fillRect/>
          </a:stretch>
        </p:blipFill>
        <p:spPr>
          <a:xfrm>
            <a:off x="0" y="5233935"/>
            <a:ext cx="1055390" cy="1069922"/>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Tree>
    <p:custDataLst>
      <p:tags r:id="rId1"/>
    </p:custDataLst>
    <p:extLst>
      <p:ext uri="{BB962C8B-B14F-4D97-AF65-F5344CB8AC3E}">
        <p14:creationId xmlns:p14="http://schemas.microsoft.com/office/powerpoint/2010/main" val="124651312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Image Placeholder Center">
    <p:bg>
      <p:bgPr>
        <a:solidFill>
          <a:schemeClr val="tx2"/>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0AE6575-2256-4FEF-96B0-3A079ACBC2EA}"/>
              </a:ext>
            </a:extLst>
          </p:cNvPr>
          <p:cNvSpPr>
            <a:spLocks noGrp="1"/>
          </p:cNvSpPr>
          <p:nvPr>
            <p:ph type="pic" sz="quarter" idx="14" hasCustomPrompt="1"/>
          </p:nvPr>
        </p:nvSpPr>
        <p:spPr>
          <a:xfrm>
            <a:off x="0" y="0"/>
            <a:ext cx="12192000" cy="6858000"/>
          </a:xfrm>
          <a:solidFill>
            <a:srgbClr val="E6E7E8"/>
          </a:solidFill>
        </p:spPr>
        <p:txBody>
          <a:bodyPr/>
          <a:lstStyle>
            <a:lvl1pPr marL="0" indent="0">
              <a:buNone/>
              <a:defRPr/>
            </a:lvl1pPr>
          </a:lstStyle>
          <a:p>
            <a:r>
              <a:rPr lang="en-US" dirty="0"/>
              <a:t> </a:t>
            </a:r>
            <a:endParaRPr lang="en-GB" dirty="0"/>
          </a:p>
        </p:txBody>
      </p:sp>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3525848" y="4405744"/>
            <a:ext cx="5140303"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endParaRPr lang="en-GB" dirty="0"/>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3130550" y="2766219"/>
            <a:ext cx="5930900" cy="1325563"/>
          </a:xfrm>
        </p:spPr>
        <p:txBody>
          <a:bodyPr anchor="ctr">
            <a:normAutofit/>
          </a:bodyPr>
          <a:lstStyle>
            <a:lvl1pPr algn="ctr">
              <a:defRPr sz="3600">
                <a:solidFill>
                  <a:schemeClr val="bg1"/>
                </a:solidFill>
              </a:defRPr>
            </a:lvl1pPr>
          </a:lstStyle>
          <a:p>
            <a:r>
              <a:rPr lang="en-US" dirty="0"/>
              <a:t>Divider placeholder bit </a:t>
            </a:r>
            <a:r>
              <a:rPr lang="en-US" dirty="0" err="1"/>
              <a:t>odis</a:t>
            </a:r>
            <a:r>
              <a:rPr lang="en-US" dirty="0"/>
              <a:t> re </a:t>
            </a:r>
            <a:r>
              <a:rPr lang="en-US" dirty="0" err="1"/>
              <a:t>pernatiis</a:t>
            </a:r>
            <a:r>
              <a:rPr lang="en-US" dirty="0"/>
              <a:t> </a:t>
            </a:r>
            <a:r>
              <a:rPr lang="en-US" dirty="0" err="1"/>
              <a:t>dundel</a:t>
            </a:r>
            <a:r>
              <a:rPr lang="en-US" dirty="0"/>
              <a:t> </a:t>
            </a:r>
            <a:r>
              <a:rPr lang="en-US" dirty="0" err="1"/>
              <a:t>eatem</a:t>
            </a:r>
            <a:r>
              <a:rPr lang="en-US" dirty="0"/>
              <a:t> </a:t>
            </a:r>
            <a:r>
              <a:rPr lang="en-US" dirty="0" err="1"/>
              <a:t>epsum</a:t>
            </a:r>
            <a:r>
              <a:rPr lang="en-US" dirty="0"/>
              <a:t> </a:t>
            </a:r>
            <a:r>
              <a:rPr lang="en-US" dirty="0" err="1"/>
              <a:t>videntor</a:t>
            </a:r>
            <a:r>
              <a:rPr lang="en-US" dirty="0"/>
              <a:t>.</a:t>
            </a:r>
            <a:endParaRPr lang="en-GB" dirty="0"/>
          </a:p>
        </p:txBody>
      </p:sp>
      <p:pic>
        <p:nvPicPr>
          <p:cNvPr id="9" name="Graphic 8">
            <a:extLst>
              <a:ext uri="{FF2B5EF4-FFF2-40B4-BE49-F238E27FC236}">
                <a16:creationId xmlns:a16="http://schemas.microsoft.com/office/drawing/2014/main" id="{7491E757-5C16-4299-9914-01E37DA4D133}"/>
              </a:ext>
            </a:extLst>
          </p:cNvPr>
          <p:cNvPicPr>
            <a:picLocks noChangeAspect="1"/>
          </p:cNvPicPr>
          <p:nvPr userDrawn="1"/>
        </p:nvPicPr>
        <p:blipFill>
          <a:blip r:embed="rId3">
            <a:extLst>
              <a:ext uri="{96DAC541-7B7A-43D3-8B79-37D633B846F1}">
                <asvg:svgBlip xmlns:asvg="http://schemas.microsoft.com/office/drawing/2016/SVG/main" r:embed="rId4"/>
              </a:ext>
            </a:extLst>
          </a:blip>
          <a:srcRect l="2467"/>
          <a:stretch>
            <a:fillRect/>
          </a:stretch>
        </p:blipFill>
        <p:spPr>
          <a:xfrm>
            <a:off x="0" y="5233935"/>
            <a:ext cx="1055390" cy="1069922"/>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
        <p:nvSpPr>
          <p:cNvPr id="6" name="Rectangle 5">
            <a:extLst>
              <a:ext uri="{FF2B5EF4-FFF2-40B4-BE49-F238E27FC236}">
                <a16:creationId xmlns:a16="http://schemas.microsoft.com/office/drawing/2014/main" id="{58CBA591-7F21-4D58-8B14-28E4CC63412E}"/>
              </a:ext>
            </a:extLst>
          </p:cNvPr>
          <p:cNvSpPr/>
          <p:nvPr userDrawn="1"/>
        </p:nvSpPr>
        <p:spPr>
          <a:xfrm>
            <a:off x="-2801257" y="0"/>
            <a:ext cx="2423886" cy="23948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latin typeface="Segoe UI" panose="020B0502040204020203" pitchFamily="34" charset="0"/>
                <a:cs typeface="Segoe UI" panose="020B0502040204020203" pitchFamily="34" charset="0"/>
              </a:rPr>
              <a:t>Move the title to access the placeholder button.</a:t>
            </a:r>
          </a:p>
          <a:p>
            <a:r>
              <a:rPr lang="en-US" dirty="0">
                <a:latin typeface="Segoe UI" panose="020B0502040204020203" pitchFamily="34" charset="0"/>
                <a:cs typeface="Segoe UI" panose="020B0502040204020203" pitchFamily="34" charset="0"/>
              </a:rPr>
              <a:t>Click ‘reset’ in the Home tab of the toolbar once you have replaced the image.</a:t>
            </a:r>
            <a:endParaRPr lang="en-GB" dirty="0">
              <a:latin typeface="Segoe UI" panose="020B0502040204020203" pitchFamily="34" charset="0"/>
              <a:cs typeface="Segoe UI" panose="020B0502040204020203" pitchFamily="34" charset="0"/>
            </a:endParaRPr>
          </a:p>
        </p:txBody>
      </p:sp>
    </p:spTree>
    <p:custDataLst>
      <p:tags r:id="rId1"/>
    </p:custDataLst>
    <p:extLst>
      <p:ext uri="{BB962C8B-B14F-4D97-AF65-F5344CB8AC3E}">
        <p14:creationId xmlns:p14="http://schemas.microsoft.com/office/powerpoint/2010/main" val="3026579351"/>
      </p:ext>
    </p:extLst>
  </p:cSld>
  <p:clrMapOvr>
    <a:masterClrMapping/>
  </p:clrMapOvr>
  <p:extLst>
    <p:ext uri="{DCECCB84-F9BA-43D5-87BE-67443E8EF086}">
      <p15:sldGuideLst xmlns:p15="http://schemas.microsoft.com/office/powerpoint/2012/main">
        <p15:guide id="1" orient="horz" pos="2591" userDrawn="1">
          <p15:clr>
            <a:srgbClr val="FBAE40"/>
          </p15:clr>
        </p15:guide>
        <p15:guide id="2" pos="1958" userDrawn="1">
          <p15:clr>
            <a:srgbClr val="FBAE40"/>
          </p15:clr>
        </p15:guide>
        <p15:guide id="3" pos="5722" userDrawn="1">
          <p15:clr>
            <a:srgbClr val="FBAE40"/>
          </p15:clr>
        </p15:guide>
        <p15:guide id="4" orient="horz" pos="172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With Replacable Image Center ">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3525848" y="4405744"/>
            <a:ext cx="5140303"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endParaRPr lang="en-GB" dirty="0"/>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3130550" y="2766219"/>
            <a:ext cx="5930900" cy="1325563"/>
          </a:xfrm>
        </p:spPr>
        <p:txBody>
          <a:bodyPr>
            <a:normAutofit/>
          </a:bodyPr>
          <a:lstStyle>
            <a:lvl1pPr algn="ctr">
              <a:defRPr sz="3600">
                <a:solidFill>
                  <a:schemeClr val="bg1"/>
                </a:solidFill>
              </a:defRPr>
            </a:lvl1pPr>
          </a:lstStyle>
          <a:p>
            <a:r>
              <a:rPr lang="en-US" dirty="0"/>
              <a:t>Divider placeholder bit </a:t>
            </a:r>
            <a:r>
              <a:rPr lang="en-US" dirty="0" err="1"/>
              <a:t>odis</a:t>
            </a:r>
            <a:r>
              <a:rPr lang="en-US" dirty="0"/>
              <a:t> re </a:t>
            </a:r>
            <a:r>
              <a:rPr lang="en-US" dirty="0" err="1"/>
              <a:t>pernatiis</a:t>
            </a:r>
            <a:r>
              <a:rPr lang="en-US" dirty="0"/>
              <a:t> </a:t>
            </a:r>
            <a:r>
              <a:rPr lang="en-US" dirty="0" err="1"/>
              <a:t>dundel</a:t>
            </a:r>
            <a:r>
              <a:rPr lang="en-US" dirty="0"/>
              <a:t> </a:t>
            </a:r>
            <a:r>
              <a:rPr lang="en-US" dirty="0" err="1"/>
              <a:t>eatem</a:t>
            </a:r>
            <a:r>
              <a:rPr lang="en-US" dirty="0"/>
              <a:t> </a:t>
            </a:r>
            <a:r>
              <a:rPr lang="en-US" dirty="0" err="1"/>
              <a:t>epsum</a:t>
            </a:r>
            <a:r>
              <a:rPr lang="en-US" dirty="0"/>
              <a:t> </a:t>
            </a:r>
            <a:r>
              <a:rPr lang="en-US" dirty="0" err="1"/>
              <a:t>videntor</a:t>
            </a:r>
            <a:r>
              <a:rPr lang="en-US" dirty="0"/>
              <a:t>.</a:t>
            </a:r>
            <a:endParaRPr lang="en-GB" dirty="0"/>
          </a:p>
        </p:txBody>
      </p:sp>
      <p:pic>
        <p:nvPicPr>
          <p:cNvPr id="9" name="Graphic 8">
            <a:extLst>
              <a:ext uri="{FF2B5EF4-FFF2-40B4-BE49-F238E27FC236}">
                <a16:creationId xmlns:a16="http://schemas.microsoft.com/office/drawing/2014/main" id="{7491E757-5C16-4299-9914-01E37DA4D133}"/>
              </a:ext>
            </a:extLst>
          </p:cNvPr>
          <p:cNvPicPr>
            <a:picLocks noChangeAspect="1"/>
          </p:cNvPicPr>
          <p:nvPr userDrawn="1"/>
        </p:nvPicPr>
        <p:blipFill>
          <a:blip r:embed="rId4">
            <a:extLst>
              <a:ext uri="{96DAC541-7B7A-43D3-8B79-37D633B846F1}">
                <asvg:svgBlip xmlns:asvg="http://schemas.microsoft.com/office/drawing/2016/SVG/main" r:embed="rId5"/>
              </a:ext>
            </a:extLst>
          </a:blip>
          <a:srcRect l="2467"/>
          <a:stretch>
            <a:fillRect/>
          </a:stretch>
        </p:blipFill>
        <p:spPr>
          <a:xfrm>
            <a:off x="0" y="5233935"/>
            <a:ext cx="1055390" cy="1069922"/>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Tree>
    <p:custDataLst>
      <p:tags r:id="rId1"/>
    </p:custDataLst>
    <p:extLst>
      <p:ext uri="{BB962C8B-B14F-4D97-AF65-F5344CB8AC3E}">
        <p14:creationId xmlns:p14="http://schemas.microsoft.com/office/powerpoint/2010/main" val="30883236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genda With Image Placeholder">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7D8314A2-B054-4AB5-A824-18B3732F1E3A}"/>
              </a:ext>
            </a:extLst>
          </p:cNvPr>
          <p:cNvSpPr>
            <a:spLocks noGrp="1"/>
          </p:cNvSpPr>
          <p:nvPr>
            <p:ph type="pic" sz="quarter" idx="28" hasCustomPrompt="1"/>
          </p:nvPr>
        </p:nvSpPr>
        <p:spPr>
          <a:xfrm>
            <a:off x="6987572" y="4594225"/>
            <a:ext cx="5204428" cy="2263775"/>
          </a:xfrm>
          <a:custGeom>
            <a:avLst/>
            <a:gdLst>
              <a:gd name="connsiteX0" fmla="*/ 2255238 w 5204428"/>
              <a:gd name="connsiteY0" fmla="*/ 0 h 2263775"/>
              <a:gd name="connsiteX1" fmla="*/ 5204428 w 5204428"/>
              <a:gd name="connsiteY1" fmla="*/ 0 h 2263775"/>
              <a:gd name="connsiteX2" fmla="*/ 5204428 w 5204428"/>
              <a:gd name="connsiteY2" fmla="*/ 2263775 h 2263775"/>
              <a:gd name="connsiteX3" fmla="*/ 0 w 5204428"/>
              <a:gd name="connsiteY3" fmla="*/ 2263775 h 2263775"/>
              <a:gd name="connsiteX4" fmla="*/ 2032725 w 5204428"/>
              <a:gd name="connsiteY4" fmla="*/ 11236 h 2263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04428" h="2263775">
                <a:moveTo>
                  <a:pt x="2255238" y="0"/>
                </a:moveTo>
                <a:lnTo>
                  <a:pt x="5204428" y="0"/>
                </a:lnTo>
                <a:lnTo>
                  <a:pt x="5204428" y="2263775"/>
                </a:lnTo>
                <a:lnTo>
                  <a:pt x="0" y="2263775"/>
                </a:lnTo>
                <a:cubicBezTo>
                  <a:pt x="0" y="1091432"/>
                  <a:pt x="890974" y="127187"/>
                  <a:pt x="2032725" y="11236"/>
                </a:cubicBezTo>
                <a:close/>
              </a:path>
            </a:pathLst>
          </a:custGeom>
          <a:solidFill>
            <a:srgbClr val="E6E7E8"/>
          </a:solidFill>
        </p:spPr>
        <p:txBody>
          <a:bodyPr wrap="square" anchor="ctr" anchorCtr="1">
            <a:noAutofit/>
          </a:bodyPr>
          <a:lstStyle>
            <a:lvl1pPr marL="0" indent="0" algn="ctr">
              <a:buNone/>
              <a:defRPr/>
            </a:lvl1pPr>
          </a:lstStyle>
          <a:p>
            <a:r>
              <a:rPr lang="en-US" dirty="0"/>
              <a:t>Picture placeholder</a:t>
            </a:r>
          </a:p>
          <a:p>
            <a:r>
              <a:rPr lang="en-US" dirty="0"/>
              <a:t>Click icon to add image</a:t>
            </a:r>
            <a:endParaRPr lang="en-GB" dirty="0"/>
          </a:p>
        </p:txBody>
      </p:sp>
      <p:sp>
        <p:nvSpPr>
          <p:cNvPr id="6" name="Title 5">
            <a:extLst>
              <a:ext uri="{FF2B5EF4-FFF2-40B4-BE49-F238E27FC236}">
                <a16:creationId xmlns:a16="http://schemas.microsoft.com/office/drawing/2014/main" id="{84443F72-AD09-4CCC-AC53-720EB504255C}"/>
              </a:ext>
            </a:extLst>
          </p:cNvPr>
          <p:cNvSpPr>
            <a:spLocks noGrp="1"/>
          </p:cNvSpPr>
          <p:nvPr>
            <p:ph type="title" hasCustomPrompt="1"/>
          </p:nvPr>
        </p:nvSpPr>
        <p:spPr>
          <a:xfrm>
            <a:off x="587376" y="393192"/>
            <a:ext cx="10980737" cy="548640"/>
          </a:xfrm>
        </p:spPr>
        <p:txBody>
          <a:bodyPr anchor="ctr" anchorCtr="0"/>
          <a:lstStyle>
            <a:lvl1pPr>
              <a:defRPr/>
            </a:lvl1pPr>
          </a:lstStyle>
          <a:p>
            <a:r>
              <a:rPr lang="en-US" dirty="0"/>
              <a:t>Presentation summary.</a:t>
            </a:r>
            <a:endParaRPr lang="en-GB" dirty="0"/>
          </a:p>
        </p:txBody>
      </p:sp>
      <p:sp>
        <p:nvSpPr>
          <p:cNvPr id="23" name="Text Placeholder 8">
            <a:extLst>
              <a:ext uri="{FF2B5EF4-FFF2-40B4-BE49-F238E27FC236}">
                <a16:creationId xmlns:a16="http://schemas.microsoft.com/office/drawing/2014/main" id="{131F6BD0-DB61-4B94-9143-AC82D733D9CB}"/>
              </a:ext>
            </a:extLst>
          </p:cNvPr>
          <p:cNvSpPr>
            <a:spLocks noGrp="1"/>
          </p:cNvSpPr>
          <p:nvPr>
            <p:ph type="body" sz="quarter" idx="14" hasCustomPrompt="1"/>
          </p:nvPr>
        </p:nvSpPr>
        <p:spPr>
          <a:xfrm>
            <a:off x="587374" y="1887154"/>
            <a:ext cx="1295401" cy="289109"/>
          </a:xfrm>
        </p:spPr>
        <p:txBody>
          <a:bodyPr wrap="square" anchor="ctr" anchorCtr="0">
            <a:normAutofit/>
          </a:bodyPr>
          <a:lstStyle>
            <a:lvl1pPr marL="0" indent="0">
              <a:buNone/>
              <a:defRPr sz="1400" b="1">
                <a:solidFill>
                  <a:schemeClr val="tx2"/>
                </a:solidFill>
              </a:defRPr>
            </a:lvl1pPr>
          </a:lstStyle>
          <a:p>
            <a:pPr lvl="0"/>
            <a:r>
              <a:rPr lang="en-GB" dirty="0"/>
              <a:t>Summary 1</a:t>
            </a:r>
          </a:p>
        </p:txBody>
      </p:sp>
      <p:sp>
        <p:nvSpPr>
          <p:cNvPr id="24" name="Text Placeholder 8">
            <a:extLst>
              <a:ext uri="{FF2B5EF4-FFF2-40B4-BE49-F238E27FC236}">
                <a16:creationId xmlns:a16="http://schemas.microsoft.com/office/drawing/2014/main" id="{B4BCE1B9-2C80-43A4-9A44-47F3591C5560}"/>
              </a:ext>
            </a:extLst>
          </p:cNvPr>
          <p:cNvSpPr>
            <a:spLocks noGrp="1"/>
          </p:cNvSpPr>
          <p:nvPr>
            <p:ph type="body" sz="quarter" idx="15" hasCustomPrompt="1"/>
          </p:nvPr>
        </p:nvSpPr>
        <p:spPr>
          <a:xfrm>
            <a:off x="1882775" y="1877820"/>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piscing</a:t>
            </a:r>
            <a:r>
              <a:rPr lang="en-GB" dirty="0"/>
              <a:t> </a:t>
            </a:r>
          </a:p>
        </p:txBody>
      </p:sp>
      <p:sp>
        <p:nvSpPr>
          <p:cNvPr id="25" name="Text Placeholder 8">
            <a:extLst>
              <a:ext uri="{FF2B5EF4-FFF2-40B4-BE49-F238E27FC236}">
                <a16:creationId xmlns:a16="http://schemas.microsoft.com/office/drawing/2014/main" id="{B03923D2-71F4-490C-9FC2-F2AF5F82059D}"/>
              </a:ext>
            </a:extLst>
          </p:cNvPr>
          <p:cNvSpPr>
            <a:spLocks noGrp="1"/>
          </p:cNvSpPr>
          <p:nvPr>
            <p:ph type="body" sz="quarter" idx="16" hasCustomPrompt="1"/>
          </p:nvPr>
        </p:nvSpPr>
        <p:spPr>
          <a:xfrm>
            <a:off x="587374" y="2199885"/>
            <a:ext cx="1295401" cy="289109"/>
          </a:xfrm>
        </p:spPr>
        <p:txBody>
          <a:bodyPr wrap="square" anchor="ctr" anchorCtr="0">
            <a:normAutofit/>
          </a:bodyPr>
          <a:lstStyle>
            <a:lvl1pPr marL="0" indent="0">
              <a:buNone/>
              <a:defRPr sz="1400" b="1">
                <a:solidFill>
                  <a:schemeClr val="tx2"/>
                </a:solidFill>
              </a:defRPr>
            </a:lvl1pPr>
          </a:lstStyle>
          <a:p>
            <a:pPr lvl="0"/>
            <a:r>
              <a:rPr lang="en-GB"/>
              <a:t>Summary 2</a:t>
            </a:r>
          </a:p>
        </p:txBody>
      </p:sp>
      <p:sp>
        <p:nvSpPr>
          <p:cNvPr id="26" name="Text Placeholder 8">
            <a:extLst>
              <a:ext uri="{FF2B5EF4-FFF2-40B4-BE49-F238E27FC236}">
                <a16:creationId xmlns:a16="http://schemas.microsoft.com/office/drawing/2014/main" id="{197564AC-4894-4054-9465-9FC9F4AAE2AA}"/>
              </a:ext>
            </a:extLst>
          </p:cNvPr>
          <p:cNvSpPr>
            <a:spLocks noGrp="1"/>
          </p:cNvSpPr>
          <p:nvPr>
            <p:ph type="body" sz="quarter" idx="17" hasCustomPrompt="1"/>
          </p:nvPr>
        </p:nvSpPr>
        <p:spPr>
          <a:xfrm>
            <a:off x="1882775" y="2190551"/>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piscing</a:t>
            </a:r>
            <a:r>
              <a:rPr lang="en-GB" dirty="0"/>
              <a:t> </a:t>
            </a:r>
          </a:p>
        </p:txBody>
      </p:sp>
      <p:sp>
        <p:nvSpPr>
          <p:cNvPr id="27" name="Text Placeholder 8">
            <a:extLst>
              <a:ext uri="{FF2B5EF4-FFF2-40B4-BE49-F238E27FC236}">
                <a16:creationId xmlns:a16="http://schemas.microsoft.com/office/drawing/2014/main" id="{C81F1969-F964-46AB-B4A6-57344F563978}"/>
              </a:ext>
            </a:extLst>
          </p:cNvPr>
          <p:cNvSpPr>
            <a:spLocks noGrp="1"/>
          </p:cNvSpPr>
          <p:nvPr>
            <p:ph type="body" sz="quarter" idx="18" hasCustomPrompt="1"/>
          </p:nvPr>
        </p:nvSpPr>
        <p:spPr>
          <a:xfrm>
            <a:off x="587374" y="2512616"/>
            <a:ext cx="1295401" cy="289109"/>
          </a:xfrm>
        </p:spPr>
        <p:txBody>
          <a:bodyPr wrap="square" anchor="ctr" anchorCtr="0">
            <a:normAutofit/>
          </a:bodyPr>
          <a:lstStyle>
            <a:lvl1pPr marL="0" indent="0">
              <a:buNone/>
              <a:defRPr sz="1400" b="1">
                <a:solidFill>
                  <a:schemeClr val="tx2"/>
                </a:solidFill>
              </a:defRPr>
            </a:lvl1pPr>
          </a:lstStyle>
          <a:p>
            <a:pPr lvl="0"/>
            <a:r>
              <a:rPr lang="en-GB"/>
              <a:t>Summary 3</a:t>
            </a:r>
          </a:p>
        </p:txBody>
      </p:sp>
      <p:sp>
        <p:nvSpPr>
          <p:cNvPr id="28" name="Text Placeholder 8">
            <a:extLst>
              <a:ext uri="{FF2B5EF4-FFF2-40B4-BE49-F238E27FC236}">
                <a16:creationId xmlns:a16="http://schemas.microsoft.com/office/drawing/2014/main" id="{068485B0-633D-4D35-945E-5D6F14E73138}"/>
              </a:ext>
            </a:extLst>
          </p:cNvPr>
          <p:cNvSpPr>
            <a:spLocks noGrp="1"/>
          </p:cNvSpPr>
          <p:nvPr>
            <p:ph type="body" sz="quarter" idx="19" hasCustomPrompt="1"/>
          </p:nvPr>
        </p:nvSpPr>
        <p:spPr>
          <a:xfrm>
            <a:off x="1882775" y="2503282"/>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piscing</a:t>
            </a:r>
            <a:r>
              <a:rPr lang="en-GB" dirty="0"/>
              <a:t> </a:t>
            </a:r>
          </a:p>
        </p:txBody>
      </p:sp>
      <p:sp>
        <p:nvSpPr>
          <p:cNvPr id="29" name="Text Placeholder 8">
            <a:extLst>
              <a:ext uri="{FF2B5EF4-FFF2-40B4-BE49-F238E27FC236}">
                <a16:creationId xmlns:a16="http://schemas.microsoft.com/office/drawing/2014/main" id="{85D80240-790D-4773-B23D-A7EA7F8D96E3}"/>
              </a:ext>
            </a:extLst>
          </p:cNvPr>
          <p:cNvSpPr>
            <a:spLocks noGrp="1"/>
          </p:cNvSpPr>
          <p:nvPr>
            <p:ph type="body" sz="quarter" idx="20" hasCustomPrompt="1"/>
          </p:nvPr>
        </p:nvSpPr>
        <p:spPr>
          <a:xfrm>
            <a:off x="587374" y="2825347"/>
            <a:ext cx="1295401" cy="289109"/>
          </a:xfrm>
        </p:spPr>
        <p:txBody>
          <a:bodyPr wrap="square" anchor="ctr" anchorCtr="0">
            <a:normAutofit/>
          </a:bodyPr>
          <a:lstStyle>
            <a:lvl1pPr marL="0" indent="0">
              <a:buNone/>
              <a:defRPr sz="1400" b="1">
                <a:solidFill>
                  <a:schemeClr val="tx2"/>
                </a:solidFill>
              </a:defRPr>
            </a:lvl1pPr>
          </a:lstStyle>
          <a:p>
            <a:pPr lvl="0"/>
            <a:r>
              <a:rPr lang="en-GB"/>
              <a:t>Summary 4</a:t>
            </a:r>
          </a:p>
        </p:txBody>
      </p:sp>
      <p:sp>
        <p:nvSpPr>
          <p:cNvPr id="30" name="Text Placeholder 8">
            <a:extLst>
              <a:ext uri="{FF2B5EF4-FFF2-40B4-BE49-F238E27FC236}">
                <a16:creationId xmlns:a16="http://schemas.microsoft.com/office/drawing/2014/main" id="{8B825758-9B67-4B8E-AA18-5ED01EB11180}"/>
              </a:ext>
            </a:extLst>
          </p:cNvPr>
          <p:cNvSpPr>
            <a:spLocks noGrp="1"/>
          </p:cNvSpPr>
          <p:nvPr>
            <p:ph type="body" sz="quarter" idx="21" hasCustomPrompt="1"/>
          </p:nvPr>
        </p:nvSpPr>
        <p:spPr>
          <a:xfrm>
            <a:off x="1882775" y="2816013"/>
            <a:ext cx="5832219" cy="307777"/>
          </a:xfrm>
        </p:spPr>
        <p:txBody>
          <a:bodyPr wrap="square" anchor="ctr" anchorCtr="0">
            <a:spAutoFit/>
          </a:bodyPr>
          <a:lstStyle>
            <a:lvl1pPr marL="228600" indent="-228600">
              <a:buClr>
                <a:srgbClr val="E0044E"/>
              </a:buClr>
              <a:buSzPct val="10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31" name="Text Placeholder 8">
            <a:extLst>
              <a:ext uri="{FF2B5EF4-FFF2-40B4-BE49-F238E27FC236}">
                <a16:creationId xmlns:a16="http://schemas.microsoft.com/office/drawing/2014/main" id="{6ADA32FF-5DD1-440F-9862-F57F0977E4C2}"/>
              </a:ext>
            </a:extLst>
          </p:cNvPr>
          <p:cNvSpPr>
            <a:spLocks noGrp="1"/>
          </p:cNvSpPr>
          <p:nvPr>
            <p:ph type="body" sz="quarter" idx="22" hasCustomPrompt="1"/>
          </p:nvPr>
        </p:nvSpPr>
        <p:spPr>
          <a:xfrm>
            <a:off x="587374" y="3138078"/>
            <a:ext cx="1295401" cy="289109"/>
          </a:xfrm>
        </p:spPr>
        <p:txBody>
          <a:bodyPr wrap="square" anchor="ctr" anchorCtr="0">
            <a:normAutofit/>
          </a:bodyPr>
          <a:lstStyle>
            <a:lvl1pPr marL="0" indent="0">
              <a:buNone/>
              <a:defRPr sz="1400" b="1">
                <a:solidFill>
                  <a:schemeClr val="tx2"/>
                </a:solidFill>
              </a:defRPr>
            </a:lvl1pPr>
          </a:lstStyle>
          <a:p>
            <a:pPr lvl="0"/>
            <a:r>
              <a:rPr lang="en-GB"/>
              <a:t>Summary 5</a:t>
            </a:r>
          </a:p>
        </p:txBody>
      </p:sp>
      <p:sp>
        <p:nvSpPr>
          <p:cNvPr id="32" name="Text Placeholder 8">
            <a:extLst>
              <a:ext uri="{FF2B5EF4-FFF2-40B4-BE49-F238E27FC236}">
                <a16:creationId xmlns:a16="http://schemas.microsoft.com/office/drawing/2014/main" id="{1482C837-C920-4F1A-9714-41564E611D1A}"/>
              </a:ext>
            </a:extLst>
          </p:cNvPr>
          <p:cNvSpPr>
            <a:spLocks noGrp="1"/>
          </p:cNvSpPr>
          <p:nvPr>
            <p:ph type="body" sz="quarter" idx="23" hasCustomPrompt="1"/>
          </p:nvPr>
        </p:nvSpPr>
        <p:spPr>
          <a:xfrm>
            <a:off x="1882775" y="3128744"/>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piscing</a:t>
            </a:r>
            <a:r>
              <a:rPr lang="en-GB" dirty="0"/>
              <a:t> </a:t>
            </a:r>
          </a:p>
        </p:txBody>
      </p:sp>
      <p:sp>
        <p:nvSpPr>
          <p:cNvPr id="33" name="Text Placeholder 8">
            <a:extLst>
              <a:ext uri="{FF2B5EF4-FFF2-40B4-BE49-F238E27FC236}">
                <a16:creationId xmlns:a16="http://schemas.microsoft.com/office/drawing/2014/main" id="{EEF4B0F2-63F7-42DC-801E-8340C8930F98}"/>
              </a:ext>
            </a:extLst>
          </p:cNvPr>
          <p:cNvSpPr>
            <a:spLocks noGrp="1"/>
          </p:cNvSpPr>
          <p:nvPr>
            <p:ph type="body" sz="quarter" idx="24" hasCustomPrompt="1"/>
          </p:nvPr>
        </p:nvSpPr>
        <p:spPr>
          <a:xfrm>
            <a:off x="587374" y="3450809"/>
            <a:ext cx="1295401" cy="289109"/>
          </a:xfrm>
        </p:spPr>
        <p:txBody>
          <a:bodyPr wrap="square" anchor="ctr" anchorCtr="0">
            <a:normAutofit/>
          </a:bodyPr>
          <a:lstStyle>
            <a:lvl1pPr marL="0" indent="0">
              <a:buNone/>
              <a:defRPr sz="1400" b="1">
                <a:solidFill>
                  <a:schemeClr val="tx2"/>
                </a:solidFill>
              </a:defRPr>
            </a:lvl1pPr>
          </a:lstStyle>
          <a:p>
            <a:pPr lvl="0"/>
            <a:r>
              <a:rPr lang="en-GB"/>
              <a:t>Summary 6</a:t>
            </a:r>
          </a:p>
        </p:txBody>
      </p:sp>
      <p:sp>
        <p:nvSpPr>
          <p:cNvPr id="34" name="Text Placeholder 8">
            <a:extLst>
              <a:ext uri="{FF2B5EF4-FFF2-40B4-BE49-F238E27FC236}">
                <a16:creationId xmlns:a16="http://schemas.microsoft.com/office/drawing/2014/main" id="{8B6FD06F-1A04-4907-9186-3DB356AEF075}"/>
              </a:ext>
            </a:extLst>
          </p:cNvPr>
          <p:cNvSpPr>
            <a:spLocks noGrp="1"/>
          </p:cNvSpPr>
          <p:nvPr>
            <p:ph type="body" sz="quarter" idx="25" hasCustomPrompt="1"/>
          </p:nvPr>
        </p:nvSpPr>
        <p:spPr>
          <a:xfrm>
            <a:off x="1882775" y="3441475"/>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piscing</a:t>
            </a:r>
            <a:r>
              <a:rPr lang="en-GB" dirty="0"/>
              <a:t> </a:t>
            </a:r>
          </a:p>
        </p:txBody>
      </p:sp>
      <p:sp>
        <p:nvSpPr>
          <p:cNvPr id="35" name="Text Placeholder 8">
            <a:extLst>
              <a:ext uri="{FF2B5EF4-FFF2-40B4-BE49-F238E27FC236}">
                <a16:creationId xmlns:a16="http://schemas.microsoft.com/office/drawing/2014/main" id="{B8B58469-8BC3-4FAC-B458-BDDAE4DB26DA}"/>
              </a:ext>
            </a:extLst>
          </p:cNvPr>
          <p:cNvSpPr>
            <a:spLocks noGrp="1"/>
          </p:cNvSpPr>
          <p:nvPr>
            <p:ph type="body" sz="quarter" idx="26" hasCustomPrompt="1"/>
          </p:nvPr>
        </p:nvSpPr>
        <p:spPr>
          <a:xfrm>
            <a:off x="587374" y="3763541"/>
            <a:ext cx="1295401" cy="289109"/>
          </a:xfrm>
        </p:spPr>
        <p:txBody>
          <a:bodyPr wrap="square" anchor="ctr" anchorCtr="0">
            <a:normAutofit/>
          </a:bodyPr>
          <a:lstStyle>
            <a:lvl1pPr marL="0" indent="0">
              <a:buNone/>
              <a:defRPr sz="1400" b="1">
                <a:solidFill>
                  <a:schemeClr val="tx2"/>
                </a:solidFill>
              </a:defRPr>
            </a:lvl1pPr>
          </a:lstStyle>
          <a:p>
            <a:pPr lvl="0"/>
            <a:r>
              <a:rPr lang="en-GB" dirty="0"/>
              <a:t>Summary 7</a:t>
            </a:r>
          </a:p>
        </p:txBody>
      </p:sp>
      <p:sp>
        <p:nvSpPr>
          <p:cNvPr id="36" name="Text Placeholder 8">
            <a:extLst>
              <a:ext uri="{FF2B5EF4-FFF2-40B4-BE49-F238E27FC236}">
                <a16:creationId xmlns:a16="http://schemas.microsoft.com/office/drawing/2014/main" id="{94934ACF-8B27-4126-B8CB-A23B2DBEC7F0}"/>
              </a:ext>
            </a:extLst>
          </p:cNvPr>
          <p:cNvSpPr>
            <a:spLocks noGrp="1"/>
          </p:cNvSpPr>
          <p:nvPr>
            <p:ph type="body" sz="quarter" idx="27" hasCustomPrompt="1"/>
          </p:nvPr>
        </p:nvSpPr>
        <p:spPr>
          <a:xfrm>
            <a:off x="1882775" y="3754207"/>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piscing</a:t>
            </a:r>
            <a:r>
              <a:rPr lang="en-GB" dirty="0"/>
              <a:t> </a:t>
            </a:r>
          </a:p>
        </p:txBody>
      </p:sp>
    </p:spTree>
    <p:custDataLst>
      <p:tags r:id="rId1"/>
    </p:custDataLst>
    <p:extLst>
      <p:ext uri="{BB962C8B-B14F-4D97-AF65-F5344CB8AC3E}">
        <p14:creationId xmlns:p14="http://schemas.microsoft.com/office/powerpoint/2010/main" val="174255007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with Image">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4443F72-AD09-4CCC-AC53-720EB504255C}"/>
              </a:ext>
            </a:extLst>
          </p:cNvPr>
          <p:cNvSpPr>
            <a:spLocks noGrp="1"/>
          </p:cNvSpPr>
          <p:nvPr>
            <p:ph type="title" hasCustomPrompt="1"/>
          </p:nvPr>
        </p:nvSpPr>
        <p:spPr>
          <a:xfrm>
            <a:off x="587375" y="393192"/>
            <a:ext cx="10980738" cy="548640"/>
          </a:xfrm>
        </p:spPr>
        <p:txBody>
          <a:bodyPr anchor="ctr" anchorCtr="0">
            <a:noAutofit/>
          </a:bodyPr>
          <a:lstStyle>
            <a:lvl1pPr>
              <a:defRPr/>
            </a:lvl1pPr>
          </a:lstStyle>
          <a:p>
            <a:r>
              <a:rPr lang="en-US" dirty="0"/>
              <a:t>Presentation summary.</a:t>
            </a:r>
            <a:endParaRPr lang="en-GB" dirty="0"/>
          </a:p>
        </p:txBody>
      </p:sp>
      <p:sp>
        <p:nvSpPr>
          <p:cNvPr id="9" name="Text Placeholder 8">
            <a:extLst>
              <a:ext uri="{FF2B5EF4-FFF2-40B4-BE49-F238E27FC236}">
                <a16:creationId xmlns:a16="http://schemas.microsoft.com/office/drawing/2014/main" id="{1A479413-65CF-41A1-94EB-54E35CBE708C}"/>
              </a:ext>
            </a:extLst>
          </p:cNvPr>
          <p:cNvSpPr>
            <a:spLocks noGrp="1"/>
          </p:cNvSpPr>
          <p:nvPr>
            <p:ph type="body" sz="quarter" idx="14" hasCustomPrompt="1"/>
          </p:nvPr>
        </p:nvSpPr>
        <p:spPr>
          <a:xfrm>
            <a:off x="587374" y="1887154"/>
            <a:ext cx="1295401" cy="289109"/>
          </a:xfrm>
        </p:spPr>
        <p:txBody>
          <a:bodyPr wrap="square" anchor="ctr" anchorCtr="0">
            <a:normAutofit/>
          </a:bodyPr>
          <a:lstStyle>
            <a:lvl1pPr marL="0" indent="0">
              <a:buNone/>
              <a:defRPr sz="1400" b="1">
                <a:solidFill>
                  <a:schemeClr val="bg2"/>
                </a:solidFill>
              </a:defRPr>
            </a:lvl1pPr>
          </a:lstStyle>
          <a:p>
            <a:pPr lvl="0"/>
            <a:r>
              <a:rPr lang="en-GB" dirty="0"/>
              <a:t>Summary 1</a:t>
            </a:r>
          </a:p>
        </p:txBody>
      </p:sp>
      <p:sp>
        <p:nvSpPr>
          <p:cNvPr id="11" name="Text Placeholder 8">
            <a:extLst>
              <a:ext uri="{FF2B5EF4-FFF2-40B4-BE49-F238E27FC236}">
                <a16:creationId xmlns:a16="http://schemas.microsoft.com/office/drawing/2014/main" id="{573B3E61-F020-4540-BB2E-F379C58A23EA}"/>
              </a:ext>
            </a:extLst>
          </p:cNvPr>
          <p:cNvSpPr>
            <a:spLocks noGrp="1"/>
          </p:cNvSpPr>
          <p:nvPr>
            <p:ph type="body" sz="quarter" idx="15" hasCustomPrompt="1"/>
          </p:nvPr>
        </p:nvSpPr>
        <p:spPr>
          <a:xfrm>
            <a:off x="1882775" y="1877820"/>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piscing</a:t>
            </a:r>
            <a:r>
              <a:rPr lang="en-GB" dirty="0"/>
              <a:t> </a:t>
            </a:r>
          </a:p>
        </p:txBody>
      </p:sp>
      <p:sp>
        <p:nvSpPr>
          <p:cNvPr id="76" name="Text Placeholder 8">
            <a:extLst>
              <a:ext uri="{FF2B5EF4-FFF2-40B4-BE49-F238E27FC236}">
                <a16:creationId xmlns:a16="http://schemas.microsoft.com/office/drawing/2014/main" id="{A606A7F9-97EC-4953-9661-FE18E546D441}"/>
              </a:ext>
            </a:extLst>
          </p:cNvPr>
          <p:cNvSpPr>
            <a:spLocks noGrp="1"/>
          </p:cNvSpPr>
          <p:nvPr>
            <p:ph type="body" sz="quarter" idx="16" hasCustomPrompt="1"/>
          </p:nvPr>
        </p:nvSpPr>
        <p:spPr>
          <a:xfrm>
            <a:off x="587374" y="2199885"/>
            <a:ext cx="1295401" cy="289109"/>
          </a:xfrm>
        </p:spPr>
        <p:txBody>
          <a:bodyPr wrap="square" anchor="ctr" anchorCtr="0">
            <a:normAutofit/>
          </a:bodyPr>
          <a:lstStyle>
            <a:lvl1pPr marL="0" indent="0">
              <a:buNone/>
              <a:defRPr sz="1400" b="1">
                <a:solidFill>
                  <a:schemeClr val="bg2"/>
                </a:solidFill>
              </a:defRPr>
            </a:lvl1pPr>
          </a:lstStyle>
          <a:p>
            <a:pPr lvl="0"/>
            <a:r>
              <a:rPr lang="en-GB" dirty="0"/>
              <a:t>Summary 2</a:t>
            </a:r>
          </a:p>
        </p:txBody>
      </p:sp>
      <p:sp>
        <p:nvSpPr>
          <p:cNvPr id="77" name="Text Placeholder 8">
            <a:extLst>
              <a:ext uri="{FF2B5EF4-FFF2-40B4-BE49-F238E27FC236}">
                <a16:creationId xmlns:a16="http://schemas.microsoft.com/office/drawing/2014/main" id="{BF4F0FDD-F05C-44BE-8A91-F0313B8F9E15}"/>
              </a:ext>
            </a:extLst>
          </p:cNvPr>
          <p:cNvSpPr>
            <a:spLocks noGrp="1"/>
          </p:cNvSpPr>
          <p:nvPr>
            <p:ph type="body" sz="quarter" idx="17" hasCustomPrompt="1"/>
          </p:nvPr>
        </p:nvSpPr>
        <p:spPr>
          <a:xfrm>
            <a:off x="1882775" y="2190551"/>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78" name="Text Placeholder 8">
            <a:extLst>
              <a:ext uri="{FF2B5EF4-FFF2-40B4-BE49-F238E27FC236}">
                <a16:creationId xmlns:a16="http://schemas.microsoft.com/office/drawing/2014/main" id="{CAEFF54E-991B-473F-9A16-54DA66AD335F}"/>
              </a:ext>
            </a:extLst>
          </p:cNvPr>
          <p:cNvSpPr>
            <a:spLocks noGrp="1"/>
          </p:cNvSpPr>
          <p:nvPr>
            <p:ph type="body" sz="quarter" idx="18" hasCustomPrompt="1"/>
          </p:nvPr>
        </p:nvSpPr>
        <p:spPr>
          <a:xfrm>
            <a:off x="587374" y="2512616"/>
            <a:ext cx="1295401" cy="289109"/>
          </a:xfrm>
        </p:spPr>
        <p:txBody>
          <a:bodyPr wrap="square" anchor="ctr" anchorCtr="0">
            <a:normAutofit/>
          </a:bodyPr>
          <a:lstStyle>
            <a:lvl1pPr marL="0" indent="0">
              <a:buNone/>
              <a:defRPr sz="1400" b="1">
                <a:solidFill>
                  <a:schemeClr val="bg2"/>
                </a:solidFill>
              </a:defRPr>
            </a:lvl1pPr>
          </a:lstStyle>
          <a:p>
            <a:pPr lvl="0"/>
            <a:r>
              <a:rPr lang="en-GB"/>
              <a:t>Summary 3</a:t>
            </a:r>
          </a:p>
        </p:txBody>
      </p:sp>
      <p:sp>
        <p:nvSpPr>
          <p:cNvPr id="79" name="Text Placeholder 8">
            <a:extLst>
              <a:ext uri="{FF2B5EF4-FFF2-40B4-BE49-F238E27FC236}">
                <a16:creationId xmlns:a16="http://schemas.microsoft.com/office/drawing/2014/main" id="{ED57F747-3777-44F3-9B90-6F1394B29D50}"/>
              </a:ext>
            </a:extLst>
          </p:cNvPr>
          <p:cNvSpPr>
            <a:spLocks noGrp="1"/>
          </p:cNvSpPr>
          <p:nvPr>
            <p:ph type="body" sz="quarter" idx="19" hasCustomPrompt="1"/>
          </p:nvPr>
        </p:nvSpPr>
        <p:spPr>
          <a:xfrm>
            <a:off x="1882775" y="2503282"/>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80" name="Text Placeholder 8">
            <a:extLst>
              <a:ext uri="{FF2B5EF4-FFF2-40B4-BE49-F238E27FC236}">
                <a16:creationId xmlns:a16="http://schemas.microsoft.com/office/drawing/2014/main" id="{A8C13E20-7274-4B23-8419-D5C0120709D1}"/>
              </a:ext>
            </a:extLst>
          </p:cNvPr>
          <p:cNvSpPr>
            <a:spLocks noGrp="1"/>
          </p:cNvSpPr>
          <p:nvPr>
            <p:ph type="body" sz="quarter" idx="20" hasCustomPrompt="1"/>
          </p:nvPr>
        </p:nvSpPr>
        <p:spPr>
          <a:xfrm>
            <a:off x="587374" y="2825347"/>
            <a:ext cx="1295401" cy="289109"/>
          </a:xfrm>
        </p:spPr>
        <p:txBody>
          <a:bodyPr wrap="square" anchor="ctr" anchorCtr="0">
            <a:normAutofit/>
          </a:bodyPr>
          <a:lstStyle>
            <a:lvl1pPr marL="0" indent="0">
              <a:buNone/>
              <a:defRPr sz="1400" b="1">
                <a:solidFill>
                  <a:schemeClr val="bg2"/>
                </a:solidFill>
              </a:defRPr>
            </a:lvl1pPr>
          </a:lstStyle>
          <a:p>
            <a:pPr lvl="0"/>
            <a:r>
              <a:rPr lang="en-GB"/>
              <a:t>Summary 4</a:t>
            </a:r>
          </a:p>
        </p:txBody>
      </p:sp>
      <p:sp>
        <p:nvSpPr>
          <p:cNvPr id="81" name="Text Placeholder 8">
            <a:extLst>
              <a:ext uri="{FF2B5EF4-FFF2-40B4-BE49-F238E27FC236}">
                <a16:creationId xmlns:a16="http://schemas.microsoft.com/office/drawing/2014/main" id="{5E05D584-D02B-4294-BBF6-65535F303F64}"/>
              </a:ext>
            </a:extLst>
          </p:cNvPr>
          <p:cNvSpPr>
            <a:spLocks noGrp="1"/>
          </p:cNvSpPr>
          <p:nvPr>
            <p:ph type="body" sz="quarter" idx="21" hasCustomPrompt="1"/>
          </p:nvPr>
        </p:nvSpPr>
        <p:spPr>
          <a:xfrm>
            <a:off x="1882775" y="2816013"/>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82" name="Text Placeholder 8">
            <a:extLst>
              <a:ext uri="{FF2B5EF4-FFF2-40B4-BE49-F238E27FC236}">
                <a16:creationId xmlns:a16="http://schemas.microsoft.com/office/drawing/2014/main" id="{3B3D6840-C707-413E-8BC7-D4ECF7401008}"/>
              </a:ext>
            </a:extLst>
          </p:cNvPr>
          <p:cNvSpPr>
            <a:spLocks noGrp="1"/>
          </p:cNvSpPr>
          <p:nvPr>
            <p:ph type="body" sz="quarter" idx="22" hasCustomPrompt="1"/>
          </p:nvPr>
        </p:nvSpPr>
        <p:spPr>
          <a:xfrm>
            <a:off x="587374" y="3138078"/>
            <a:ext cx="1295401" cy="289109"/>
          </a:xfrm>
        </p:spPr>
        <p:txBody>
          <a:bodyPr wrap="square" anchor="ctr" anchorCtr="0">
            <a:normAutofit/>
          </a:bodyPr>
          <a:lstStyle>
            <a:lvl1pPr marL="0" indent="0">
              <a:buNone/>
              <a:defRPr sz="1400" b="1">
                <a:solidFill>
                  <a:schemeClr val="bg2"/>
                </a:solidFill>
              </a:defRPr>
            </a:lvl1pPr>
          </a:lstStyle>
          <a:p>
            <a:pPr lvl="0"/>
            <a:r>
              <a:rPr lang="en-GB"/>
              <a:t>Summary 5</a:t>
            </a:r>
          </a:p>
        </p:txBody>
      </p:sp>
      <p:sp>
        <p:nvSpPr>
          <p:cNvPr id="83" name="Text Placeholder 8">
            <a:extLst>
              <a:ext uri="{FF2B5EF4-FFF2-40B4-BE49-F238E27FC236}">
                <a16:creationId xmlns:a16="http://schemas.microsoft.com/office/drawing/2014/main" id="{9174C7E3-EBA5-42C3-A362-FAE6EEE60A81}"/>
              </a:ext>
            </a:extLst>
          </p:cNvPr>
          <p:cNvSpPr>
            <a:spLocks noGrp="1"/>
          </p:cNvSpPr>
          <p:nvPr>
            <p:ph type="body" sz="quarter" idx="23" hasCustomPrompt="1"/>
          </p:nvPr>
        </p:nvSpPr>
        <p:spPr>
          <a:xfrm>
            <a:off x="1882775" y="3128744"/>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84" name="Text Placeholder 8">
            <a:extLst>
              <a:ext uri="{FF2B5EF4-FFF2-40B4-BE49-F238E27FC236}">
                <a16:creationId xmlns:a16="http://schemas.microsoft.com/office/drawing/2014/main" id="{1AFD8B35-8A9A-4A95-A259-547E2D8F5419}"/>
              </a:ext>
            </a:extLst>
          </p:cNvPr>
          <p:cNvSpPr>
            <a:spLocks noGrp="1"/>
          </p:cNvSpPr>
          <p:nvPr>
            <p:ph type="body" sz="quarter" idx="24" hasCustomPrompt="1"/>
          </p:nvPr>
        </p:nvSpPr>
        <p:spPr>
          <a:xfrm>
            <a:off x="587374" y="3450809"/>
            <a:ext cx="1295401" cy="289109"/>
          </a:xfrm>
        </p:spPr>
        <p:txBody>
          <a:bodyPr wrap="square" anchor="ctr" anchorCtr="0">
            <a:normAutofit/>
          </a:bodyPr>
          <a:lstStyle>
            <a:lvl1pPr marL="0" indent="0">
              <a:buNone/>
              <a:defRPr sz="1400" b="1">
                <a:solidFill>
                  <a:schemeClr val="bg2"/>
                </a:solidFill>
              </a:defRPr>
            </a:lvl1pPr>
          </a:lstStyle>
          <a:p>
            <a:pPr lvl="0"/>
            <a:r>
              <a:rPr lang="en-GB"/>
              <a:t>Summary 6</a:t>
            </a:r>
          </a:p>
        </p:txBody>
      </p:sp>
      <p:sp>
        <p:nvSpPr>
          <p:cNvPr id="85" name="Text Placeholder 8">
            <a:extLst>
              <a:ext uri="{FF2B5EF4-FFF2-40B4-BE49-F238E27FC236}">
                <a16:creationId xmlns:a16="http://schemas.microsoft.com/office/drawing/2014/main" id="{28E8462B-F1B4-4A0D-8D47-E9272B62A8AD}"/>
              </a:ext>
            </a:extLst>
          </p:cNvPr>
          <p:cNvSpPr>
            <a:spLocks noGrp="1"/>
          </p:cNvSpPr>
          <p:nvPr>
            <p:ph type="body" sz="quarter" idx="25" hasCustomPrompt="1"/>
          </p:nvPr>
        </p:nvSpPr>
        <p:spPr>
          <a:xfrm>
            <a:off x="1882775" y="3441475"/>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a:t>Lorem ipsum </a:t>
            </a:r>
            <a:r>
              <a:rPr lang="en-GB" err="1"/>
              <a:t>dolor</a:t>
            </a:r>
            <a:r>
              <a:rPr lang="en-GB"/>
              <a:t> sit </a:t>
            </a:r>
            <a:r>
              <a:rPr lang="en-GB" err="1"/>
              <a:t>amet</a:t>
            </a:r>
            <a:r>
              <a:rPr lang="en-GB"/>
              <a:t> </a:t>
            </a:r>
            <a:r>
              <a:rPr lang="en-GB" err="1"/>
              <a:t>consectetur</a:t>
            </a:r>
            <a:r>
              <a:rPr lang="en-GB"/>
              <a:t> </a:t>
            </a:r>
            <a:r>
              <a:rPr lang="en-GB" err="1"/>
              <a:t>adpiscing</a:t>
            </a:r>
            <a:r>
              <a:rPr lang="en-GB"/>
              <a:t> </a:t>
            </a:r>
          </a:p>
        </p:txBody>
      </p:sp>
      <p:sp>
        <p:nvSpPr>
          <p:cNvPr id="86" name="Text Placeholder 8">
            <a:extLst>
              <a:ext uri="{FF2B5EF4-FFF2-40B4-BE49-F238E27FC236}">
                <a16:creationId xmlns:a16="http://schemas.microsoft.com/office/drawing/2014/main" id="{4A6A1D9F-C52F-4A9C-A5AF-2AE58EFFE2B2}"/>
              </a:ext>
            </a:extLst>
          </p:cNvPr>
          <p:cNvSpPr>
            <a:spLocks noGrp="1"/>
          </p:cNvSpPr>
          <p:nvPr>
            <p:ph type="body" sz="quarter" idx="26" hasCustomPrompt="1"/>
          </p:nvPr>
        </p:nvSpPr>
        <p:spPr>
          <a:xfrm>
            <a:off x="587374" y="3763541"/>
            <a:ext cx="1295401" cy="289109"/>
          </a:xfrm>
        </p:spPr>
        <p:txBody>
          <a:bodyPr wrap="square" anchor="ctr" anchorCtr="0">
            <a:normAutofit/>
          </a:bodyPr>
          <a:lstStyle>
            <a:lvl1pPr marL="0" indent="0">
              <a:buNone/>
              <a:defRPr sz="1400" b="1">
                <a:solidFill>
                  <a:schemeClr val="bg2"/>
                </a:solidFill>
              </a:defRPr>
            </a:lvl1pPr>
          </a:lstStyle>
          <a:p>
            <a:pPr lvl="0"/>
            <a:r>
              <a:rPr lang="en-GB" dirty="0"/>
              <a:t>Summary 7</a:t>
            </a:r>
          </a:p>
        </p:txBody>
      </p:sp>
      <p:sp>
        <p:nvSpPr>
          <p:cNvPr id="87" name="Text Placeholder 8">
            <a:extLst>
              <a:ext uri="{FF2B5EF4-FFF2-40B4-BE49-F238E27FC236}">
                <a16:creationId xmlns:a16="http://schemas.microsoft.com/office/drawing/2014/main" id="{8ECD84F6-82BF-41CF-91F1-60E7F0D1C43F}"/>
              </a:ext>
            </a:extLst>
          </p:cNvPr>
          <p:cNvSpPr>
            <a:spLocks noGrp="1"/>
          </p:cNvSpPr>
          <p:nvPr>
            <p:ph type="body" sz="quarter" idx="27" hasCustomPrompt="1"/>
          </p:nvPr>
        </p:nvSpPr>
        <p:spPr>
          <a:xfrm>
            <a:off x="1882775" y="3754207"/>
            <a:ext cx="5832219" cy="307777"/>
          </a:xfrm>
        </p:spPr>
        <p:txBody>
          <a:bodyPr wrap="square" anchor="ctr" anchorCtr="0">
            <a:spAutoFit/>
          </a:bodyPr>
          <a:lstStyle>
            <a:lvl1pPr marL="228600" indent="-228600">
              <a:buClr>
                <a:srgbClr val="E0044E"/>
              </a:buClr>
              <a:buSzPct val="130000"/>
              <a:buFont typeface="Arial" panose="020B0604020202020204" pitchFamily="34" charset="0"/>
              <a:buChar char="•"/>
              <a:defRPr sz="1400">
                <a:solidFill>
                  <a:schemeClr val="tx1"/>
                </a:solidFill>
              </a:defRPr>
            </a:lvl1pPr>
          </a:lstStyle>
          <a:p>
            <a:pPr lv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piscing</a:t>
            </a:r>
            <a:r>
              <a:rPr lang="en-GB" dirty="0"/>
              <a:t> </a:t>
            </a:r>
          </a:p>
        </p:txBody>
      </p:sp>
      <p:sp>
        <p:nvSpPr>
          <p:cNvPr id="17" name="Text Placeholder 6">
            <a:extLst>
              <a:ext uri="{FF2B5EF4-FFF2-40B4-BE49-F238E27FC236}">
                <a16:creationId xmlns:a16="http://schemas.microsoft.com/office/drawing/2014/main" id="{029E708D-9705-4250-81D8-4C0D3D144C9F}"/>
              </a:ext>
            </a:extLst>
          </p:cNvPr>
          <p:cNvSpPr>
            <a:spLocks noGrp="1"/>
          </p:cNvSpPr>
          <p:nvPr>
            <p:ph type="body" sz="quarter" idx="28" hasCustomPrompt="1"/>
          </p:nvPr>
        </p:nvSpPr>
        <p:spPr>
          <a:xfrm>
            <a:off x="587375" y="953589"/>
            <a:ext cx="10980738" cy="456564"/>
          </a:xfrm>
        </p:spPr>
        <p:txBody>
          <a:bodyPr anchor="t">
            <a:noAutofit/>
          </a:bodyPr>
          <a:lstStyle>
            <a:lvl1pPr marL="0" indent="0">
              <a:buFontTx/>
              <a:buNone/>
              <a:defRPr sz="2000"/>
            </a:lvl1pPr>
          </a:lstStyle>
          <a:p>
            <a:pPr lvl="0"/>
            <a:r>
              <a:rPr lang="en-US" dirty="0"/>
              <a:t>Subtitle goes here</a:t>
            </a:r>
            <a:endParaRPr lang="en-IN" dirty="0"/>
          </a:p>
        </p:txBody>
      </p:sp>
      <p:sp>
        <p:nvSpPr>
          <p:cNvPr id="18" name="Slide Number Placeholder 8">
            <a:extLst>
              <a:ext uri="{FF2B5EF4-FFF2-40B4-BE49-F238E27FC236}">
                <a16:creationId xmlns:a16="http://schemas.microsoft.com/office/drawing/2014/main" id="{EB9E7900-8E5F-433C-8470-49263848120C}"/>
              </a:ext>
            </a:extLst>
          </p:cNvPr>
          <p:cNvSpPr>
            <a:spLocks noGrp="1"/>
          </p:cNvSpPr>
          <p:nvPr>
            <p:ph type="sldNum" sz="quarter" idx="4"/>
          </p:nvPr>
        </p:nvSpPr>
        <p:spPr>
          <a:xfrm>
            <a:off x="11494008" y="6476999"/>
            <a:ext cx="382601" cy="228600"/>
          </a:xfrm>
          <a:prstGeom prst="rect">
            <a:avLst/>
          </a:prstGeom>
        </p:spPr>
        <p:txBody>
          <a:bodyPr vert="horz" lIns="91440" tIns="0" rIns="91440" bIns="0" rtlCol="0" anchor="ctr" anchorCtr="0"/>
          <a:lstStyle>
            <a:lvl1pPr algn="r">
              <a:defRPr sz="1000">
                <a:solidFill>
                  <a:srgbClr val="E0044E"/>
                </a:solidFill>
                <a:latin typeface="Segoe UI" panose="020B0502040204020203" pitchFamily="34" charset="0"/>
                <a:cs typeface="Segoe UI" panose="020B0502040204020203" pitchFamily="34" charset="0"/>
              </a:defRPr>
            </a:lvl1pPr>
          </a:lstStyle>
          <a:p>
            <a:fld id="{2604F1CA-F590-4AD7-82C4-33C5478F726E}" type="slidenum">
              <a:rPr lang="en-GB" smtClean="0"/>
              <a:pPr/>
              <a:t>‹#›</a:t>
            </a:fld>
            <a:endParaRPr lang="en-GB" dirty="0"/>
          </a:p>
        </p:txBody>
      </p:sp>
      <p:pic>
        <p:nvPicPr>
          <p:cNvPr id="19" name="Graphic 18">
            <a:extLst>
              <a:ext uri="{FF2B5EF4-FFF2-40B4-BE49-F238E27FC236}">
                <a16:creationId xmlns:a16="http://schemas.microsoft.com/office/drawing/2014/main" id="{AAA4981F-46E0-489B-B605-0EF0E4BFEDFA}"/>
              </a:ext>
            </a:extLst>
          </p:cNvPr>
          <p:cNvPicPr>
            <a:picLocks/>
          </p:cNvPicPr>
          <p:nvPr userDrawn="1"/>
        </p:nvPicPr>
        <p:blipFill>
          <a:blip r:embed="rId3">
            <a:extLst>
              <a:ext uri="{96DAC541-7B7A-43D3-8B79-37D633B846F1}">
                <asvg:svgBlip xmlns:asvg="http://schemas.microsoft.com/office/drawing/2016/SVG/main" r:embed="rId4"/>
              </a:ext>
            </a:extLst>
          </a:blip>
          <a:stretch>
            <a:fillRect/>
          </a:stretch>
        </p:blipFill>
        <p:spPr>
          <a:xfrm>
            <a:off x="10607040" y="6556248"/>
            <a:ext cx="813816" cy="82296"/>
          </a:xfrm>
          <a:prstGeom prst="rect">
            <a:avLst/>
          </a:prstGeom>
        </p:spPr>
      </p:pic>
      <p:sp>
        <p:nvSpPr>
          <p:cNvPr id="20" name="Footer Placeholder 11">
            <a:extLst>
              <a:ext uri="{FF2B5EF4-FFF2-40B4-BE49-F238E27FC236}">
                <a16:creationId xmlns:a16="http://schemas.microsoft.com/office/drawing/2014/main" id="{69F0279C-E6E7-4ADB-BED4-BA6D3EE288D7}"/>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
        <p:nvSpPr>
          <p:cNvPr id="21" name="TextBox 20">
            <a:extLst>
              <a:ext uri="{FF2B5EF4-FFF2-40B4-BE49-F238E27FC236}">
                <a16:creationId xmlns:a16="http://schemas.microsoft.com/office/drawing/2014/main" id="{CE478E9B-344A-4B55-9D04-0FC5576B1E35}"/>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spTree>
    <p:custDataLst>
      <p:tags r:id="rId1"/>
    </p:custDataLst>
    <p:extLst>
      <p:ext uri="{BB962C8B-B14F-4D97-AF65-F5344CB8AC3E}">
        <p14:creationId xmlns:p14="http://schemas.microsoft.com/office/powerpoint/2010/main" val="3427914432"/>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837A8E3-5F5E-4216-B243-65CE50AC3195}"/>
              </a:ext>
            </a:extLst>
          </p:cNvPr>
          <p:cNvSpPr>
            <a:spLocks noGrp="1"/>
          </p:cNvSpPr>
          <p:nvPr>
            <p:ph sz="quarter" idx="18" hasCustomPrompt="1"/>
          </p:nvPr>
        </p:nvSpPr>
        <p:spPr>
          <a:xfrm>
            <a:off x="587375" y="1423348"/>
            <a:ext cx="10980737" cy="4351338"/>
          </a:xfrm>
        </p:spPr>
        <p:txBody>
          <a:bodyPr/>
          <a:lstStyle/>
          <a:p>
            <a:pPr lvl="0"/>
            <a:r>
              <a:rPr lang="en-US" dirty="0"/>
              <a:t>Bullet level 1</a:t>
            </a:r>
          </a:p>
          <a:p>
            <a:pPr lvl="1"/>
            <a:r>
              <a:rPr lang="en-US" dirty="0"/>
              <a:t>Second level</a:t>
            </a:r>
          </a:p>
          <a:p>
            <a:pPr lvl="2"/>
            <a:r>
              <a:rPr lang="en-US" dirty="0"/>
              <a:t>Third level</a:t>
            </a:r>
          </a:p>
        </p:txBody>
      </p:sp>
      <p:sp>
        <p:nvSpPr>
          <p:cNvPr id="11" name="Title 1">
            <a:extLst>
              <a:ext uri="{FF2B5EF4-FFF2-40B4-BE49-F238E27FC236}">
                <a16:creationId xmlns:a16="http://schemas.microsoft.com/office/drawing/2014/main" id="{E260285C-69C9-4919-B7F7-165FF89CFDEC}"/>
              </a:ext>
            </a:extLst>
          </p:cNvPr>
          <p:cNvSpPr>
            <a:spLocks noGrp="1"/>
          </p:cNvSpPr>
          <p:nvPr>
            <p:ph type="title" hasCustomPrompt="1"/>
          </p:nvPr>
        </p:nvSpPr>
        <p:spPr>
          <a:xfrm>
            <a:off x="587376" y="393192"/>
            <a:ext cx="10980737" cy="548640"/>
          </a:xfrm>
        </p:spPr>
        <p:txBody>
          <a:bodyPr/>
          <a:lstStyle>
            <a:lvl1pPr>
              <a:defRPr/>
            </a:lvl1pPr>
          </a:lstStyle>
          <a:p>
            <a:r>
              <a:rPr lang="en-US" dirty="0"/>
              <a:t>H1 placeholder.</a:t>
            </a:r>
            <a:endParaRPr lang="en-GB" dirty="0"/>
          </a:p>
        </p:txBody>
      </p:sp>
      <p:sp>
        <p:nvSpPr>
          <p:cNvPr id="19" name="Slide Number Placeholder 18">
            <a:extLst>
              <a:ext uri="{FF2B5EF4-FFF2-40B4-BE49-F238E27FC236}">
                <a16:creationId xmlns:a16="http://schemas.microsoft.com/office/drawing/2014/main" id="{EF08BC83-9339-4582-AD1A-C40BADC3E7E1}"/>
              </a:ext>
            </a:extLst>
          </p:cNvPr>
          <p:cNvSpPr>
            <a:spLocks noGrp="1"/>
          </p:cNvSpPr>
          <p:nvPr>
            <p:ph type="sldNum" sz="quarter" idx="17"/>
          </p:nvPr>
        </p:nvSpPr>
        <p:spPr/>
        <p:txBody>
          <a:bodyPr/>
          <a:lstStyle/>
          <a:p>
            <a:fld id="{2604F1CA-F590-4AD7-82C4-33C5478F726E}" type="slidenum">
              <a:rPr lang="en-GB" smtClean="0"/>
              <a:pPr/>
              <a:t>‹#›</a:t>
            </a:fld>
            <a:endParaRPr lang="en-GB" dirty="0"/>
          </a:p>
        </p:txBody>
      </p:sp>
      <p:sp>
        <p:nvSpPr>
          <p:cNvPr id="7" name="Footer Placeholder 11">
            <a:extLst>
              <a:ext uri="{FF2B5EF4-FFF2-40B4-BE49-F238E27FC236}">
                <a16:creationId xmlns:a16="http://schemas.microsoft.com/office/drawing/2014/main" id="{A9CDD7D6-39E7-44F8-8AF6-0C92166C28D9}"/>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644889791"/>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and Content with sub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260285C-69C9-4919-B7F7-165FF89CFDEC}"/>
              </a:ext>
            </a:extLst>
          </p:cNvPr>
          <p:cNvSpPr>
            <a:spLocks noGrp="1"/>
          </p:cNvSpPr>
          <p:nvPr>
            <p:ph type="title" hasCustomPrompt="1"/>
          </p:nvPr>
        </p:nvSpPr>
        <p:spPr>
          <a:xfrm>
            <a:off x="587376" y="393192"/>
            <a:ext cx="10706099" cy="405094"/>
          </a:xfrm>
        </p:spPr>
        <p:txBody>
          <a:bodyPr lIns="0" rIns="0" anchor="ctr">
            <a:noAutofit/>
          </a:bodyPr>
          <a:lstStyle>
            <a:lvl1pPr algn="l">
              <a:defRPr sz="2400"/>
            </a:lvl1pPr>
          </a:lstStyle>
          <a:p>
            <a:r>
              <a:rPr lang="en-US" dirty="0"/>
              <a:t>H1 placeholder.</a:t>
            </a:r>
            <a:endParaRPr lang="en-GB" dirty="0"/>
          </a:p>
        </p:txBody>
      </p:sp>
      <p:sp>
        <p:nvSpPr>
          <p:cNvPr id="19" name="Slide Number Placeholder 18">
            <a:extLst>
              <a:ext uri="{FF2B5EF4-FFF2-40B4-BE49-F238E27FC236}">
                <a16:creationId xmlns:a16="http://schemas.microsoft.com/office/drawing/2014/main" id="{EF08BC83-9339-4582-AD1A-C40BADC3E7E1}"/>
              </a:ext>
            </a:extLst>
          </p:cNvPr>
          <p:cNvSpPr>
            <a:spLocks noGrp="1"/>
          </p:cNvSpPr>
          <p:nvPr>
            <p:ph type="sldNum" sz="quarter" idx="17"/>
          </p:nvPr>
        </p:nvSpPr>
        <p:spPr/>
        <p:txBody>
          <a:bodyPr/>
          <a:lstStyle/>
          <a:p>
            <a:fld id="{2604F1CA-F590-4AD7-82C4-33C5478F726E}" type="slidenum">
              <a:rPr lang="en-GB" smtClean="0"/>
              <a:pPr/>
              <a:t>‹#›</a:t>
            </a:fld>
            <a:endParaRPr lang="en-GB" dirty="0"/>
          </a:p>
        </p:txBody>
      </p:sp>
      <p:sp>
        <p:nvSpPr>
          <p:cNvPr id="7" name="Text Placeholder 6">
            <a:extLst>
              <a:ext uri="{FF2B5EF4-FFF2-40B4-BE49-F238E27FC236}">
                <a16:creationId xmlns:a16="http://schemas.microsoft.com/office/drawing/2014/main" id="{D472F869-0857-4E9E-956E-92A74599D8AD}"/>
              </a:ext>
            </a:extLst>
          </p:cNvPr>
          <p:cNvSpPr>
            <a:spLocks noGrp="1"/>
          </p:cNvSpPr>
          <p:nvPr>
            <p:ph type="body" sz="quarter" idx="19" hasCustomPrompt="1"/>
          </p:nvPr>
        </p:nvSpPr>
        <p:spPr>
          <a:xfrm>
            <a:off x="587375" y="950976"/>
            <a:ext cx="10706100" cy="456564"/>
          </a:xfrm>
        </p:spPr>
        <p:txBody>
          <a:bodyPr lIns="0" rIns="0" anchor="t">
            <a:normAutofit/>
          </a:bodyPr>
          <a:lstStyle>
            <a:lvl1pPr marL="0" indent="0" algn="l">
              <a:buFontTx/>
              <a:buNone/>
              <a:defRPr sz="1800"/>
            </a:lvl1pPr>
          </a:lstStyle>
          <a:p>
            <a:pPr lvl="0"/>
            <a:r>
              <a:rPr lang="en-US" dirty="0"/>
              <a:t>Subtitle goes here</a:t>
            </a:r>
            <a:endParaRPr lang="en-IN" dirty="0"/>
          </a:p>
        </p:txBody>
      </p:sp>
      <p:sp>
        <p:nvSpPr>
          <p:cNvPr id="8" name="Footer Placeholder 11">
            <a:extLst>
              <a:ext uri="{FF2B5EF4-FFF2-40B4-BE49-F238E27FC236}">
                <a16:creationId xmlns:a16="http://schemas.microsoft.com/office/drawing/2014/main" id="{2C5AB1B8-2321-47B1-A233-ADF305CF7209}"/>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
        <p:nvSpPr>
          <p:cNvPr id="9" name="Freeform: Shape 8">
            <a:extLst>
              <a:ext uri="{FF2B5EF4-FFF2-40B4-BE49-F238E27FC236}">
                <a16:creationId xmlns:a16="http://schemas.microsoft.com/office/drawing/2014/main" id="{4E3FE89F-B3A7-4653-8F81-C1A5A5C59790}"/>
              </a:ext>
            </a:extLst>
          </p:cNvPr>
          <p:cNvSpPr/>
          <p:nvPr userDrawn="1"/>
        </p:nvSpPr>
        <p:spPr>
          <a:xfrm>
            <a:off x="11356284" y="5434651"/>
            <a:ext cx="835716" cy="869205"/>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0044E"/>
          </a:solidFill>
          <a:ln w="9525" cap="flat">
            <a:noFill/>
            <a:prstDash val="solid"/>
            <a:miter/>
          </a:ln>
        </p:spPr>
        <p:txBody>
          <a:bodyPr rtlCol="0" anchor="ctr"/>
          <a:lstStyle/>
          <a:p>
            <a:endParaRPr lang="en-GB" dirty="0"/>
          </a:p>
        </p:txBody>
      </p:sp>
    </p:spTree>
    <p:custDataLst>
      <p:tags r:id="rId1"/>
    </p:custDataLst>
    <p:extLst>
      <p:ext uri="{BB962C8B-B14F-4D97-AF65-F5344CB8AC3E}">
        <p14:creationId xmlns:p14="http://schemas.microsoft.com/office/powerpoint/2010/main" val="104067516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plit-screen Image/Text Righ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181A5944-3F5F-4B28-87BF-D4D6467A4F5D}"/>
              </a:ext>
            </a:extLst>
          </p:cNvPr>
          <p:cNvSpPr>
            <a:spLocks noGrp="1"/>
          </p:cNvSpPr>
          <p:nvPr>
            <p:ph sz="quarter" idx="21" hasCustomPrompt="1"/>
          </p:nvPr>
        </p:nvSpPr>
        <p:spPr>
          <a:xfrm>
            <a:off x="587375" y="1423348"/>
            <a:ext cx="5203825" cy="4359707"/>
          </a:xfrm>
        </p:spPr>
        <p:txBody>
          <a:bodyPr/>
          <a:lstStyle/>
          <a:p>
            <a:pPr lvl="0"/>
            <a:r>
              <a:rPr lang="en-US" dirty="0"/>
              <a:t>Bullet level 1</a:t>
            </a:r>
          </a:p>
          <a:p>
            <a:pPr lvl="1"/>
            <a:r>
              <a:rPr lang="en-US" dirty="0"/>
              <a:t>Second level</a:t>
            </a:r>
          </a:p>
          <a:p>
            <a:pPr lvl="2"/>
            <a:r>
              <a:rPr lang="en-US" dirty="0"/>
              <a:t>Third level</a:t>
            </a:r>
          </a:p>
          <a:p>
            <a:pPr lvl="3"/>
            <a:endParaRPr lang="en-US" dirty="0"/>
          </a:p>
        </p:txBody>
      </p:sp>
      <p:pic>
        <p:nvPicPr>
          <p:cNvPr id="10" name="Picture 9" descr="A picture containing person&#10;&#10;Description automatically generated">
            <a:extLst>
              <a:ext uri="{FF2B5EF4-FFF2-40B4-BE49-F238E27FC236}">
                <a16:creationId xmlns:a16="http://schemas.microsoft.com/office/drawing/2014/main" id="{3DD302B6-A33D-4A33-BF56-BC6B69949A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0371" r="20371"/>
          <a:stretch/>
        </p:blipFill>
        <p:spPr>
          <a:xfrm>
            <a:off x="6095999" y="0"/>
            <a:ext cx="6096002" cy="6858000"/>
          </a:xfrm>
          <a:prstGeom prst="rect">
            <a:avLst/>
          </a:prstGeom>
        </p:spPr>
      </p:pic>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6" y="393192"/>
            <a:ext cx="5203825" cy="548640"/>
          </a:xfrm>
        </p:spPr>
        <p:txBody>
          <a:bodyPr/>
          <a:lstStyle>
            <a:lvl1pPr>
              <a:defRPr/>
            </a:lvl1pPr>
          </a:lstStyle>
          <a:p>
            <a:r>
              <a:rPr lang="en-US" dirty="0"/>
              <a:t>H1 placeholder.</a:t>
            </a:r>
            <a:endParaRPr lang="en-GB" dirty="0"/>
          </a:p>
        </p:txBody>
      </p:sp>
      <p:sp>
        <p:nvSpPr>
          <p:cNvPr id="12" name="Freeform: Shape 11">
            <a:extLst>
              <a:ext uri="{FF2B5EF4-FFF2-40B4-BE49-F238E27FC236}">
                <a16:creationId xmlns:a16="http://schemas.microsoft.com/office/drawing/2014/main" id="{5D8574FB-25CF-4260-8BDB-94D4AE9B37AE}"/>
              </a:ext>
            </a:extLst>
          </p:cNvPr>
          <p:cNvSpPr/>
          <p:nvPr userDrawn="1"/>
        </p:nvSpPr>
        <p:spPr>
          <a:xfrm>
            <a:off x="11163300" y="5233935"/>
            <a:ext cx="1028700" cy="1069922"/>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chemeClr val="bg1"/>
          </a:solidFill>
          <a:ln w="9525" cap="flat">
            <a:noFill/>
            <a:prstDash val="solid"/>
            <a:miter/>
          </a:ln>
        </p:spPr>
        <p:txBody>
          <a:bodyPr rtlCol="0" anchor="ctr"/>
          <a:lstStyle/>
          <a:p>
            <a:endParaRPr lang="en-GB" dirty="0"/>
          </a:p>
        </p:txBody>
      </p:sp>
      <p:sp>
        <p:nvSpPr>
          <p:cNvPr id="7" name="Slide Number Placeholder 6">
            <a:extLst>
              <a:ext uri="{FF2B5EF4-FFF2-40B4-BE49-F238E27FC236}">
                <a16:creationId xmlns:a16="http://schemas.microsoft.com/office/drawing/2014/main" id="{AAE7B2EC-A5F2-40AB-A66B-86E5B337AAA5}"/>
              </a:ext>
            </a:extLst>
          </p:cNvPr>
          <p:cNvSpPr>
            <a:spLocks noGrp="1"/>
          </p:cNvSpPr>
          <p:nvPr>
            <p:ph type="sldNum" sz="quarter" idx="17"/>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13" name="Footer Placeholder 4">
            <a:extLst>
              <a:ext uri="{FF2B5EF4-FFF2-40B4-BE49-F238E27FC236}">
                <a16:creationId xmlns:a16="http://schemas.microsoft.com/office/drawing/2014/main" id="{1EEBBAD1-9E3F-4272-BEF5-0FC0C7A46FF9}"/>
              </a:ext>
            </a:extLst>
          </p:cNvPr>
          <p:cNvSpPr>
            <a:spLocks noGrp="1"/>
          </p:cNvSpPr>
          <p:nvPr>
            <p:ph type="ftr" sz="quarter" idx="50"/>
          </p:nvPr>
        </p:nvSpPr>
        <p:spPr>
          <a:xfrm>
            <a:off x="6424571" y="6473952"/>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14" name="TextBox 13">
            <a:extLst>
              <a:ext uri="{FF2B5EF4-FFF2-40B4-BE49-F238E27FC236}">
                <a16:creationId xmlns:a16="http://schemas.microsoft.com/office/drawing/2014/main" id="{11598B1E-F0FA-4DBE-BD87-B2FC206A635E}"/>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15" name="Graphic 14">
            <a:extLst>
              <a:ext uri="{FF2B5EF4-FFF2-40B4-BE49-F238E27FC236}">
                <a16:creationId xmlns:a16="http://schemas.microsoft.com/office/drawing/2014/main" id="{0D8E0428-CFB0-49F7-BC2B-CB9C749FEF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39505706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plit-screen Image/Text Right Placeholder">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4CA5DDE-E837-4B89-B762-5D2BB1329BC4}"/>
              </a:ext>
            </a:extLst>
          </p:cNvPr>
          <p:cNvSpPr>
            <a:spLocks noGrp="1"/>
          </p:cNvSpPr>
          <p:nvPr>
            <p:ph type="pic" sz="quarter" idx="18"/>
          </p:nvPr>
        </p:nvSpPr>
        <p:spPr>
          <a:xfrm>
            <a:off x="6095999" y="0"/>
            <a:ext cx="6096002" cy="6858000"/>
          </a:xfrm>
          <a:solidFill>
            <a:srgbClr val="E6E7E8"/>
          </a:solidFill>
        </p:spPr>
        <p:txBody>
          <a:bodyPr anchor="ctr"/>
          <a:lstStyle>
            <a:lvl1pPr marL="0" indent="0" algn="ctr">
              <a:spcBef>
                <a:spcPts val="0"/>
              </a:spcBef>
              <a:buNone/>
              <a:defRPr/>
            </a:lvl1pPr>
          </a:lstStyle>
          <a:p>
            <a:r>
              <a:rPr lang="en-US" dirty="0"/>
              <a:t>Click icon to add picture</a:t>
            </a:r>
            <a:endParaRPr lang="en-GB" dirty="0"/>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6" y="393192"/>
            <a:ext cx="5203825" cy="548640"/>
          </a:xfrm>
        </p:spPr>
        <p:txBody>
          <a:bodyPr/>
          <a:lstStyle>
            <a:lvl1pPr>
              <a:defRPr/>
            </a:lvl1pPr>
          </a:lstStyle>
          <a:p>
            <a:r>
              <a:rPr lang="en-US" dirty="0"/>
              <a:t>H1 placeholder.</a:t>
            </a:r>
            <a:endParaRPr lang="en-GB" dirty="0"/>
          </a:p>
        </p:txBody>
      </p:sp>
      <p:sp>
        <p:nvSpPr>
          <p:cNvPr id="12" name="Freeform: Shape 11">
            <a:extLst>
              <a:ext uri="{FF2B5EF4-FFF2-40B4-BE49-F238E27FC236}">
                <a16:creationId xmlns:a16="http://schemas.microsoft.com/office/drawing/2014/main" id="{5D8574FB-25CF-4260-8BDB-94D4AE9B37AE}"/>
              </a:ext>
            </a:extLst>
          </p:cNvPr>
          <p:cNvSpPr/>
          <p:nvPr userDrawn="1"/>
        </p:nvSpPr>
        <p:spPr>
          <a:xfrm>
            <a:off x="11163300" y="5233935"/>
            <a:ext cx="1028700" cy="1069922"/>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chemeClr val="bg1"/>
          </a:solidFill>
          <a:ln w="9525" cap="flat">
            <a:noFill/>
            <a:prstDash val="solid"/>
            <a:miter/>
          </a:ln>
        </p:spPr>
        <p:txBody>
          <a:bodyPr rtlCol="0" anchor="ctr"/>
          <a:lstStyle/>
          <a:p>
            <a:endParaRPr lang="en-GB" dirty="0"/>
          </a:p>
        </p:txBody>
      </p:sp>
      <p:sp>
        <p:nvSpPr>
          <p:cNvPr id="7" name="Slide Number Placeholder 6">
            <a:extLst>
              <a:ext uri="{FF2B5EF4-FFF2-40B4-BE49-F238E27FC236}">
                <a16:creationId xmlns:a16="http://schemas.microsoft.com/office/drawing/2014/main" id="{AAE7B2EC-A5F2-40AB-A66B-86E5B337AAA5}"/>
              </a:ext>
            </a:extLst>
          </p:cNvPr>
          <p:cNvSpPr>
            <a:spLocks noGrp="1"/>
          </p:cNvSpPr>
          <p:nvPr>
            <p:ph type="sldNum" sz="quarter" idx="17"/>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13" name="Content Placeholder 7">
            <a:extLst>
              <a:ext uri="{FF2B5EF4-FFF2-40B4-BE49-F238E27FC236}">
                <a16:creationId xmlns:a16="http://schemas.microsoft.com/office/drawing/2014/main" id="{0EDEA188-227F-4F59-A493-5546B37FBDD4}"/>
              </a:ext>
            </a:extLst>
          </p:cNvPr>
          <p:cNvSpPr>
            <a:spLocks noGrp="1"/>
          </p:cNvSpPr>
          <p:nvPr>
            <p:ph sz="quarter" idx="21" hasCustomPrompt="1"/>
          </p:nvPr>
        </p:nvSpPr>
        <p:spPr>
          <a:xfrm>
            <a:off x="587374" y="1423348"/>
            <a:ext cx="5202936" cy="4359707"/>
          </a:xfrm>
        </p:spPr>
        <p:txBody>
          <a:bodyPr/>
          <a:lstStyle/>
          <a:p>
            <a:pPr lvl="0"/>
            <a:r>
              <a:rPr lang="en-US" dirty="0"/>
              <a:t>Bullet level 1</a:t>
            </a:r>
          </a:p>
          <a:p>
            <a:pPr lvl="1"/>
            <a:r>
              <a:rPr lang="en-US" dirty="0"/>
              <a:t>Second level</a:t>
            </a:r>
          </a:p>
          <a:p>
            <a:pPr lvl="2"/>
            <a:r>
              <a:rPr lang="en-US" dirty="0"/>
              <a:t>Third level</a:t>
            </a:r>
          </a:p>
        </p:txBody>
      </p:sp>
      <p:sp>
        <p:nvSpPr>
          <p:cNvPr id="14" name="Footer Placeholder 4">
            <a:extLst>
              <a:ext uri="{FF2B5EF4-FFF2-40B4-BE49-F238E27FC236}">
                <a16:creationId xmlns:a16="http://schemas.microsoft.com/office/drawing/2014/main" id="{CAD98D33-6E7A-4633-9B3E-5A45E9B1C308}"/>
              </a:ext>
            </a:extLst>
          </p:cNvPr>
          <p:cNvSpPr>
            <a:spLocks noGrp="1"/>
          </p:cNvSpPr>
          <p:nvPr>
            <p:ph type="ftr" sz="quarter" idx="50"/>
          </p:nvPr>
        </p:nvSpPr>
        <p:spPr>
          <a:xfrm>
            <a:off x="6424571" y="6473952"/>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15" name="TextBox 14">
            <a:extLst>
              <a:ext uri="{FF2B5EF4-FFF2-40B4-BE49-F238E27FC236}">
                <a16:creationId xmlns:a16="http://schemas.microsoft.com/office/drawing/2014/main" id="{4951CFBC-5140-4679-A413-FA763C841CF0}"/>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16" name="Graphic 15">
            <a:extLst>
              <a:ext uri="{FF2B5EF4-FFF2-40B4-BE49-F238E27FC236}">
                <a16:creationId xmlns:a16="http://schemas.microsoft.com/office/drawing/2014/main" id="{B40D56E4-B96C-41C3-9713-464AF506C7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41895876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plit-screen Image/Text Left">
    <p:spTree>
      <p:nvGrpSpPr>
        <p:cNvPr id="1" name=""/>
        <p:cNvGrpSpPr/>
        <p:nvPr/>
      </p:nvGrpSpPr>
      <p:grpSpPr>
        <a:xfrm>
          <a:off x="0" y="0"/>
          <a:ext cx="0" cy="0"/>
          <a:chOff x="0" y="0"/>
          <a:chExt cx="0" cy="0"/>
        </a:xfrm>
      </p:grpSpPr>
      <p:pic>
        <p:nvPicPr>
          <p:cNvPr id="10" name="Picture 9" descr="A picture containing person&#10;&#10;Description automatically generated">
            <a:extLst>
              <a:ext uri="{FF2B5EF4-FFF2-40B4-BE49-F238E27FC236}">
                <a16:creationId xmlns:a16="http://schemas.microsoft.com/office/drawing/2014/main" id="{3DD302B6-A33D-4A33-BF56-BC6B69949A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20371" r="20371"/>
          <a:stretch/>
        </p:blipFill>
        <p:spPr>
          <a:xfrm>
            <a:off x="0" y="0"/>
            <a:ext cx="6096002" cy="6858000"/>
          </a:xfrm>
          <a:prstGeom prst="rect">
            <a:avLst/>
          </a:prstGeom>
        </p:spPr>
      </p:pic>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6615113" y="393192"/>
            <a:ext cx="4953000" cy="548640"/>
          </a:xfrm>
        </p:spPr>
        <p:txBody>
          <a:bodyPr/>
          <a:lstStyle>
            <a:lvl1pPr>
              <a:defRPr/>
            </a:lvl1pPr>
          </a:lstStyle>
          <a:p>
            <a:r>
              <a:rPr lang="en-US" dirty="0"/>
              <a:t>H1 placeholder.</a:t>
            </a:r>
            <a:endParaRPr lang="en-GB" dirty="0"/>
          </a:p>
        </p:txBody>
      </p:sp>
      <p:sp>
        <p:nvSpPr>
          <p:cNvPr id="9" name="Content Placeholder 7">
            <a:extLst>
              <a:ext uri="{FF2B5EF4-FFF2-40B4-BE49-F238E27FC236}">
                <a16:creationId xmlns:a16="http://schemas.microsoft.com/office/drawing/2014/main" id="{997E24B1-A3CD-4BDE-8B31-532519171C1A}"/>
              </a:ext>
            </a:extLst>
          </p:cNvPr>
          <p:cNvSpPr>
            <a:spLocks noGrp="1"/>
          </p:cNvSpPr>
          <p:nvPr>
            <p:ph sz="quarter" idx="21" hasCustomPrompt="1"/>
          </p:nvPr>
        </p:nvSpPr>
        <p:spPr>
          <a:xfrm>
            <a:off x="6615113" y="1423348"/>
            <a:ext cx="4953000" cy="4359707"/>
          </a:xfrm>
        </p:spPr>
        <p:txBody>
          <a:bodyPr/>
          <a:lstStyle/>
          <a:p>
            <a:pPr lvl="0"/>
            <a:r>
              <a:rPr lang="en-US" dirty="0"/>
              <a:t>Bullet level 1</a:t>
            </a:r>
          </a:p>
          <a:p>
            <a:pPr lvl="1"/>
            <a:r>
              <a:rPr lang="en-US" dirty="0"/>
              <a:t>Second level</a:t>
            </a:r>
          </a:p>
          <a:p>
            <a:pPr lvl="2"/>
            <a:r>
              <a:rPr lang="en-US" dirty="0"/>
              <a:t>Third level</a:t>
            </a:r>
          </a:p>
        </p:txBody>
      </p:sp>
      <p:sp>
        <p:nvSpPr>
          <p:cNvPr id="8" name="Slide Number Placeholder 7">
            <a:extLst>
              <a:ext uri="{FF2B5EF4-FFF2-40B4-BE49-F238E27FC236}">
                <a16:creationId xmlns:a16="http://schemas.microsoft.com/office/drawing/2014/main" id="{80A5B24A-74B4-4416-A5B9-23B8ECC02E13}"/>
              </a:ext>
            </a:extLst>
          </p:cNvPr>
          <p:cNvSpPr>
            <a:spLocks noGrp="1"/>
          </p:cNvSpPr>
          <p:nvPr>
            <p:ph type="sldNum" sz="quarter" idx="24"/>
          </p:nvPr>
        </p:nvSpPr>
        <p:spPr/>
        <p:txBody>
          <a:bodyPr/>
          <a:lstStyle/>
          <a:p>
            <a:fld id="{2604F1CA-F590-4AD7-82C4-33C5478F726E}" type="slidenum">
              <a:rPr lang="en-GB" smtClean="0"/>
              <a:pPr/>
              <a:t>‹#›</a:t>
            </a:fld>
            <a:endParaRPr lang="en-GB" dirty="0"/>
          </a:p>
        </p:txBody>
      </p:sp>
      <p:sp>
        <p:nvSpPr>
          <p:cNvPr id="7" name="Footer Placeholder 11">
            <a:extLst>
              <a:ext uri="{FF2B5EF4-FFF2-40B4-BE49-F238E27FC236}">
                <a16:creationId xmlns:a16="http://schemas.microsoft.com/office/drawing/2014/main" id="{4E24EE7A-F6D8-4F89-8148-709C61A0C94B}"/>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13646393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with Replaceable Imag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CF8B57D-2DC0-44FD-A100-240874391ABC}"/>
              </a:ext>
            </a:extLst>
          </p:cNvPr>
          <p:cNvSpPr>
            <a:spLocks/>
          </p:cNvSpPr>
          <p:nvPr userDrawn="1"/>
        </p:nvSpPr>
        <p:spPr>
          <a:xfrm>
            <a:off x="0" y="0"/>
            <a:ext cx="12192000" cy="6858000"/>
          </a:xfrm>
          <a:prstGeom prst="rect">
            <a:avLst/>
          </a:prstGeom>
          <a:solidFill>
            <a:schemeClr val="tx1">
              <a:lumMod val="50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00" dirty="0"/>
          </a:p>
        </p:txBody>
      </p:sp>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1524000" y="3999344"/>
            <a:ext cx="9144000"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endParaRPr lang="en-GB" dirty="0"/>
          </a:p>
        </p:txBody>
      </p:sp>
      <p:sp>
        <p:nvSpPr>
          <p:cNvPr id="12" name="TextBox 11">
            <a:extLst>
              <a:ext uri="{FF2B5EF4-FFF2-40B4-BE49-F238E27FC236}">
                <a16:creationId xmlns:a16="http://schemas.microsoft.com/office/drawing/2014/main" id="{E06DA5FB-EB72-423D-83FD-959A52AE0CAD}"/>
              </a:ext>
            </a:extLst>
          </p:cNvPr>
          <p:cNvSpPr txBox="1">
            <a:spLocks/>
          </p:cNvSpPr>
          <p:nvPr userDrawn="1"/>
        </p:nvSpPr>
        <p:spPr>
          <a:xfrm>
            <a:off x="3924625" y="2386870"/>
            <a:ext cx="4342750" cy="276999"/>
          </a:xfrm>
          <a:prstGeom prst="rect">
            <a:avLst/>
          </a:prstGeom>
          <a:noFill/>
        </p:spPr>
        <p:txBody>
          <a:bodyPr wrap="square" rtlCol="0">
            <a:spAutoFit/>
          </a:bodyPr>
          <a:lstStyle/>
          <a:p>
            <a:pPr marL="228600" indent="-228600" algn="ctr">
              <a:buClr>
                <a:srgbClr val="E0044E"/>
              </a:buClr>
              <a:buSzPct val="120000"/>
              <a:buFont typeface="Calibri" panose="020F0502020204030204" pitchFamily="34" charset="0"/>
              <a:buChar char="●"/>
            </a:pPr>
            <a:r>
              <a:rPr lang="en-US" sz="1200" dirty="0">
                <a:solidFill>
                  <a:schemeClr val="bg1"/>
                </a:solidFill>
                <a:latin typeface="Segoe UI" panose="020B0502040204020203" pitchFamily="34" charset="0"/>
                <a:cs typeface="Segoe UI" panose="020B0502040204020203" pitchFamily="34" charset="0"/>
              </a:rPr>
              <a:t>Innovative Analytics Solutions</a:t>
            </a:r>
            <a:endParaRPr lang="en-GB" sz="1200" dirty="0">
              <a:solidFill>
                <a:schemeClr val="bg1"/>
              </a:solidFill>
              <a:latin typeface="Segoe UI" panose="020B0502040204020203" pitchFamily="34" charset="0"/>
              <a:cs typeface="Segoe UI" panose="020B0502040204020203" pitchFamily="34" charset="0"/>
            </a:endParaRPr>
          </a:p>
        </p:txBody>
      </p:sp>
      <p:pic>
        <p:nvPicPr>
          <p:cNvPr id="6" name="Graphic 5">
            <a:extLst>
              <a:ext uri="{FF2B5EF4-FFF2-40B4-BE49-F238E27FC236}">
                <a16:creationId xmlns:a16="http://schemas.microsoft.com/office/drawing/2014/main" id="{D6505CBB-906A-468A-9AD3-706C136763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848850" y="557212"/>
            <a:ext cx="1905000" cy="198723"/>
          </a:xfrm>
          <a:prstGeom prst="rect">
            <a:avLst/>
          </a:prstGeom>
        </p:spPr>
      </p:pic>
      <p:sp>
        <p:nvSpPr>
          <p:cNvPr id="13" name="Rectangle: Rounded Corners 12">
            <a:extLst>
              <a:ext uri="{FF2B5EF4-FFF2-40B4-BE49-F238E27FC236}">
                <a16:creationId xmlns:a16="http://schemas.microsoft.com/office/drawing/2014/main" id="{F829D7F7-E802-4897-AF47-787171E9B970}"/>
              </a:ext>
            </a:extLst>
          </p:cNvPr>
          <p:cNvSpPr/>
          <p:nvPr userDrawn="1"/>
        </p:nvSpPr>
        <p:spPr>
          <a:xfrm>
            <a:off x="6837681" y="2882900"/>
            <a:ext cx="3180080" cy="80772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Box 10">
            <a:extLst>
              <a:ext uri="{FF2B5EF4-FFF2-40B4-BE49-F238E27FC236}">
                <a16:creationId xmlns:a16="http://schemas.microsoft.com/office/drawing/2014/main" id="{96DCD686-BD77-41E7-9239-D3ED6961EE77}"/>
              </a:ext>
            </a:extLst>
          </p:cNvPr>
          <p:cNvSpPr txBox="1">
            <a:spLocks/>
          </p:cNvSpPr>
          <p:nvPr userDrawn="1"/>
        </p:nvSpPr>
        <p:spPr>
          <a:xfrm>
            <a:off x="1524000" y="2831172"/>
            <a:ext cx="9144000" cy="923330"/>
          </a:xfrm>
          <a:prstGeom prst="rect">
            <a:avLst/>
          </a:prstGeom>
          <a:noFill/>
        </p:spPr>
        <p:txBody>
          <a:bodyPr wrap="square" rtlCol="0">
            <a:spAutoFit/>
          </a:bodyPr>
          <a:lstStyle/>
          <a:p>
            <a:pPr algn="ctr"/>
            <a:r>
              <a:rPr lang="en-US" sz="5400" b="1" dirty="0">
                <a:solidFill>
                  <a:schemeClr val="bg1"/>
                </a:solidFill>
                <a:latin typeface="Segoe UI" panose="020B0502040204020203" pitchFamily="34" charset="0"/>
                <a:cs typeface="Segoe UI" panose="020B0502040204020203" pitchFamily="34" charset="0"/>
              </a:rPr>
              <a:t>Elevate your impact.</a:t>
            </a:r>
            <a:endParaRPr lang="en-GB" sz="5400" b="1" dirty="0">
              <a:solidFill>
                <a:schemeClr val="bg1"/>
              </a:solidFill>
              <a:latin typeface="Segoe UI" panose="020B0502040204020203" pitchFamily="34" charset="0"/>
              <a:cs typeface="Segoe UI" panose="020B0502040204020203" pitchFamily="34" charset="0"/>
            </a:endParaRPr>
          </a:p>
        </p:txBody>
      </p:sp>
    </p:spTree>
    <p:custDataLst>
      <p:tags r:id="rId1"/>
    </p:custDataLst>
    <p:extLst>
      <p:ext uri="{BB962C8B-B14F-4D97-AF65-F5344CB8AC3E}">
        <p14:creationId xmlns:p14="http://schemas.microsoft.com/office/powerpoint/2010/main" val="20120364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plit-screen Image/Text Left Placeholder">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1EE5D860-920E-4C4E-BC81-5C52C45EC662}"/>
              </a:ext>
            </a:extLst>
          </p:cNvPr>
          <p:cNvSpPr>
            <a:spLocks noGrp="1"/>
          </p:cNvSpPr>
          <p:nvPr>
            <p:ph type="pic" sz="quarter" idx="18"/>
          </p:nvPr>
        </p:nvSpPr>
        <p:spPr>
          <a:xfrm>
            <a:off x="0" y="0"/>
            <a:ext cx="6096002" cy="6858000"/>
          </a:xfrm>
          <a:solidFill>
            <a:srgbClr val="E6E7E8"/>
          </a:solidFill>
        </p:spPr>
        <p:txBody>
          <a:bodyPr anchor="ctr"/>
          <a:lstStyle>
            <a:lvl1pPr marL="0" indent="0" algn="ctr">
              <a:buNone/>
              <a:defRPr/>
            </a:lvl1pPr>
          </a:lstStyle>
          <a:p>
            <a:r>
              <a:rPr lang="en-US" dirty="0"/>
              <a:t>Click icon to add picture</a:t>
            </a:r>
            <a:endParaRPr lang="en-GB" dirty="0"/>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6615113" y="393192"/>
            <a:ext cx="4953000" cy="548640"/>
          </a:xfrm>
        </p:spPr>
        <p:txBody>
          <a:bodyPr/>
          <a:lstStyle>
            <a:lvl1pPr>
              <a:defRPr/>
            </a:lvl1pPr>
          </a:lstStyle>
          <a:p>
            <a:r>
              <a:rPr lang="en-US" dirty="0"/>
              <a:t>H1 placeholder.</a:t>
            </a:r>
            <a:endParaRPr lang="en-GB" dirty="0"/>
          </a:p>
        </p:txBody>
      </p:sp>
      <p:sp>
        <p:nvSpPr>
          <p:cNvPr id="7" name="Slide Number Placeholder 6">
            <a:extLst>
              <a:ext uri="{FF2B5EF4-FFF2-40B4-BE49-F238E27FC236}">
                <a16:creationId xmlns:a16="http://schemas.microsoft.com/office/drawing/2014/main" id="{5255DF44-2895-4E9F-B5EA-D0DFC237B64A}"/>
              </a:ext>
            </a:extLst>
          </p:cNvPr>
          <p:cNvSpPr>
            <a:spLocks noGrp="1"/>
          </p:cNvSpPr>
          <p:nvPr>
            <p:ph type="sldNum" sz="quarter" idx="17"/>
          </p:nvPr>
        </p:nvSpPr>
        <p:spPr/>
        <p:txBody>
          <a:bodyPr/>
          <a:lstStyle/>
          <a:p>
            <a:fld id="{2604F1CA-F590-4AD7-82C4-33C5478F726E}" type="slidenum">
              <a:rPr lang="en-GB" smtClean="0"/>
              <a:pPr/>
              <a:t>‹#›</a:t>
            </a:fld>
            <a:endParaRPr lang="en-GB" dirty="0"/>
          </a:p>
        </p:txBody>
      </p:sp>
      <p:sp>
        <p:nvSpPr>
          <p:cNvPr id="8" name="Content Placeholder 7">
            <a:extLst>
              <a:ext uri="{FF2B5EF4-FFF2-40B4-BE49-F238E27FC236}">
                <a16:creationId xmlns:a16="http://schemas.microsoft.com/office/drawing/2014/main" id="{1C13AF92-6867-4F5A-81E5-1FB1469D70B8}"/>
              </a:ext>
            </a:extLst>
          </p:cNvPr>
          <p:cNvSpPr>
            <a:spLocks noGrp="1"/>
          </p:cNvSpPr>
          <p:nvPr>
            <p:ph sz="quarter" idx="21" hasCustomPrompt="1"/>
          </p:nvPr>
        </p:nvSpPr>
        <p:spPr>
          <a:xfrm>
            <a:off x="6615113" y="1423348"/>
            <a:ext cx="4953000" cy="4359707"/>
          </a:xfrm>
        </p:spPr>
        <p:txBody>
          <a:bodyPr/>
          <a:lstStyle/>
          <a:p>
            <a:pPr lvl="0"/>
            <a:r>
              <a:rPr lang="en-US" dirty="0"/>
              <a:t>Bullet level 1</a:t>
            </a:r>
          </a:p>
          <a:p>
            <a:pPr lvl="1"/>
            <a:r>
              <a:rPr lang="en-US" dirty="0"/>
              <a:t>Second level</a:t>
            </a:r>
          </a:p>
          <a:p>
            <a:pPr lvl="2"/>
            <a:r>
              <a:rPr lang="en-US" dirty="0"/>
              <a:t>Third level</a:t>
            </a:r>
          </a:p>
        </p:txBody>
      </p:sp>
      <p:sp>
        <p:nvSpPr>
          <p:cNvPr id="9" name="Footer Placeholder 11">
            <a:extLst>
              <a:ext uri="{FF2B5EF4-FFF2-40B4-BE49-F238E27FC236}">
                <a16:creationId xmlns:a16="http://schemas.microsoft.com/office/drawing/2014/main" id="{0A7D5642-28F6-4642-9445-842ED102B121}"/>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38890947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plit-screen Image/Text 1/3">
    <p:spTree>
      <p:nvGrpSpPr>
        <p:cNvPr id="1" name=""/>
        <p:cNvGrpSpPr/>
        <p:nvPr/>
      </p:nvGrpSpPr>
      <p:grpSpPr>
        <a:xfrm>
          <a:off x="0" y="0"/>
          <a:ext cx="0" cy="0"/>
          <a:chOff x="0" y="0"/>
          <a:chExt cx="0" cy="0"/>
        </a:xfrm>
      </p:grpSpPr>
      <p:sp>
        <p:nvSpPr>
          <p:cNvPr id="12" name="Content Placeholder 7">
            <a:extLst>
              <a:ext uri="{FF2B5EF4-FFF2-40B4-BE49-F238E27FC236}">
                <a16:creationId xmlns:a16="http://schemas.microsoft.com/office/drawing/2014/main" id="{F4358DBD-25E3-4D08-BED9-BC56CCA2067E}"/>
              </a:ext>
            </a:extLst>
          </p:cNvPr>
          <p:cNvSpPr>
            <a:spLocks noGrp="1"/>
          </p:cNvSpPr>
          <p:nvPr>
            <p:ph sz="quarter" idx="21" hasCustomPrompt="1"/>
          </p:nvPr>
        </p:nvSpPr>
        <p:spPr>
          <a:xfrm>
            <a:off x="587375" y="1423348"/>
            <a:ext cx="7197724" cy="4359707"/>
          </a:xfrm>
        </p:spPr>
        <p:txBody>
          <a:bodyPr/>
          <a:lstStyle/>
          <a:p>
            <a:pPr lvl="0"/>
            <a:r>
              <a:rPr lang="en-US" dirty="0"/>
              <a:t>Bullet level 1</a:t>
            </a:r>
          </a:p>
          <a:p>
            <a:pPr lvl="1"/>
            <a:r>
              <a:rPr lang="en-US" dirty="0"/>
              <a:t>Second level</a:t>
            </a:r>
          </a:p>
          <a:p>
            <a:pPr lvl="2"/>
            <a:r>
              <a:rPr lang="en-US" dirty="0"/>
              <a:t>Third level</a:t>
            </a:r>
          </a:p>
        </p:txBody>
      </p:sp>
      <p:pic>
        <p:nvPicPr>
          <p:cNvPr id="10" name="Picture 9" descr="A picture containing person&#10;&#10;Description automatically generated">
            <a:extLst>
              <a:ext uri="{FF2B5EF4-FFF2-40B4-BE49-F238E27FC236}">
                <a16:creationId xmlns:a16="http://schemas.microsoft.com/office/drawing/2014/main" id="{3DD302B6-A33D-4A33-BF56-BC6B69949A2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0246" r="30244"/>
          <a:stretch/>
        </p:blipFill>
        <p:spPr>
          <a:xfrm>
            <a:off x="8127599" y="0"/>
            <a:ext cx="4064402" cy="6858000"/>
          </a:xfrm>
          <a:prstGeom prst="rect">
            <a:avLst/>
          </a:prstGeom>
        </p:spPr>
      </p:pic>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6" y="393192"/>
            <a:ext cx="7197724" cy="548640"/>
          </a:xfrm>
        </p:spPr>
        <p:txBody>
          <a:bodyPr anchor="ctr"/>
          <a:lstStyle>
            <a:lvl1pPr>
              <a:defRPr/>
            </a:lvl1pPr>
          </a:lstStyle>
          <a:p>
            <a:r>
              <a:rPr lang="en-US" dirty="0"/>
              <a:t>H1 placeholder.</a:t>
            </a:r>
            <a:endParaRPr lang="en-GB" dirty="0"/>
          </a:p>
        </p:txBody>
      </p:sp>
      <p:sp>
        <p:nvSpPr>
          <p:cNvPr id="7" name="Slide Number Placeholder 6">
            <a:extLst>
              <a:ext uri="{FF2B5EF4-FFF2-40B4-BE49-F238E27FC236}">
                <a16:creationId xmlns:a16="http://schemas.microsoft.com/office/drawing/2014/main" id="{75668C19-3E6D-44B8-B44D-D369C662A4D5}"/>
              </a:ext>
            </a:extLst>
          </p:cNvPr>
          <p:cNvSpPr>
            <a:spLocks noGrp="1"/>
          </p:cNvSpPr>
          <p:nvPr>
            <p:ph type="sldNum" sz="quarter" idx="17"/>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13" name="Footer Placeholder 4">
            <a:extLst>
              <a:ext uri="{FF2B5EF4-FFF2-40B4-BE49-F238E27FC236}">
                <a16:creationId xmlns:a16="http://schemas.microsoft.com/office/drawing/2014/main" id="{C608E475-A4CC-453D-8136-04D2065529B4}"/>
              </a:ext>
            </a:extLst>
          </p:cNvPr>
          <p:cNvSpPr>
            <a:spLocks noGrp="1"/>
          </p:cNvSpPr>
          <p:nvPr>
            <p:ph type="ftr" sz="quarter" idx="50"/>
          </p:nvPr>
        </p:nvSpPr>
        <p:spPr>
          <a:xfrm>
            <a:off x="6424571" y="6479554"/>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14" name="TextBox 13">
            <a:extLst>
              <a:ext uri="{FF2B5EF4-FFF2-40B4-BE49-F238E27FC236}">
                <a16:creationId xmlns:a16="http://schemas.microsoft.com/office/drawing/2014/main" id="{1DCB3AFC-9252-4824-A803-772D2256A92C}"/>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15" name="Graphic 14">
            <a:extLst>
              <a:ext uri="{FF2B5EF4-FFF2-40B4-BE49-F238E27FC236}">
                <a16:creationId xmlns:a16="http://schemas.microsoft.com/office/drawing/2014/main" id="{4EEF2943-95E8-48B4-87A0-188812B7D1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42347342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plit-screen Image/Text 1/3 Placeholder">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F2024AA-F9EE-4DD6-BD38-23BF96BA1821}"/>
              </a:ext>
            </a:extLst>
          </p:cNvPr>
          <p:cNvSpPr>
            <a:spLocks noGrp="1"/>
          </p:cNvSpPr>
          <p:nvPr>
            <p:ph type="pic" sz="quarter" idx="18"/>
          </p:nvPr>
        </p:nvSpPr>
        <p:spPr>
          <a:xfrm>
            <a:off x="8127599" y="0"/>
            <a:ext cx="4064402" cy="6858000"/>
          </a:xfrm>
          <a:solidFill>
            <a:srgbClr val="E6E7E8"/>
          </a:solidFill>
        </p:spPr>
        <p:txBody>
          <a:bodyPr anchor="ctr"/>
          <a:lstStyle>
            <a:lvl1pPr marL="0" indent="0" algn="ctr">
              <a:buNone/>
              <a:defRPr/>
            </a:lvl1pPr>
          </a:lstStyle>
          <a:p>
            <a:r>
              <a:rPr lang="en-US" dirty="0"/>
              <a:t>Click icon to add picture</a:t>
            </a:r>
            <a:endParaRPr lang="en-GB" dirty="0"/>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6" y="393192"/>
            <a:ext cx="7197724" cy="548640"/>
          </a:xfrm>
        </p:spPr>
        <p:txBody>
          <a:bodyPr/>
          <a:lstStyle>
            <a:lvl1pPr>
              <a:defRPr/>
            </a:lvl1pPr>
          </a:lstStyle>
          <a:p>
            <a:r>
              <a:rPr lang="en-US" dirty="0"/>
              <a:t>H1 placeholder.</a:t>
            </a:r>
            <a:endParaRPr lang="en-GB" dirty="0"/>
          </a:p>
        </p:txBody>
      </p:sp>
      <p:sp>
        <p:nvSpPr>
          <p:cNvPr id="7" name="Slide Number Placeholder 6">
            <a:extLst>
              <a:ext uri="{FF2B5EF4-FFF2-40B4-BE49-F238E27FC236}">
                <a16:creationId xmlns:a16="http://schemas.microsoft.com/office/drawing/2014/main" id="{75668C19-3E6D-44B8-B44D-D369C662A4D5}"/>
              </a:ext>
            </a:extLst>
          </p:cNvPr>
          <p:cNvSpPr>
            <a:spLocks noGrp="1"/>
          </p:cNvSpPr>
          <p:nvPr>
            <p:ph type="sldNum" sz="quarter" idx="17"/>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12" name="Content Placeholder 7">
            <a:extLst>
              <a:ext uri="{FF2B5EF4-FFF2-40B4-BE49-F238E27FC236}">
                <a16:creationId xmlns:a16="http://schemas.microsoft.com/office/drawing/2014/main" id="{58101BAE-7605-4C0B-A8A9-E4208462CBFB}"/>
              </a:ext>
            </a:extLst>
          </p:cNvPr>
          <p:cNvSpPr>
            <a:spLocks noGrp="1"/>
          </p:cNvSpPr>
          <p:nvPr>
            <p:ph sz="quarter" idx="21" hasCustomPrompt="1"/>
          </p:nvPr>
        </p:nvSpPr>
        <p:spPr>
          <a:xfrm>
            <a:off x="587375" y="1423348"/>
            <a:ext cx="7197724" cy="4359707"/>
          </a:xfrm>
        </p:spPr>
        <p:txBody>
          <a:bodyPr/>
          <a:lstStyle/>
          <a:p>
            <a:pPr lvl="0"/>
            <a:r>
              <a:rPr lang="en-US" dirty="0"/>
              <a:t>Bullet level 1</a:t>
            </a:r>
          </a:p>
          <a:p>
            <a:pPr lvl="1"/>
            <a:r>
              <a:rPr lang="en-US" dirty="0"/>
              <a:t>Second level</a:t>
            </a:r>
          </a:p>
          <a:p>
            <a:pPr lvl="2"/>
            <a:r>
              <a:rPr lang="en-US" dirty="0"/>
              <a:t>Third level</a:t>
            </a:r>
          </a:p>
        </p:txBody>
      </p:sp>
      <p:sp>
        <p:nvSpPr>
          <p:cNvPr id="11" name="Footer Placeholder 4">
            <a:extLst>
              <a:ext uri="{FF2B5EF4-FFF2-40B4-BE49-F238E27FC236}">
                <a16:creationId xmlns:a16="http://schemas.microsoft.com/office/drawing/2014/main" id="{F8FCC3B0-01B8-4400-9A17-D5F7E20B8B17}"/>
              </a:ext>
            </a:extLst>
          </p:cNvPr>
          <p:cNvSpPr>
            <a:spLocks noGrp="1"/>
          </p:cNvSpPr>
          <p:nvPr>
            <p:ph type="ftr" sz="quarter" idx="50"/>
          </p:nvPr>
        </p:nvSpPr>
        <p:spPr>
          <a:xfrm>
            <a:off x="6424571" y="6479554"/>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13" name="TextBox 12">
            <a:extLst>
              <a:ext uri="{FF2B5EF4-FFF2-40B4-BE49-F238E27FC236}">
                <a16:creationId xmlns:a16="http://schemas.microsoft.com/office/drawing/2014/main" id="{BEC247FE-F474-43F7-A7F8-6400A3D3BAED}"/>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14" name="Graphic 13">
            <a:extLst>
              <a:ext uri="{FF2B5EF4-FFF2-40B4-BE49-F238E27FC236}">
                <a16:creationId xmlns:a16="http://schemas.microsoft.com/office/drawing/2014/main" id="{4778904F-955A-4F8D-BAA0-8599F8284DC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1670588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ext with Sidebar 1/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9C2B463-C72D-40B5-B0B8-FE4FE74AE8AA}"/>
              </a:ext>
            </a:extLst>
          </p:cNvPr>
          <p:cNvSpPr>
            <a:spLocks/>
          </p:cNvSpPr>
          <p:nvPr userDrawn="1"/>
        </p:nvSpPr>
        <p:spPr>
          <a:xfrm>
            <a:off x="8127599" y="0"/>
            <a:ext cx="406440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7" y="393192"/>
            <a:ext cx="7197724" cy="548640"/>
          </a:xfrm>
        </p:spPr>
        <p:txBody>
          <a:bodyPr/>
          <a:lstStyle>
            <a:lvl1pPr>
              <a:defRPr/>
            </a:lvl1pPr>
          </a:lstStyle>
          <a:p>
            <a:r>
              <a:rPr lang="en-US" dirty="0"/>
              <a:t>H1 placeholder.</a:t>
            </a:r>
            <a:endParaRPr lang="en-GB" dirty="0"/>
          </a:p>
        </p:txBody>
      </p:sp>
      <p:sp>
        <p:nvSpPr>
          <p:cNvPr id="8" name="Slide Number Placeholder 7">
            <a:extLst>
              <a:ext uri="{FF2B5EF4-FFF2-40B4-BE49-F238E27FC236}">
                <a16:creationId xmlns:a16="http://schemas.microsoft.com/office/drawing/2014/main" id="{F082E359-F6E5-495E-9884-61BDF34B9D4F}"/>
              </a:ext>
            </a:extLst>
          </p:cNvPr>
          <p:cNvSpPr>
            <a:spLocks noGrp="1"/>
          </p:cNvSpPr>
          <p:nvPr>
            <p:ph type="sldNum" sz="quarter" idx="19"/>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15" name="Content Placeholder 7">
            <a:extLst>
              <a:ext uri="{FF2B5EF4-FFF2-40B4-BE49-F238E27FC236}">
                <a16:creationId xmlns:a16="http://schemas.microsoft.com/office/drawing/2014/main" id="{FE1FB661-5DA4-4CF2-BCF4-FCA29D734A40}"/>
              </a:ext>
            </a:extLst>
          </p:cNvPr>
          <p:cNvSpPr>
            <a:spLocks noGrp="1"/>
          </p:cNvSpPr>
          <p:nvPr>
            <p:ph sz="quarter" idx="21" hasCustomPrompt="1"/>
          </p:nvPr>
        </p:nvSpPr>
        <p:spPr>
          <a:xfrm>
            <a:off x="587375" y="1423348"/>
            <a:ext cx="7197724" cy="4359707"/>
          </a:xfrm>
        </p:spPr>
        <p:txBody>
          <a:bodyPr/>
          <a:lstStyle/>
          <a:p>
            <a:pPr lvl="0"/>
            <a:r>
              <a:rPr lang="en-US" dirty="0"/>
              <a:t>Bullet level 1</a:t>
            </a:r>
          </a:p>
          <a:p>
            <a:pPr lvl="1"/>
            <a:r>
              <a:rPr lang="en-US" dirty="0"/>
              <a:t>Second level</a:t>
            </a:r>
          </a:p>
          <a:p>
            <a:pPr lvl="2"/>
            <a:r>
              <a:rPr lang="en-US" dirty="0"/>
              <a:t>Third level</a:t>
            </a:r>
          </a:p>
        </p:txBody>
      </p:sp>
      <p:sp>
        <p:nvSpPr>
          <p:cNvPr id="6" name="Text Placeholder 5">
            <a:extLst>
              <a:ext uri="{FF2B5EF4-FFF2-40B4-BE49-F238E27FC236}">
                <a16:creationId xmlns:a16="http://schemas.microsoft.com/office/drawing/2014/main" id="{3365535F-127D-4921-97BA-DEDBE3BD1F10}"/>
              </a:ext>
            </a:extLst>
          </p:cNvPr>
          <p:cNvSpPr>
            <a:spLocks noGrp="1"/>
          </p:cNvSpPr>
          <p:nvPr>
            <p:ph type="body" sz="quarter" idx="22" hasCustomPrompt="1"/>
          </p:nvPr>
        </p:nvSpPr>
        <p:spPr>
          <a:xfrm>
            <a:off x="8628063" y="1808163"/>
            <a:ext cx="3063875" cy="4351337"/>
          </a:xfrm>
        </p:spPr>
        <p:txBody>
          <a:bodyPr/>
          <a:lstStyle>
            <a:lvl1pPr marL="228600" indent="-228600">
              <a:buClr>
                <a:schemeClr val="bg1"/>
              </a:buClr>
              <a:defRPr sz="1200">
                <a:solidFill>
                  <a:schemeClr val="bg1"/>
                </a:solidFill>
                <a:latin typeface="+mn-lt"/>
              </a:defRPr>
            </a:lvl1pPr>
            <a:lvl2pPr marL="228600" indent="-228600">
              <a:buClr>
                <a:schemeClr val="bg1"/>
              </a:buClr>
              <a:defRPr sz="1200">
                <a:solidFill>
                  <a:schemeClr val="bg1"/>
                </a:solidFill>
                <a:latin typeface="+mn-lt"/>
              </a:defRPr>
            </a:lvl2pPr>
            <a:lvl3pPr marL="228600" indent="-228600">
              <a:buClr>
                <a:schemeClr val="bg1"/>
              </a:buClr>
              <a:defRPr sz="1200">
                <a:solidFill>
                  <a:schemeClr val="bg1"/>
                </a:solidFill>
                <a:latin typeface="+mn-lt"/>
              </a:defRPr>
            </a:lvl3pPr>
            <a:lvl4pPr marL="228600" indent="-228600">
              <a:buClr>
                <a:schemeClr val="bg1"/>
              </a:buClr>
              <a:defRPr sz="1200">
                <a:solidFill>
                  <a:schemeClr val="bg1"/>
                </a:solidFill>
                <a:latin typeface="+mn-lt"/>
              </a:defRPr>
            </a:lvl4pPr>
            <a:lvl5pPr marL="228600" indent="-228600">
              <a:buClr>
                <a:schemeClr val="bg1"/>
              </a:buClr>
              <a:defRPr sz="1200">
                <a:solidFill>
                  <a:schemeClr val="bg1"/>
                </a:solidFill>
                <a:latin typeface="+mn-lt"/>
              </a:defRPr>
            </a:lvl5pPr>
          </a:lstStyle>
          <a:p>
            <a:pPr lvl="0"/>
            <a:r>
              <a:rPr lang="en-US" dirty="0"/>
              <a:t>Body text</a:t>
            </a:r>
          </a:p>
          <a:p>
            <a:pPr lvl="1"/>
            <a:r>
              <a:rPr lang="en-US" dirty="0"/>
              <a:t>Body text</a:t>
            </a:r>
          </a:p>
          <a:p>
            <a:pPr lvl="2"/>
            <a:r>
              <a:rPr lang="en-US" dirty="0"/>
              <a:t>Body text</a:t>
            </a:r>
          </a:p>
          <a:p>
            <a:pPr lvl="3"/>
            <a:r>
              <a:rPr lang="en-US" dirty="0"/>
              <a:t>Body text</a:t>
            </a:r>
          </a:p>
          <a:p>
            <a:pPr lvl="4"/>
            <a:r>
              <a:rPr lang="en-US" dirty="0"/>
              <a:t>Body text</a:t>
            </a:r>
          </a:p>
        </p:txBody>
      </p:sp>
      <p:sp>
        <p:nvSpPr>
          <p:cNvPr id="16" name="Text Placeholder 15">
            <a:extLst>
              <a:ext uri="{FF2B5EF4-FFF2-40B4-BE49-F238E27FC236}">
                <a16:creationId xmlns:a16="http://schemas.microsoft.com/office/drawing/2014/main" id="{BC3FF237-0FE6-4DC8-B5D7-E392262EE040}"/>
              </a:ext>
            </a:extLst>
          </p:cNvPr>
          <p:cNvSpPr>
            <a:spLocks noGrp="1"/>
          </p:cNvSpPr>
          <p:nvPr>
            <p:ph type="body" sz="quarter" idx="23" hasCustomPrompt="1"/>
          </p:nvPr>
        </p:nvSpPr>
        <p:spPr>
          <a:xfrm>
            <a:off x="8628063" y="682625"/>
            <a:ext cx="3063875" cy="714375"/>
          </a:xfrm>
        </p:spPr>
        <p:txBody>
          <a:bodyPr anchor="ctr" anchorCtr="0">
            <a:normAutofit/>
          </a:bodyPr>
          <a:lstStyle>
            <a:lvl1pPr marL="0" indent="0">
              <a:buNone/>
              <a:defRPr sz="2000">
                <a:solidFill>
                  <a:schemeClr val="bg1"/>
                </a:solidFill>
              </a:defRPr>
            </a:lvl1pPr>
          </a:lstStyle>
          <a:p>
            <a:pPr lvl="0"/>
            <a:r>
              <a:rPr lang="en-US" dirty="0"/>
              <a:t>Sidebar Title Placeholder</a:t>
            </a:r>
          </a:p>
        </p:txBody>
      </p:sp>
      <p:sp>
        <p:nvSpPr>
          <p:cNvPr id="12" name="Footer Placeholder 4">
            <a:extLst>
              <a:ext uri="{FF2B5EF4-FFF2-40B4-BE49-F238E27FC236}">
                <a16:creationId xmlns:a16="http://schemas.microsoft.com/office/drawing/2014/main" id="{4FA0222F-C1A5-40EF-A3D4-D971B5D63000}"/>
              </a:ext>
            </a:extLst>
          </p:cNvPr>
          <p:cNvSpPr>
            <a:spLocks noGrp="1"/>
          </p:cNvSpPr>
          <p:nvPr>
            <p:ph type="ftr" sz="quarter" idx="50"/>
          </p:nvPr>
        </p:nvSpPr>
        <p:spPr>
          <a:xfrm>
            <a:off x="6424571" y="6479554"/>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14" name="TextBox 13">
            <a:extLst>
              <a:ext uri="{FF2B5EF4-FFF2-40B4-BE49-F238E27FC236}">
                <a16:creationId xmlns:a16="http://schemas.microsoft.com/office/drawing/2014/main" id="{6C8D508D-FAFA-47C8-B6DB-E866B74E244E}"/>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17" name="Graphic 16">
            <a:extLst>
              <a:ext uri="{FF2B5EF4-FFF2-40B4-BE49-F238E27FC236}">
                <a16:creationId xmlns:a16="http://schemas.microsoft.com/office/drawing/2014/main" id="{CD827643-356B-422B-A126-36554CCC1E3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52132200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F31FE20C-F951-42FE-B20F-31B0A7A3C60B}"/>
              </a:ext>
            </a:extLst>
          </p:cNvPr>
          <p:cNvSpPr>
            <a:spLocks noGrp="1"/>
          </p:cNvSpPr>
          <p:nvPr>
            <p:ph sz="quarter" idx="25" hasCustomPrompt="1"/>
          </p:nvPr>
        </p:nvSpPr>
        <p:spPr>
          <a:xfrm>
            <a:off x="6026976" y="2563255"/>
            <a:ext cx="5076000" cy="3230565"/>
          </a:xfrm>
          <a:ln>
            <a:solidFill>
              <a:schemeClr val="bg1">
                <a:alpha val="0"/>
              </a:schemeClr>
            </a:solidFill>
          </a:ln>
        </p:spPr>
        <p:txBody>
          <a:bodyPr/>
          <a:lstStyle>
            <a:lvl1pPr>
              <a:defRPr/>
            </a:lvl1pPr>
          </a:lstStyle>
          <a:p>
            <a:pPr lvl="0"/>
            <a:r>
              <a:rPr lang="en-US" dirty="0"/>
              <a:t>Bullet level 1</a:t>
            </a:r>
          </a:p>
          <a:p>
            <a:pPr lvl="1"/>
            <a:r>
              <a:rPr lang="en-US" dirty="0"/>
              <a:t>Second level</a:t>
            </a:r>
          </a:p>
          <a:p>
            <a:pPr lvl="2"/>
            <a:r>
              <a:rPr lang="en-US" dirty="0"/>
              <a:t>Third level</a:t>
            </a:r>
          </a:p>
        </p:txBody>
      </p:sp>
      <p:sp>
        <p:nvSpPr>
          <p:cNvPr id="5" name="Content Placeholder 4">
            <a:extLst>
              <a:ext uri="{FF2B5EF4-FFF2-40B4-BE49-F238E27FC236}">
                <a16:creationId xmlns:a16="http://schemas.microsoft.com/office/drawing/2014/main" id="{31DA794C-3A00-428D-BAF1-66A8B08C89F1}"/>
              </a:ext>
            </a:extLst>
          </p:cNvPr>
          <p:cNvSpPr>
            <a:spLocks noGrp="1"/>
          </p:cNvSpPr>
          <p:nvPr>
            <p:ph sz="quarter" idx="24" hasCustomPrompt="1"/>
          </p:nvPr>
        </p:nvSpPr>
        <p:spPr>
          <a:xfrm>
            <a:off x="587376" y="2563255"/>
            <a:ext cx="5076000" cy="3230563"/>
          </a:xfrm>
          <a:prstGeom prst="callout1">
            <a:avLst>
              <a:gd name="adj1" fmla="val 1334"/>
              <a:gd name="adj2" fmla="val 103476"/>
              <a:gd name="adj3" fmla="val 92424"/>
              <a:gd name="adj4" fmla="val 103637"/>
            </a:avLst>
          </a:prstGeom>
          <a:ln>
            <a:solidFill>
              <a:srgbClr val="BCBEC0"/>
            </a:solidFill>
          </a:ln>
        </p:spPr>
        <p:txBody>
          <a:bodyPr/>
          <a:lstStyle>
            <a:lvl1pPr>
              <a:defRPr/>
            </a:lvl1pPr>
          </a:lstStyle>
          <a:p>
            <a:pPr lvl="0"/>
            <a:r>
              <a:rPr lang="en-US" dirty="0"/>
              <a:t>Bullet level 1</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7" cy="548640"/>
          </a:xfrm>
        </p:spPr>
        <p:txBody>
          <a:bodyPr/>
          <a:lstStyle>
            <a:lvl1pPr>
              <a:defRPr/>
            </a:lvl1pPr>
          </a:lstStyle>
          <a:p>
            <a:r>
              <a:rPr lang="en-US" dirty="0"/>
              <a:t>H1 placeholder.</a:t>
            </a:r>
            <a:endParaRPr lang="en-GB" dirty="0"/>
          </a:p>
        </p:txBody>
      </p:sp>
      <p:sp>
        <p:nvSpPr>
          <p:cNvPr id="22" name="Text Placeholder 21">
            <a:extLst>
              <a:ext uri="{FF2B5EF4-FFF2-40B4-BE49-F238E27FC236}">
                <a16:creationId xmlns:a16="http://schemas.microsoft.com/office/drawing/2014/main" id="{BA37F87F-3225-4F3D-8EEF-A966FB2E3CF3}"/>
              </a:ext>
            </a:extLst>
          </p:cNvPr>
          <p:cNvSpPr>
            <a:spLocks noGrp="1"/>
          </p:cNvSpPr>
          <p:nvPr>
            <p:ph type="body" sz="quarter" idx="19" hasCustomPrompt="1"/>
          </p:nvPr>
        </p:nvSpPr>
        <p:spPr>
          <a:xfrm>
            <a:off x="587375" y="1426464"/>
            <a:ext cx="10980738" cy="1048904"/>
          </a:xfrm>
        </p:spPr>
        <p:txBody>
          <a:bodyPr/>
          <a:lstStyle>
            <a:lvl1pPr marL="0" indent="0">
              <a:buFont typeface="Arial" panose="020B0604020202020204" pitchFamily="34" charset="0"/>
              <a:buChar char="​"/>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13" name="Slide Number Placeholder 12">
            <a:extLst>
              <a:ext uri="{FF2B5EF4-FFF2-40B4-BE49-F238E27FC236}">
                <a16:creationId xmlns:a16="http://schemas.microsoft.com/office/drawing/2014/main" id="{DFB6B433-B084-448E-849D-4CB7BAF00421}"/>
              </a:ext>
            </a:extLst>
          </p:cNvPr>
          <p:cNvSpPr>
            <a:spLocks noGrp="1"/>
          </p:cNvSpPr>
          <p:nvPr>
            <p:ph type="sldNum" sz="quarter" idx="23"/>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9" name="Footer Placeholder 11">
            <a:extLst>
              <a:ext uri="{FF2B5EF4-FFF2-40B4-BE49-F238E27FC236}">
                <a16:creationId xmlns:a16="http://schemas.microsoft.com/office/drawing/2014/main" id="{FC9121A0-4414-4224-B62B-0D0283CAE8C8}"/>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1931175510"/>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1" name="Content Placeholder 4">
            <a:extLst>
              <a:ext uri="{FF2B5EF4-FFF2-40B4-BE49-F238E27FC236}">
                <a16:creationId xmlns:a16="http://schemas.microsoft.com/office/drawing/2014/main" id="{5F3D312F-6E3D-402F-8F59-66C2EAD7C3D1}"/>
              </a:ext>
            </a:extLst>
          </p:cNvPr>
          <p:cNvSpPr>
            <a:spLocks noGrp="1"/>
          </p:cNvSpPr>
          <p:nvPr>
            <p:ph sz="quarter" idx="25" hasCustomPrompt="1"/>
          </p:nvPr>
        </p:nvSpPr>
        <p:spPr>
          <a:xfrm>
            <a:off x="587376" y="2566566"/>
            <a:ext cx="3265199" cy="3230563"/>
          </a:xfrm>
          <a:prstGeom prst="callout1">
            <a:avLst>
              <a:gd name="adj1" fmla="val 1177"/>
              <a:gd name="adj2" fmla="val 105343"/>
              <a:gd name="adj3" fmla="val 92424"/>
              <a:gd name="adj4" fmla="val 105504"/>
            </a:avLst>
          </a:prstGeom>
          <a:ln>
            <a:solidFill>
              <a:srgbClr val="BCBEC0"/>
            </a:solidFill>
          </a:ln>
        </p:spPr>
        <p:txBody>
          <a:bodyPr/>
          <a:lstStyle>
            <a:lvl1pPr>
              <a:defRPr/>
            </a:lvl1pPr>
          </a:lstStyle>
          <a:p>
            <a:pPr lvl="0"/>
            <a:r>
              <a:rPr lang="en-US" dirty="0"/>
              <a:t>Bullet level 1</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4" y="393192"/>
            <a:ext cx="10980738" cy="548640"/>
          </a:xfrm>
        </p:spPr>
        <p:txBody>
          <a:bodyPr/>
          <a:lstStyle>
            <a:lvl1pPr>
              <a:defRPr/>
            </a:lvl1pPr>
          </a:lstStyle>
          <a:p>
            <a:r>
              <a:rPr lang="en-US" dirty="0"/>
              <a:t>H1 placeholder.</a:t>
            </a:r>
            <a:endParaRPr lang="en-GB" dirty="0"/>
          </a:p>
        </p:txBody>
      </p:sp>
      <p:sp>
        <p:nvSpPr>
          <p:cNvPr id="8" name="Slide Number Placeholder 7">
            <a:extLst>
              <a:ext uri="{FF2B5EF4-FFF2-40B4-BE49-F238E27FC236}">
                <a16:creationId xmlns:a16="http://schemas.microsoft.com/office/drawing/2014/main" id="{F5A2ACF6-C941-4438-B2FE-A44DCF5AC841}"/>
              </a:ext>
            </a:extLst>
          </p:cNvPr>
          <p:cNvSpPr>
            <a:spLocks noGrp="1"/>
          </p:cNvSpPr>
          <p:nvPr>
            <p:ph type="sldNum" sz="quarter" idx="24"/>
          </p:nvPr>
        </p:nvSpPr>
        <p:spPr/>
        <p:txBody>
          <a:bodyPr/>
          <a:lstStyle/>
          <a:p>
            <a:fld id="{2604F1CA-F590-4AD7-82C4-33C5478F726E}" type="slidenum">
              <a:rPr lang="en-GB" smtClean="0"/>
              <a:pPr/>
              <a:t>‹#›</a:t>
            </a:fld>
            <a:endParaRPr lang="en-GB" dirty="0"/>
          </a:p>
        </p:txBody>
      </p:sp>
      <p:sp>
        <p:nvSpPr>
          <p:cNvPr id="12" name="Content Placeholder 4">
            <a:extLst>
              <a:ext uri="{FF2B5EF4-FFF2-40B4-BE49-F238E27FC236}">
                <a16:creationId xmlns:a16="http://schemas.microsoft.com/office/drawing/2014/main" id="{88851574-5479-448D-9951-817359D0C185}"/>
              </a:ext>
            </a:extLst>
          </p:cNvPr>
          <p:cNvSpPr>
            <a:spLocks noGrp="1"/>
          </p:cNvSpPr>
          <p:nvPr>
            <p:ph sz="quarter" idx="26" hasCustomPrompt="1"/>
          </p:nvPr>
        </p:nvSpPr>
        <p:spPr>
          <a:xfrm>
            <a:off x="4212576" y="2566566"/>
            <a:ext cx="3265199" cy="3230563"/>
          </a:xfrm>
          <a:prstGeom prst="callout1">
            <a:avLst>
              <a:gd name="adj1" fmla="val 1177"/>
              <a:gd name="adj2" fmla="val 105343"/>
              <a:gd name="adj3" fmla="val 92424"/>
              <a:gd name="adj4" fmla="val 105504"/>
            </a:avLst>
          </a:prstGeom>
          <a:ln>
            <a:solidFill>
              <a:srgbClr val="BCBEC0"/>
            </a:solidFill>
          </a:ln>
        </p:spPr>
        <p:txBody>
          <a:bodyPr/>
          <a:lstStyle>
            <a:lvl1pPr>
              <a:defRPr/>
            </a:lvl1pPr>
          </a:lstStyle>
          <a:p>
            <a:pPr lvl="0"/>
            <a:r>
              <a:rPr lang="en-US" dirty="0"/>
              <a:t>Bullet level 1</a:t>
            </a:r>
          </a:p>
          <a:p>
            <a:pPr lvl="1"/>
            <a:r>
              <a:rPr lang="en-US" dirty="0"/>
              <a:t>Second level</a:t>
            </a:r>
          </a:p>
          <a:p>
            <a:pPr lvl="2"/>
            <a:r>
              <a:rPr lang="en-US" dirty="0"/>
              <a:t>Third level</a:t>
            </a:r>
          </a:p>
        </p:txBody>
      </p:sp>
      <p:sp>
        <p:nvSpPr>
          <p:cNvPr id="13" name="Content Placeholder 7">
            <a:extLst>
              <a:ext uri="{FF2B5EF4-FFF2-40B4-BE49-F238E27FC236}">
                <a16:creationId xmlns:a16="http://schemas.microsoft.com/office/drawing/2014/main" id="{E8BB1B25-D0FF-4E33-9A6B-C2A32F5D633D}"/>
              </a:ext>
            </a:extLst>
          </p:cNvPr>
          <p:cNvSpPr>
            <a:spLocks noGrp="1"/>
          </p:cNvSpPr>
          <p:nvPr>
            <p:ph sz="quarter" idx="27" hasCustomPrompt="1"/>
          </p:nvPr>
        </p:nvSpPr>
        <p:spPr>
          <a:xfrm>
            <a:off x="7837774" y="2566566"/>
            <a:ext cx="3265201" cy="3230565"/>
          </a:xfrm>
          <a:ln>
            <a:solidFill>
              <a:schemeClr val="bg1">
                <a:alpha val="0"/>
              </a:schemeClr>
            </a:solidFill>
          </a:ln>
        </p:spPr>
        <p:txBody>
          <a:bodyPr/>
          <a:lstStyle/>
          <a:p>
            <a:pPr lvl="0"/>
            <a:r>
              <a:rPr lang="en-US" dirty="0"/>
              <a:t>Bullet level 1</a:t>
            </a:r>
          </a:p>
          <a:p>
            <a:pPr lvl="1"/>
            <a:r>
              <a:rPr lang="en-US" dirty="0"/>
              <a:t>Second level</a:t>
            </a:r>
          </a:p>
          <a:p>
            <a:pPr lvl="2"/>
            <a:r>
              <a:rPr lang="en-US" dirty="0"/>
              <a:t>Third level</a:t>
            </a:r>
          </a:p>
        </p:txBody>
      </p:sp>
      <p:sp>
        <p:nvSpPr>
          <p:cNvPr id="9" name="Text Placeholder 21">
            <a:extLst>
              <a:ext uri="{FF2B5EF4-FFF2-40B4-BE49-F238E27FC236}">
                <a16:creationId xmlns:a16="http://schemas.microsoft.com/office/drawing/2014/main" id="{D334D84A-187E-426E-9265-C588336B624D}"/>
              </a:ext>
            </a:extLst>
          </p:cNvPr>
          <p:cNvSpPr>
            <a:spLocks noGrp="1"/>
          </p:cNvSpPr>
          <p:nvPr>
            <p:ph type="body" sz="quarter" idx="19" hasCustomPrompt="1"/>
          </p:nvPr>
        </p:nvSpPr>
        <p:spPr>
          <a:xfrm>
            <a:off x="587375" y="1426464"/>
            <a:ext cx="10980738" cy="1048904"/>
          </a:xfrm>
        </p:spPr>
        <p:txBody>
          <a:bodyPr/>
          <a:lstStyle>
            <a:lvl1pPr marL="0" indent="0">
              <a:buFont typeface="Arial" panose="020B0604020202020204" pitchFamily="34" charset="0"/>
              <a:buChar char="​"/>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10" name="Footer Placeholder 11">
            <a:extLst>
              <a:ext uri="{FF2B5EF4-FFF2-40B4-BE49-F238E27FC236}">
                <a16:creationId xmlns:a16="http://schemas.microsoft.com/office/drawing/2014/main" id="{0E50DA58-5E24-4A8C-8C96-4D21C26957FB}"/>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107279652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ard White">
    <p:spTree>
      <p:nvGrpSpPr>
        <p:cNvPr id="1" name=""/>
        <p:cNvGrpSpPr/>
        <p:nvPr/>
      </p:nvGrpSpPr>
      <p:grpSpPr>
        <a:xfrm>
          <a:off x="0" y="0"/>
          <a:ext cx="0" cy="0"/>
          <a:chOff x="0" y="0"/>
          <a:chExt cx="0" cy="0"/>
        </a:xfrm>
      </p:grpSpPr>
      <p:sp>
        <p:nvSpPr>
          <p:cNvPr id="22" name="Freeform: Shape 21">
            <a:extLst>
              <a:ext uri="{FF2B5EF4-FFF2-40B4-BE49-F238E27FC236}">
                <a16:creationId xmlns:a16="http://schemas.microsoft.com/office/drawing/2014/main" id="{0002D17C-DD3C-4038-BB82-1F2B0CC889DB}"/>
              </a:ext>
            </a:extLst>
          </p:cNvPr>
          <p:cNvSpPr>
            <a:spLocks noChangeAspect="1"/>
          </p:cNvSpPr>
          <p:nvPr userDrawn="1"/>
        </p:nvSpPr>
        <p:spPr>
          <a:xfrm>
            <a:off x="10475976" y="1431636"/>
            <a:ext cx="1716024" cy="1784788"/>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6E7E8"/>
          </a:solidFill>
          <a:ln w="9525" cap="flat">
            <a:noFill/>
            <a:prstDash val="solid"/>
            <a:miter/>
          </a:ln>
        </p:spPr>
        <p:txBody>
          <a:bodyPr rtlCol="0" anchor="ctr"/>
          <a:lstStyle/>
          <a:p>
            <a:endParaRPr lang="en-GB" dirty="0"/>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a:lstStyle>
            <a:lvl1pPr>
              <a:defRPr/>
            </a:lvl1pPr>
          </a:lstStyle>
          <a:p>
            <a:r>
              <a:rPr lang="en-US" dirty="0"/>
              <a:t>H1 placeholder.</a:t>
            </a:r>
            <a:endParaRPr lang="en-GB" dirty="0"/>
          </a:p>
        </p:txBody>
      </p:sp>
      <p:sp>
        <p:nvSpPr>
          <p:cNvPr id="43" name="Text Placeholder 21">
            <a:extLst>
              <a:ext uri="{FF2B5EF4-FFF2-40B4-BE49-F238E27FC236}">
                <a16:creationId xmlns:a16="http://schemas.microsoft.com/office/drawing/2014/main" id="{ACB8E1AD-74D6-41E0-9593-C5AB78B4D685}"/>
              </a:ext>
            </a:extLst>
          </p:cNvPr>
          <p:cNvSpPr>
            <a:spLocks noGrp="1"/>
          </p:cNvSpPr>
          <p:nvPr>
            <p:ph type="body" sz="quarter" idx="37" hasCustomPrompt="1"/>
          </p:nvPr>
        </p:nvSpPr>
        <p:spPr>
          <a:xfrm>
            <a:off x="587373" y="1428331"/>
            <a:ext cx="9884664" cy="1048904"/>
          </a:xfrm>
        </p:spPr>
        <p:txBody>
          <a:bodyPr/>
          <a:lstStyle>
            <a:lvl1pPr marL="0" indent="0">
              <a:buFont typeface="Arial" panose="020B0604020202020204" pitchFamily="34" charset="0"/>
              <a:buChar char="​"/>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49" name="Text Placeholder 48">
            <a:extLst>
              <a:ext uri="{FF2B5EF4-FFF2-40B4-BE49-F238E27FC236}">
                <a16:creationId xmlns:a16="http://schemas.microsoft.com/office/drawing/2014/main" id="{38D42FC1-48A7-440B-A60B-CC8BC5DAD63C}"/>
              </a:ext>
            </a:extLst>
          </p:cNvPr>
          <p:cNvSpPr>
            <a:spLocks noGrp="1"/>
          </p:cNvSpPr>
          <p:nvPr>
            <p:ph type="body" sz="quarter" idx="41" hasCustomPrompt="1"/>
          </p:nvPr>
        </p:nvSpPr>
        <p:spPr>
          <a:xfrm>
            <a:off x="587375" y="2566567"/>
            <a:ext cx="3265200"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51" name="Text Placeholder 50">
            <a:extLst>
              <a:ext uri="{FF2B5EF4-FFF2-40B4-BE49-F238E27FC236}">
                <a16:creationId xmlns:a16="http://schemas.microsoft.com/office/drawing/2014/main" id="{21EE711F-311B-4FFB-8D1F-E77F5C8C2335}"/>
              </a:ext>
            </a:extLst>
          </p:cNvPr>
          <p:cNvSpPr>
            <a:spLocks noGrp="1"/>
          </p:cNvSpPr>
          <p:nvPr>
            <p:ph type="body" sz="quarter" idx="42" hasCustomPrompt="1"/>
          </p:nvPr>
        </p:nvSpPr>
        <p:spPr>
          <a:xfrm>
            <a:off x="811937"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a:t>
            </a:r>
          </a:p>
        </p:txBody>
      </p:sp>
      <p:sp>
        <p:nvSpPr>
          <p:cNvPr id="53" name="Text Placeholder 52">
            <a:extLst>
              <a:ext uri="{FF2B5EF4-FFF2-40B4-BE49-F238E27FC236}">
                <a16:creationId xmlns:a16="http://schemas.microsoft.com/office/drawing/2014/main" id="{DC210952-1873-45D2-89BE-8CE6018EC0E9}"/>
              </a:ext>
            </a:extLst>
          </p:cNvPr>
          <p:cNvSpPr>
            <a:spLocks noGrp="1"/>
          </p:cNvSpPr>
          <p:nvPr>
            <p:ph type="body" sz="quarter" idx="43" hasCustomPrompt="1"/>
          </p:nvPr>
        </p:nvSpPr>
        <p:spPr>
          <a:xfrm>
            <a:off x="811936" y="3267449"/>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55" name="Text Placeholder 54">
            <a:extLst>
              <a:ext uri="{FF2B5EF4-FFF2-40B4-BE49-F238E27FC236}">
                <a16:creationId xmlns:a16="http://schemas.microsoft.com/office/drawing/2014/main" id="{035A4166-3D94-4BA9-A745-57CF683E2853}"/>
              </a:ext>
            </a:extLst>
          </p:cNvPr>
          <p:cNvSpPr>
            <a:spLocks noGrp="1"/>
          </p:cNvSpPr>
          <p:nvPr>
            <p:ph type="body" sz="quarter" idx="44" hasCustomPrompt="1"/>
          </p:nvPr>
        </p:nvSpPr>
        <p:spPr>
          <a:xfrm>
            <a:off x="811936" y="3758058"/>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56" name="Text Placeholder 48">
            <a:extLst>
              <a:ext uri="{FF2B5EF4-FFF2-40B4-BE49-F238E27FC236}">
                <a16:creationId xmlns:a16="http://schemas.microsoft.com/office/drawing/2014/main" id="{E075DFB1-5169-4DF9-9DC4-0B200DC3A3AC}"/>
              </a:ext>
            </a:extLst>
          </p:cNvPr>
          <p:cNvSpPr>
            <a:spLocks noGrp="1"/>
          </p:cNvSpPr>
          <p:nvPr>
            <p:ph type="body" sz="quarter" idx="45" hasCustomPrompt="1"/>
          </p:nvPr>
        </p:nvSpPr>
        <p:spPr>
          <a:xfrm>
            <a:off x="8302913" y="2566567"/>
            <a:ext cx="3265200"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57" name="Text Placeholder 50">
            <a:extLst>
              <a:ext uri="{FF2B5EF4-FFF2-40B4-BE49-F238E27FC236}">
                <a16:creationId xmlns:a16="http://schemas.microsoft.com/office/drawing/2014/main" id="{88ABAEB2-61E1-4803-A753-0F0FA8A3FD35}"/>
              </a:ext>
            </a:extLst>
          </p:cNvPr>
          <p:cNvSpPr>
            <a:spLocks noGrp="1"/>
          </p:cNvSpPr>
          <p:nvPr>
            <p:ph type="body" sz="quarter" idx="46" hasCustomPrompt="1"/>
          </p:nvPr>
        </p:nvSpPr>
        <p:spPr>
          <a:xfrm>
            <a:off x="8527475"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58" name="Text Placeholder 52">
            <a:extLst>
              <a:ext uri="{FF2B5EF4-FFF2-40B4-BE49-F238E27FC236}">
                <a16:creationId xmlns:a16="http://schemas.microsoft.com/office/drawing/2014/main" id="{1FDCD96D-EAC0-4F8D-A71D-C917CA43DF56}"/>
              </a:ext>
            </a:extLst>
          </p:cNvPr>
          <p:cNvSpPr>
            <a:spLocks noGrp="1"/>
          </p:cNvSpPr>
          <p:nvPr>
            <p:ph type="body" sz="quarter" idx="47" hasCustomPrompt="1"/>
          </p:nvPr>
        </p:nvSpPr>
        <p:spPr>
          <a:xfrm>
            <a:off x="8527474" y="3267449"/>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59" name="Text Placeholder 54">
            <a:extLst>
              <a:ext uri="{FF2B5EF4-FFF2-40B4-BE49-F238E27FC236}">
                <a16:creationId xmlns:a16="http://schemas.microsoft.com/office/drawing/2014/main" id="{808AF575-F955-4BEC-8EEE-B1AEA8853DD7}"/>
              </a:ext>
            </a:extLst>
          </p:cNvPr>
          <p:cNvSpPr>
            <a:spLocks noGrp="1"/>
          </p:cNvSpPr>
          <p:nvPr>
            <p:ph type="body" sz="quarter" idx="48" hasCustomPrompt="1"/>
          </p:nvPr>
        </p:nvSpPr>
        <p:spPr>
          <a:xfrm>
            <a:off x="8527474" y="3758058"/>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60" name="Text Placeholder 48">
            <a:extLst>
              <a:ext uri="{FF2B5EF4-FFF2-40B4-BE49-F238E27FC236}">
                <a16:creationId xmlns:a16="http://schemas.microsoft.com/office/drawing/2014/main" id="{780D5F73-D920-4B37-A30B-8B0C01CA9055}"/>
              </a:ext>
            </a:extLst>
          </p:cNvPr>
          <p:cNvSpPr>
            <a:spLocks noGrp="1"/>
          </p:cNvSpPr>
          <p:nvPr>
            <p:ph type="body" sz="quarter" idx="49" hasCustomPrompt="1"/>
          </p:nvPr>
        </p:nvSpPr>
        <p:spPr>
          <a:xfrm>
            <a:off x="4445144" y="2566567"/>
            <a:ext cx="3265200"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61" name="Text Placeholder 50">
            <a:extLst>
              <a:ext uri="{FF2B5EF4-FFF2-40B4-BE49-F238E27FC236}">
                <a16:creationId xmlns:a16="http://schemas.microsoft.com/office/drawing/2014/main" id="{BADB5382-4E6D-4067-985B-51AC6D61FD08}"/>
              </a:ext>
            </a:extLst>
          </p:cNvPr>
          <p:cNvSpPr>
            <a:spLocks noGrp="1"/>
          </p:cNvSpPr>
          <p:nvPr>
            <p:ph type="body" sz="quarter" idx="50" hasCustomPrompt="1"/>
          </p:nvPr>
        </p:nvSpPr>
        <p:spPr>
          <a:xfrm>
            <a:off x="4660033"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62" name="Text Placeholder 52">
            <a:extLst>
              <a:ext uri="{FF2B5EF4-FFF2-40B4-BE49-F238E27FC236}">
                <a16:creationId xmlns:a16="http://schemas.microsoft.com/office/drawing/2014/main" id="{1BA023CA-4DEF-49AB-8B13-9C35C66A01B3}"/>
              </a:ext>
            </a:extLst>
          </p:cNvPr>
          <p:cNvSpPr>
            <a:spLocks noGrp="1"/>
          </p:cNvSpPr>
          <p:nvPr>
            <p:ph type="body" sz="quarter" idx="51" hasCustomPrompt="1"/>
          </p:nvPr>
        </p:nvSpPr>
        <p:spPr>
          <a:xfrm>
            <a:off x="4660033" y="3267449"/>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63" name="Text Placeholder 54">
            <a:extLst>
              <a:ext uri="{FF2B5EF4-FFF2-40B4-BE49-F238E27FC236}">
                <a16:creationId xmlns:a16="http://schemas.microsoft.com/office/drawing/2014/main" id="{AB8B4903-A88A-4965-8183-092A3E9D8A8E}"/>
              </a:ext>
            </a:extLst>
          </p:cNvPr>
          <p:cNvSpPr>
            <a:spLocks noGrp="1"/>
          </p:cNvSpPr>
          <p:nvPr>
            <p:ph type="body" sz="quarter" idx="52" hasCustomPrompt="1"/>
          </p:nvPr>
        </p:nvSpPr>
        <p:spPr>
          <a:xfrm>
            <a:off x="4660033" y="3758058"/>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6" name="Slide Number Placeholder 5">
            <a:extLst>
              <a:ext uri="{FF2B5EF4-FFF2-40B4-BE49-F238E27FC236}">
                <a16:creationId xmlns:a16="http://schemas.microsoft.com/office/drawing/2014/main" id="{4DF1EADD-7418-4309-B6AD-843B51171A72}"/>
              </a:ext>
            </a:extLst>
          </p:cNvPr>
          <p:cNvSpPr>
            <a:spLocks noGrp="1"/>
          </p:cNvSpPr>
          <p:nvPr>
            <p:ph type="sldNum" sz="quarter" idx="55"/>
          </p:nvPr>
        </p:nvSpPr>
        <p:spPr/>
        <p:txBody>
          <a:bodyPr/>
          <a:lstStyle/>
          <a:p>
            <a:fld id="{2604F1CA-F590-4AD7-82C4-33C5478F726E}" type="slidenum">
              <a:rPr lang="en-GB" smtClean="0"/>
              <a:pPr/>
              <a:t>‹#›</a:t>
            </a:fld>
            <a:endParaRPr lang="en-GB" dirty="0"/>
          </a:p>
        </p:txBody>
      </p:sp>
      <p:sp>
        <p:nvSpPr>
          <p:cNvPr id="19" name="Footer Placeholder 11">
            <a:extLst>
              <a:ext uri="{FF2B5EF4-FFF2-40B4-BE49-F238E27FC236}">
                <a16:creationId xmlns:a16="http://schemas.microsoft.com/office/drawing/2014/main" id="{CE1EA49B-9788-45DF-AB5D-A9D4821F6088}"/>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2357985815"/>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ard White With Icon Placeholder">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B8882182-E9AF-4F43-8965-F8083F60F3CE}"/>
              </a:ext>
            </a:extLst>
          </p:cNvPr>
          <p:cNvSpPr>
            <a:spLocks noChangeAspect="1"/>
          </p:cNvSpPr>
          <p:nvPr userDrawn="1"/>
        </p:nvSpPr>
        <p:spPr>
          <a:xfrm>
            <a:off x="10475976" y="1431636"/>
            <a:ext cx="1716024" cy="1784788"/>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6E7E8"/>
          </a:solidFill>
          <a:ln w="9525" cap="flat">
            <a:noFill/>
            <a:prstDash val="solid"/>
            <a:miter/>
          </a:ln>
        </p:spPr>
        <p:txBody>
          <a:bodyPr rtlCol="0" anchor="ctr"/>
          <a:lstStyle/>
          <a:p>
            <a:endParaRPr lang="en-GB" dirty="0"/>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a:lstStyle>
            <a:lvl1pPr>
              <a:defRPr/>
            </a:lvl1pPr>
          </a:lstStyle>
          <a:p>
            <a:r>
              <a:rPr lang="en-US" dirty="0"/>
              <a:t>H1 placeholder.</a:t>
            </a:r>
            <a:endParaRPr lang="en-GB" dirty="0"/>
          </a:p>
        </p:txBody>
      </p:sp>
      <p:sp>
        <p:nvSpPr>
          <p:cNvPr id="43" name="Text Placeholder 21">
            <a:extLst>
              <a:ext uri="{FF2B5EF4-FFF2-40B4-BE49-F238E27FC236}">
                <a16:creationId xmlns:a16="http://schemas.microsoft.com/office/drawing/2014/main" id="{ACB8E1AD-74D6-41E0-9593-C5AB78B4D685}"/>
              </a:ext>
            </a:extLst>
          </p:cNvPr>
          <p:cNvSpPr>
            <a:spLocks noGrp="1"/>
          </p:cNvSpPr>
          <p:nvPr>
            <p:ph type="body" sz="quarter" idx="37" hasCustomPrompt="1"/>
          </p:nvPr>
        </p:nvSpPr>
        <p:spPr>
          <a:xfrm>
            <a:off x="587373" y="1428336"/>
            <a:ext cx="9884664" cy="1048904"/>
          </a:xfrm>
        </p:spPr>
        <p:txBody>
          <a:bodyPr/>
          <a:lstStyle>
            <a:lvl1pPr marL="0" indent="0">
              <a:buFont typeface="Arial" panose="020B0604020202020204" pitchFamily="34" charset="0"/>
              <a:buChar char="​"/>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49" name="Text Placeholder 48">
            <a:extLst>
              <a:ext uri="{FF2B5EF4-FFF2-40B4-BE49-F238E27FC236}">
                <a16:creationId xmlns:a16="http://schemas.microsoft.com/office/drawing/2014/main" id="{38D42FC1-48A7-440B-A60B-CC8BC5DAD63C}"/>
              </a:ext>
            </a:extLst>
          </p:cNvPr>
          <p:cNvSpPr>
            <a:spLocks noGrp="1"/>
          </p:cNvSpPr>
          <p:nvPr>
            <p:ph type="body" sz="quarter" idx="41" hasCustomPrompt="1"/>
          </p:nvPr>
        </p:nvSpPr>
        <p:spPr>
          <a:xfrm>
            <a:off x="587375" y="2566572"/>
            <a:ext cx="3265200"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53" name="Text Placeholder 52">
            <a:extLst>
              <a:ext uri="{FF2B5EF4-FFF2-40B4-BE49-F238E27FC236}">
                <a16:creationId xmlns:a16="http://schemas.microsoft.com/office/drawing/2014/main" id="{DC210952-1873-45D2-89BE-8CE6018EC0E9}"/>
              </a:ext>
            </a:extLst>
          </p:cNvPr>
          <p:cNvSpPr>
            <a:spLocks noGrp="1"/>
          </p:cNvSpPr>
          <p:nvPr>
            <p:ph type="body" sz="quarter" idx="43" hasCustomPrompt="1"/>
          </p:nvPr>
        </p:nvSpPr>
        <p:spPr>
          <a:xfrm>
            <a:off x="811936" y="3267454"/>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55" name="Text Placeholder 54">
            <a:extLst>
              <a:ext uri="{FF2B5EF4-FFF2-40B4-BE49-F238E27FC236}">
                <a16:creationId xmlns:a16="http://schemas.microsoft.com/office/drawing/2014/main" id="{035A4166-3D94-4BA9-A745-57CF683E2853}"/>
              </a:ext>
            </a:extLst>
          </p:cNvPr>
          <p:cNvSpPr>
            <a:spLocks noGrp="1"/>
          </p:cNvSpPr>
          <p:nvPr>
            <p:ph type="body" sz="quarter" idx="44" hasCustomPrompt="1"/>
          </p:nvPr>
        </p:nvSpPr>
        <p:spPr>
          <a:xfrm>
            <a:off x="811936" y="3758063"/>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56" name="Text Placeholder 48">
            <a:extLst>
              <a:ext uri="{FF2B5EF4-FFF2-40B4-BE49-F238E27FC236}">
                <a16:creationId xmlns:a16="http://schemas.microsoft.com/office/drawing/2014/main" id="{E075DFB1-5169-4DF9-9DC4-0B200DC3A3AC}"/>
              </a:ext>
            </a:extLst>
          </p:cNvPr>
          <p:cNvSpPr>
            <a:spLocks noGrp="1"/>
          </p:cNvSpPr>
          <p:nvPr>
            <p:ph type="body" sz="quarter" idx="45" hasCustomPrompt="1"/>
          </p:nvPr>
        </p:nvSpPr>
        <p:spPr>
          <a:xfrm>
            <a:off x="8302913" y="2566572"/>
            <a:ext cx="3265200"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58" name="Text Placeholder 52">
            <a:extLst>
              <a:ext uri="{FF2B5EF4-FFF2-40B4-BE49-F238E27FC236}">
                <a16:creationId xmlns:a16="http://schemas.microsoft.com/office/drawing/2014/main" id="{1FDCD96D-EAC0-4F8D-A71D-C917CA43DF56}"/>
              </a:ext>
            </a:extLst>
          </p:cNvPr>
          <p:cNvSpPr>
            <a:spLocks noGrp="1"/>
          </p:cNvSpPr>
          <p:nvPr>
            <p:ph type="body" sz="quarter" idx="47" hasCustomPrompt="1"/>
          </p:nvPr>
        </p:nvSpPr>
        <p:spPr>
          <a:xfrm>
            <a:off x="8527474" y="3267454"/>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59" name="Text Placeholder 54">
            <a:extLst>
              <a:ext uri="{FF2B5EF4-FFF2-40B4-BE49-F238E27FC236}">
                <a16:creationId xmlns:a16="http://schemas.microsoft.com/office/drawing/2014/main" id="{808AF575-F955-4BEC-8EEE-B1AEA8853DD7}"/>
              </a:ext>
            </a:extLst>
          </p:cNvPr>
          <p:cNvSpPr>
            <a:spLocks noGrp="1"/>
          </p:cNvSpPr>
          <p:nvPr>
            <p:ph type="body" sz="quarter" idx="48" hasCustomPrompt="1"/>
          </p:nvPr>
        </p:nvSpPr>
        <p:spPr>
          <a:xfrm>
            <a:off x="8527474" y="3758063"/>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60" name="Text Placeholder 48">
            <a:extLst>
              <a:ext uri="{FF2B5EF4-FFF2-40B4-BE49-F238E27FC236}">
                <a16:creationId xmlns:a16="http://schemas.microsoft.com/office/drawing/2014/main" id="{780D5F73-D920-4B37-A30B-8B0C01CA9055}"/>
              </a:ext>
            </a:extLst>
          </p:cNvPr>
          <p:cNvSpPr>
            <a:spLocks noGrp="1"/>
          </p:cNvSpPr>
          <p:nvPr>
            <p:ph type="body" sz="quarter" idx="49" hasCustomPrompt="1"/>
          </p:nvPr>
        </p:nvSpPr>
        <p:spPr>
          <a:xfrm>
            <a:off x="4445144" y="2566572"/>
            <a:ext cx="3265200"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62" name="Text Placeholder 52">
            <a:extLst>
              <a:ext uri="{FF2B5EF4-FFF2-40B4-BE49-F238E27FC236}">
                <a16:creationId xmlns:a16="http://schemas.microsoft.com/office/drawing/2014/main" id="{1BA023CA-4DEF-49AB-8B13-9C35C66A01B3}"/>
              </a:ext>
            </a:extLst>
          </p:cNvPr>
          <p:cNvSpPr>
            <a:spLocks noGrp="1"/>
          </p:cNvSpPr>
          <p:nvPr>
            <p:ph type="body" sz="quarter" idx="51" hasCustomPrompt="1"/>
          </p:nvPr>
        </p:nvSpPr>
        <p:spPr>
          <a:xfrm>
            <a:off x="4660033" y="3267454"/>
            <a:ext cx="2835423" cy="472283"/>
          </a:xfrm>
        </p:spPr>
        <p:txBody>
          <a:bodyPr>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63" name="Text Placeholder 54">
            <a:extLst>
              <a:ext uri="{FF2B5EF4-FFF2-40B4-BE49-F238E27FC236}">
                <a16:creationId xmlns:a16="http://schemas.microsoft.com/office/drawing/2014/main" id="{AB8B4903-A88A-4965-8183-092A3E9D8A8E}"/>
              </a:ext>
            </a:extLst>
          </p:cNvPr>
          <p:cNvSpPr>
            <a:spLocks noGrp="1"/>
          </p:cNvSpPr>
          <p:nvPr>
            <p:ph type="body" sz="quarter" idx="52" hasCustomPrompt="1"/>
          </p:nvPr>
        </p:nvSpPr>
        <p:spPr>
          <a:xfrm>
            <a:off x="4660033" y="3758063"/>
            <a:ext cx="2835423" cy="1900379"/>
          </a:xfrm>
        </p:spPr>
        <p:txBody>
          <a:bodyPr>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6" name="Slide Number Placeholder 5">
            <a:extLst>
              <a:ext uri="{FF2B5EF4-FFF2-40B4-BE49-F238E27FC236}">
                <a16:creationId xmlns:a16="http://schemas.microsoft.com/office/drawing/2014/main" id="{4DF1EADD-7418-4309-B6AD-843B51171A72}"/>
              </a:ext>
            </a:extLst>
          </p:cNvPr>
          <p:cNvSpPr>
            <a:spLocks noGrp="1"/>
          </p:cNvSpPr>
          <p:nvPr>
            <p:ph type="sldNum" sz="quarter" idx="55"/>
          </p:nvPr>
        </p:nvSpPr>
        <p:spPr/>
        <p:txBody>
          <a:bodyPr/>
          <a:lstStyle/>
          <a:p>
            <a:fld id="{2604F1CA-F590-4AD7-82C4-33C5478F726E}" type="slidenum">
              <a:rPr lang="en-GB" smtClean="0"/>
              <a:pPr/>
              <a:t>‹#›</a:t>
            </a:fld>
            <a:endParaRPr lang="en-GB" dirty="0"/>
          </a:p>
        </p:txBody>
      </p:sp>
      <p:sp>
        <p:nvSpPr>
          <p:cNvPr id="24" name="Picture Placeholder 23">
            <a:extLst>
              <a:ext uri="{FF2B5EF4-FFF2-40B4-BE49-F238E27FC236}">
                <a16:creationId xmlns:a16="http://schemas.microsoft.com/office/drawing/2014/main" id="{8C2F5525-D119-4DF3-9DC2-C314969B924E}"/>
              </a:ext>
            </a:extLst>
          </p:cNvPr>
          <p:cNvSpPr>
            <a:spLocks noGrp="1"/>
          </p:cNvSpPr>
          <p:nvPr>
            <p:ph type="pic" sz="quarter" idx="66" hasCustomPrompt="1"/>
          </p:nvPr>
        </p:nvSpPr>
        <p:spPr>
          <a:xfrm>
            <a:off x="811936" y="2638919"/>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26" name="Picture Placeholder 25">
            <a:extLst>
              <a:ext uri="{FF2B5EF4-FFF2-40B4-BE49-F238E27FC236}">
                <a16:creationId xmlns:a16="http://schemas.microsoft.com/office/drawing/2014/main" id="{0BC3B9F2-A6D5-4B30-837F-BFC148DE735F}"/>
              </a:ext>
            </a:extLst>
          </p:cNvPr>
          <p:cNvSpPr>
            <a:spLocks noGrp="1"/>
          </p:cNvSpPr>
          <p:nvPr>
            <p:ph type="pic" sz="quarter" idx="67" hasCustomPrompt="1"/>
          </p:nvPr>
        </p:nvSpPr>
        <p:spPr>
          <a:xfrm>
            <a:off x="4660033" y="2638919"/>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27" name="Picture Placeholder 26">
            <a:extLst>
              <a:ext uri="{FF2B5EF4-FFF2-40B4-BE49-F238E27FC236}">
                <a16:creationId xmlns:a16="http://schemas.microsoft.com/office/drawing/2014/main" id="{593B02B3-F1AA-4512-A0BE-113E1ACEFB90}"/>
              </a:ext>
            </a:extLst>
          </p:cNvPr>
          <p:cNvSpPr>
            <a:spLocks noGrp="1"/>
          </p:cNvSpPr>
          <p:nvPr>
            <p:ph type="pic" sz="quarter" idx="68" hasCustomPrompt="1"/>
          </p:nvPr>
        </p:nvSpPr>
        <p:spPr>
          <a:xfrm>
            <a:off x="8517692" y="2638919"/>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28" name="Picture Placeholder 27">
            <a:extLst>
              <a:ext uri="{FF2B5EF4-FFF2-40B4-BE49-F238E27FC236}">
                <a16:creationId xmlns:a16="http://schemas.microsoft.com/office/drawing/2014/main" id="{10456BB5-7D70-48B3-9DA6-4DC9EAC4486A}"/>
              </a:ext>
            </a:extLst>
          </p:cNvPr>
          <p:cNvSpPr>
            <a:spLocks noGrp="1"/>
          </p:cNvSpPr>
          <p:nvPr>
            <p:ph type="pic" sz="quarter" idx="69" hasCustomPrompt="1"/>
          </p:nvPr>
        </p:nvSpPr>
        <p:spPr>
          <a:xfrm>
            <a:off x="8527474" y="2638919"/>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20" name="Footer Placeholder 11">
            <a:extLst>
              <a:ext uri="{FF2B5EF4-FFF2-40B4-BE49-F238E27FC236}">
                <a16:creationId xmlns:a16="http://schemas.microsoft.com/office/drawing/2014/main" id="{F39B3615-146E-4FA7-B91A-60316BD5E39D}"/>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3950028105"/>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hree Card Purpl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6800" y="393192"/>
            <a:ext cx="10974387" cy="548640"/>
          </a:xfrm>
        </p:spPr>
        <p:txBody>
          <a:bodyPr/>
          <a:lstStyle>
            <a:lvl1pPr>
              <a:defRPr>
                <a:solidFill>
                  <a:schemeClr val="bg1"/>
                </a:solidFill>
              </a:defRPr>
            </a:lvl1pPr>
          </a:lstStyle>
          <a:p>
            <a:r>
              <a:rPr lang="en-US" dirty="0"/>
              <a:t>H1 placeholder.</a:t>
            </a:r>
            <a:endParaRPr lang="en-GB" dirty="0"/>
          </a:p>
        </p:txBody>
      </p:sp>
      <p:sp>
        <p:nvSpPr>
          <p:cNvPr id="36" name="Text Placeholder 48">
            <a:extLst>
              <a:ext uri="{FF2B5EF4-FFF2-40B4-BE49-F238E27FC236}">
                <a16:creationId xmlns:a16="http://schemas.microsoft.com/office/drawing/2014/main" id="{06D84F95-E868-46D2-A73F-08ABA1B2CB87}"/>
              </a:ext>
            </a:extLst>
          </p:cNvPr>
          <p:cNvSpPr>
            <a:spLocks noGrp="1"/>
          </p:cNvSpPr>
          <p:nvPr>
            <p:ph type="body" sz="quarter" idx="41" hasCustomPrompt="1"/>
          </p:nvPr>
        </p:nvSpPr>
        <p:spPr>
          <a:xfrm>
            <a:off x="596471" y="2566567"/>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37" name="Text Placeholder 50">
            <a:extLst>
              <a:ext uri="{FF2B5EF4-FFF2-40B4-BE49-F238E27FC236}">
                <a16:creationId xmlns:a16="http://schemas.microsoft.com/office/drawing/2014/main" id="{81EDA88A-2709-4D24-B8AE-417D91E84CC4}"/>
              </a:ext>
            </a:extLst>
          </p:cNvPr>
          <p:cNvSpPr>
            <a:spLocks noGrp="1"/>
          </p:cNvSpPr>
          <p:nvPr>
            <p:ph type="body" sz="quarter" idx="42" hasCustomPrompt="1"/>
          </p:nvPr>
        </p:nvSpPr>
        <p:spPr>
          <a:xfrm>
            <a:off x="821033"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38" name="Text Placeholder 52">
            <a:extLst>
              <a:ext uri="{FF2B5EF4-FFF2-40B4-BE49-F238E27FC236}">
                <a16:creationId xmlns:a16="http://schemas.microsoft.com/office/drawing/2014/main" id="{210D2883-B369-42FD-9A9F-BBED7D37E6CB}"/>
              </a:ext>
            </a:extLst>
          </p:cNvPr>
          <p:cNvSpPr>
            <a:spLocks noGrp="1"/>
          </p:cNvSpPr>
          <p:nvPr>
            <p:ph type="body" sz="quarter" idx="43" hasCustomPrompt="1"/>
          </p:nvPr>
        </p:nvSpPr>
        <p:spPr>
          <a:xfrm>
            <a:off x="821032" y="3267449"/>
            <a:ext cx="2835423" cy="472283"/>
          </a:xfrm>
        </p:spPr>
        <p:txBody>
          <a:bodyPr>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39" name="Text Placeholder 54">
            <a:extLst>
              <a:ext uri="{FF2B5EF4-FFF2-40B4-BE49-F238E27FC236}">
                <a16:creationId xmlns:a16="http://schemas.microsoft.com/office/drawing/2014/main" id="{6DF758C0-3AE4-48AF-8CF8-47DCC8DD6412}"/>
              </a:ext>
            </a:extLst>
          </p:cNvPr>
          <p:cNvSpPr>
            <a:spLocks noGrp="1"/>
          </p:cNvSpPr>
          <p:nvPr>
            <p:ph type="body" sz="quarter" idx="44" hasCustomPrompt="1"/>
          </p:nvPr>
        </p:nvSpPr>
        <p:spPr>
          <a:xfrm>
            <a:off x="821032" y="3758058"/>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40" name="Text Placeholder 48">
            <a:extLst>
              <a:ext uri="{FF2B5EF4-FFF2-40B4-BE49-F238E27FC236}">
                <a16:creationId xmlns:a16="http://schemas.microsoft.com/office/drawing/2014/main" id="{F9D46328-4BD8-4A79-ABF4-EBF5B6B528C2}"/>
              </a:ext>
            </a:extLst>
          </p:cNvPr>
          <p:cNvSpPr>
            <a:spLocks noGrp="1"/>
          </p:cNvSpPr>
          <p:nvPr>
            <p:ph type="body" sz="quarter" idx="45" hasCustomPrompt="1"/>
          </p:nvPr>
        </p:nvSpPr>
        <p:spPr>
          <a:xfrm>
            <a:off x="8302913" y="2566567"/>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41" name="Text Placeholder 50">
            <a:extLst>
              <a:ext uri="{FF2B5EF4-FFF2-40B4-BE49-F238E27FC236}">
                <a16:creationId xmlns:a16="http://schemas.microsoft.com/office/drawing/2014/main" id="{A97C235C-9C05-4EBE-8740-DEB4F71417BD}"/>
              </a:ext>
            </a:extLst>
          </p:cNvPr>
          <p:cNvSpPr>
            <a:spLocks noGrp="1"/>
          </p:cNvSpPr>
          <p:nvPr>
            <p:ph type="body" sz="quarter" idx="46" hasCustomPrompt="1"/>
          </p:nvPr>
        </p:nvSpPr>
        <p:spPr>
          <a:xfrm>
            <a:off x="8527475"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42" name="Text Placeholder 52">
            <a:extLst>
              <a:ext uri="{FF2B5EF4-FFF2-40B4-BE49-F238E27FC236}">
                <a16:creationId xmlns:a16="http://schemas.microsoft.com/office/drawing/2014/main" id="{A07E4113-30DF-4BE4-ABD5-C131459139B4}"/>
              </a:ext>
            </a:extLst>
          </p:cNvPr>
          <p:cNvSpPr>
            <a:spLocks noGrp="1"/>
          </p:cNvSpPr>
          <p:nvPr>
            <p:ph type="body" sz="quarter" idx="47" hasCustomPrompt="1"/>
          </p:nvPr>
        </p:nvSpPr>
        <p:spPr>
          <a:xfrm>
            <a:off x="8527474" y="3267449"/>
            <a:ext cx="2835423" cy="472283"/>
          </a:xfrm>
        </p:spPr>
        <p:txBody>
          <a:bodyPr>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43" name="Text Placeholder 54">
            <a:extLst>
              <a:ext uri="{FF2B5EF4-FFF2-40B4-BE49-F238E27FC236}">
                <a16:creationId xmlns:a16="http://schemas.microsoft.com/office/drawing/2014/main" id="{C154C572-5349-4230-A010-783098FAA626}"/>
              </a:ext>
            </a:extLst>
          </p:cNvPr>
          <p:cNvSpPr>
            <a:spLocks noGrp="1"/>
          </p:cNvSpPr>
          <p:nvPr>
            <p:ph type="body" sz="quarter" idx="48" hasCustomPrompt="1"/>
          </p:nvPr>
        </p:nvSpPr>
        <p:spPr>
          <a:xfrm>
            <a:off x="8527474" y="3758058"/>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4" name="Text Placeholder 48">
            <a:extLst>
              <a:ext uri="{FF2B5EF4-FFF2-40B4-BE49-F238E27FC236}">
                <a16:creationId xmlns:a16="http://schemas.microsoft.com/office/drawing/2014/main" id="{2A9503F2-6C04-4EB5-A1FE-D1AA91F620EA}"/>
              </a:ext>
            </a:extLst>
          </p:cNvPr>
          <p:cNvSpPr>
            <a:spLocks noGrp="1"/>
          </p:cNvSpPr>
          <p:nvPr>
            <p:ph type="body" sz="quarter" idx="49" hasCustomPrompt="1"/>
          </p:nvPr>
        </p:nvSpPr>
        <p:spPr>
          <a:xfrm>
            <a:off x="4449692" y="2566567"/>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45" name="Text Placeholder 50">
            <a:extLst>
              <a:ext uri="{FF2B5EF4-FFF2-40B4-BE49-F238E27FC236}">
                <a16:creationId xmlns:a16="http://schemas.microsoft.com/office/drawing/2014/main" id="{4A47C5A6-2D6D-43EF-AD25-01A38422DAB3}"/>
              </a:ext>
            </a:extLst>
          </p:cNvPr>
          <p:cNvSpPr>
            <a:spLocks noGrp="1"/>
          </p:cNvSpPr>
          <p:nvPr>
            <p:ph type="body" sz="quarter" idx="50" hasCustomPrompt="1"/>
          </p:nvPr>
        </p:nvSpPr>
        <p:spPr>
          <a:xfrm>
            <a:off x="4664580" y="2729080"/>
            <a:ext cx="581747" cy="320088"/>
          </a:xfrm>
        </p:spPr>
        <p:txBody>
          <a:bodyPr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46" name="Text Placeholder 52">
            <a:extLst>
              <a:ext uri="{FF2B5EF4-FFF2-40B4-BE49-F238E27FC236}">
                <a16:creationId xmlns:a16="http://schemas.microsoft.com/office/drawing/2014/main" id="{ADAFF6D7-C0EB-41A9-87A5-DF5FB33F418C}"/>
              </a:ext>
            </a:extLst>
          </p:cNvPr>
          <p:cNvSpPr>
            <a:spLocks noGrp="1"/>
          </p:cNvSpPr>
          <p:nvPr>
            <p:ph type="body" sz="quarter" idx="51" hasCustomPrompt="1"/>
          </p:nvPr>
        </p:nvSpPr>
        <p:spPr>
          <a:xfrm>
            <a:off x="4664580" y="3267449"/>
            <a:ext cx="2835423" cy="472283"/>
          </a:xfrm>
        </p:spPr>
        <p:txBody>
          <a:bodyPr>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47" name="Text Placeholder 54">
            <a:extLst>
              <a:ext uri="{FF2B5EF4-FFF2-40B4-BE49-F238E27FC236}">
                <a16:creationId xmlns:a16="http://schemas.microsoft.com/office/drawing/2014/main" id="{D04A504D-FF13-4892-A718-34AEE7E09F8E}"/>
              </a:ext>
            </a:extLst>
          </p:cNvPr>
          <p:cNvSpPr>
            <a:spLocks noGrp="1"/>
          </p:cNvSpPr>
          <p:nvPr>
            <p:ph type="body" sz="quarter" idx="52" hasCustomPrompt="1"/>
          </p:nvPr>
        </p:nvSpPr>
        <p:spPr>
          <a:xfrm>
            <a:off x="4664580" y="3758058"/>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8" name="Text Placeholder 21">
            <a:extLst>
              <a:ext uri="{FF2B5EF4-FFF2-40B4-BE49-F238E27FC236}">
                <a16:creationId xmlns:a16="http://schemas.microsoft.com/office/drawing/2014/main" id="{75422B90-CE21-4871-B6F3-13BF6B22B2ED}"/>
              </a:ext>
            </a:extLst>
          </p:cNvPr>
          <p:cNvSpPr>
            <a:spLocks noGrp="1"/>
          </p:cNvSpPr>
          <p:nvPr>
            <p:ph type="body" sz="quarter" idx="37" hasCustomPrompt="1"/>
          </p:nvPr>
        </p:nvSpPr>
        <p:spPr>
          <a:xfrm>
            <a:off x="585216" y="1428331"/>
            <a:ext cx="10974388" cy="1048904"/>
          </a:xfrm>
        </p:spPr>
        <p:txBody>
          <a:bodyPr/>
          <a:lstStyle>
            <a:lvl1pPr marL="0" indent="0">
              <a:buFont typeface="Arial" panose="020B0604020202020204" pitchFamily="34" charset="0"/>
              <a:buChar char="​"/>
              <a:defRPr>
                <a:solidFill>
                  <a:schemeClr val="bg1"/>
                </a:solidFill>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6" name="Slide Number Placeholder 5">
            <a:extLst>
              <a:ext uri="{FF2B5EF4-FFF2-40B4-BE49-F238E27FC236}">
                <a16:creationId xmlns:a16="http://schemas.microsoft.com/office/drawing/2014/main" id="{5ECB075F-A6AC-4E62-A660-AFE6F3EF72EA}"/>
              </a:ext>
            </a:extLst>
          </p:cNvPr>
          <p:cNvSpPr>
            <a:spLocks noGrp="1"/>
          </p:cNvSpPr>
          <p:nvPr>
            <p:ph type="sldNum" sz="quarter" idx="55"/>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20" name="Footer Placeholder 4">
            <a:extLst>
              <a:ext uri="{FF2B5EF4-FFF2-40B4-BE49-F238E27FC236}">
                <a16:creationId xmlns:a16="http://schemas.microsoft.com/office/drawing/2014/main" id="{7909F7F8-3E90-4939-A837-CE5D3AA402E7}"/>
              </a:ext>
            </a:extLst>
          </p:cNvPr>
          <p:cNvSpPr>
            <a:spLocks noGrp="1"/>
          </p:cNvSpPr>
          <p:nvPr>
            <p:ph type="ftr" sz="quarter" idx="56"/>
          </p:nvPr>
        </p:nvSpPr>
        <p:spPr>
          <a:xfrm>
            <a:off x="6424571" y="6479554"/>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22" name="TextBox 21">
            <a:extLst>
              <a:ext uri="{FF2B5EF4-FFF2-40B4-BE49-F238E27FC236}">
                <a16:creationId xmlns:a16="http://schemas.microsoft.com/office/drawing/2014/main" id="{AF0039CC-D344-47A5-803C-E14E1C84192E}"/>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24" name="Graphic 23">
            <a:extLst>
              <a:ext uri="{FF2B5EF4-FFF2-40B4-BE49-F238E27FC236}">
                <a16:creationId xmlns:a16="http://schemas.microsoft.com/office/drawing/2014/main" id="{8D056AC5-1DDC-43DD-9D91-1E2C09CD8C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256145141"/>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hree Card Purple with Icon Placeholder">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6800" y="393192"/>
            <a:ext cx="10974387" cy="548640"/>
          </a:xfrm>
        </p:spPr>
        <p:txBody>
          <a:bodyPr/>
          <a:lstStyle>
            <a:lvl1pPr>
              <a:defRPr>
                <a:solidFill>
                  <a:schemeClr val="bg1"/>
                </a:solidFill>
              </a:defRPr>
            </a:lvl1pPr>
          </a:lstStyle>
          <a:p>
            <a:r>
              <a:rPr lang="en-US" dirty="0"/>
              <a:t>H1 placeholder.</a:t>
            </a:r>
            <a:endParaRPr lang="en-GB" dirty="0"/>
          </a:p>
        </p:txBody>
      </p:sp>
      <p:sp>
        <p:nvSpPr>
          <p:cNvPr id="36" name="Text Placeholder 48">
            <a:extLst>
              <a:ext uri="{FF2B5EF4-FFF2-40B4-BE49-F238E27FC236}">
                <a16:creationId xmlns:a16="http://schemas.microsoft.com/office/drawing/2014/main" id="{06D84F95-E868-46D2-A73F-08ABA1B2CB87}"/>
              </a:ext>
            </a:extLst>
          </p:cNvPr>
          <p:cNvSpPr>
            <a:spLocks noGrp="1"/>
          </p:cNvSpPr>
          <p:nvPr>
            <p:ph type="body" sz="quarter" idx="41" hasCustomPrompt="1"/>
          </p:nvPr>
        </p:nvSpPr>
        <p:spPr>
          <a:xfrm>
            <a:off x="596471" y="2566568"/>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38" name="Text Placeholder 52">
            <a:extLst>
              <a:ext uri="{FF2B5EF4-FFF2-40B4-BE49-F238E27FC236}">
                <a16:creationId xmlns:a16="http://schemas.microsoft.com/office/drawing/2014/main" id="{210D2883-B369-42FD-9A9F-BBED7D37E6CB}"/>
              </a:ext>
            </a:extLst>
          </p:cNvPr>
          <p:cNvSpPr>
            <a:spLocks noGrp="1"/>
          </p:cNvSpPr>
          <p:nvPr>
            <p:ph type="body" sz="quarter" idx="43" hasCustomPrompt="1"/>
          </p:nvPr>
        </p:nvSpPr>
        <p:spPr>
          <a:xfrm>
            <a:off x="821032" y="3267450"/>
            <a:ext cx="2835423" cy="472283"/>
          </a:xfrm>
        </p:spPr>
        <p:txBody>
          <a:bodyPr>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39" name="Text Placeholder 54">
            <a:extLst>
              <a:ext uri="{FF2B5EF4-FFF2-40B4-BE49-F238E27FC236}">
                <a16:creationId xmlns:a16="http://schemas.microsoft.com/office/drawing/2014/main" id="{6DF758C0-3AE4-48AF-8CF8-47DCC8DD6412}"/>
              </a:ext>
            </a:extLst>
          </p:cNvPr>
          <p:cNvSpPr>
            <a:spLocks noGrp="1"/>
          </p:cNvSpPr>
          <p:nvPr>
            <p:ph type="body" sz="quarter" idx="44" hasCustomPrompt="1"/>
          </p:nvPr>
        </p:nvSpPr>
        <p:spPr>
          <a:xfrm>
            <a:off x="821032" y="3758059"/>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40" name="Text Placeholder 48">
            <a:extLst>
              <a:ext uri="{FF2B5EF4-FFF2-40B4-BE49-F238E27FC236}">
                <a16:creationId xmlns:a16="http://schemas.microsoft.com/office/drawing/2014/main" id="{F9D46328-4BD8-4A79-ABF4-EBF5B6B528C2}"/>
              </a:ext>
            </a:extLst>
          </p:cNvPr>
          <p:cNvSpPr>
            <a:spLocks noGrp="1"/>
          </p:cNvSpPr>
          <p:nvPr>
            <p:ph type="body" sz="quarter" idx="45" hasCustomPrompt="1"/>
          </p:nvPr>
        </p:nvSpPr>
        <p:spPr>
          <a:xfrm>
            <a:off x="8302913" y="2566568"/>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42" name="Text Placeholder 52">
            <a:extLst>
              <a:ext uri="{FF2B5EF4-FFF2-40B4-BE49-F238E27FC236}">
                <a16:creationId xmlns:a16="http://schemas.microsoft.com/office/drawing/2014/main" id="{A07E4113-30DF-4BE4-ABD5-C131459139B4}"/>
              </a:ext>
            </a:extLst>
          </p:cNvPr>
          <p:cNvSpPr>
            <a:spLocks noGrp="1"/>
          </p:cNvSpPr>
          <p:nvPr>
            <p:ph type="body" sz="quarter" idx="47" hasCustomPrompt="1"/>
          </p:nvPr>
        </p:nvSpPr>
        <p:spPr>
          <a:xfrm>
            <a:off x="8527474" y="3267450"/>
            <a:ext cx="2835423" cy="472283"/>
          </a:xfrm>
        </p:spPr>
        <p:txBody>
          <a:bodyPr>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43" name="Text Placeholder 54">
            <a:extLst>
              <a:ext uri="{FF2B5EF4-FFF2-40B4-BE49-F238E27FC236}">
                <a16:creationId xmlns:a16="http://schemas.microsoft.com/office/drawing/2014/main" id="{C154C572-5349-4230-A010-783098FAA626}"/>
              </a:ext>
            </a:extLst>
          </p:cNvPr>
          <p:cNvSpPr>
            <a:spLocks noGrp="1"/>
          </p:cNvSpPr>
          <p:nvPr>
            <p:ph type="body" sz="quarter" idx="48" hasCustomPrompt="1"/>
          </p:nvPr>
        </p:nvSpPr>
        <p:spPr>
          <a:xfrm>
            <a:off x="8527474" y="3758059"/>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4" name="Text Placeholder 48">
            <a:extLst>
              <a:ext uri="{FF2B5EF4-FFF2-40B4-BE49-F238E27FC236}">
                <a16:creationId xmlns:a16="http://schemas.microsoft.com/office/drawing/2014/main" id="{2A9503F2-6C04-4EB5-A1FE-D1AA91F620EA}"/>
              </a:ext>
            </a:extLst>
          </p:cNvPr>
          <p:cNvSpPr>
            <a:spLocks noGrp="1"/>
          </p:cNvSpPr>
          <p:nvPr>
            <p:ph type="body" sz="quarter" idx="49" hasCustomPrompt="1"/>
          </p:nvPr>
        </p:nvSpPr>
        <p:spPr>
          <a:xfrm>
            <a:off x="4449692" y="2566568"/>
            <a:ext cx="3265200"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46" name="Text Placeholder 52">
            <a:extLst>
              <a:ext uri="{FF2B5EF4-FFF2-40B4-BE49-F238E27FC236}">
                <a16:creationId xmlns:a16="http://schemas.microsoft.com/office/drawing/2014/main" id="{ADAFF6D7-C0EB-41A9-87A5-DF5FB33F418C}"/>
              </a:ext>
            </a:extLst>
          </p:cNvPr>
          <p:cNvSpPr>
            <a:spLocks noGrp="1"/>
          </p:cNvSpPr>
          <p:nvPr>
            <p:ph type="body" sz="quarter" idx="51" hasCustomPrompt="1"/>
          </p:nvPr>
        </p:nvSpPr>
        <p:spPr>
          <a:xfrm>
            <a:off x="4664580" y="3267450"/>
            <a:ext cx="2835423" cy="472283"/>
          </a:xfrm>
        </p:spPr>
        <p:txBody>
          <a:bodyPr>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47" name="Text Placeholder 54">
            <a:extLst>
              <a:ext uri="{FF2B5EF4-FFF2-40B4-BE49-F238E27FC236}">
                <a16:creationId xmlns:a16="http://schemas.microsoft.com/office/drawing/2014/main" id="{D04A504D-FF13-4892-A718-34AEE7E09F8E}"/>
              </a:ext>
            </a:extLst>
          </p:cNvPr>
          <p:cNvSpPr>
            <a:spLocks noGrp="1"/>
          </p:cNvSpPr>
          <p:nvPr>
            <p:ph type="body" sz="quarter" idx="52" hasCustomPrompt="1"/>
          </p:nvPr>
        </p:nvSpPr>
        <p:spPr>
          <a:xfrm>
            <a:off x="4664580" y="3758059"/>
            <a:ext cx="2835423" cy="1900379"/>
          </a:xfrm>
        </p:spPr>
        <p:txBody>
          <a:bodyPr>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8" name="Text Placeholder 21">
            <a:extLst>
              <a:ext uri="{FF2B5EF4-FFF2-40B4-BE49-F238E27FC236}">
                <a16:creationId xmlns:a16="http://schemas.microsoft.com/office/drawing/2014/main" id="{75422B90-CE21-4871-B6F3-13BF6B22B2ED}"/>
              </a:ext>
            </a:extLst>
          </p:cNvPr>
          <p:cNvSpPr>
            <a:spLocks noGrp="1"/>
          </p:cNvSpPr>
          <p:nvPr>
            <p:ph type="body" sz="quarter" idx="37" hasCustomPrompt="1"/>
          </p:nvPr>
        </p:nvSpPr>
        <p:spPr>
          <a:xfrm>
            <a:off x="585216" y="1428332"/>
            <a:ext cx="10974388" cy="1048904"/>
          </a:xfrm>
        </p:spPr>
        <p:txBody>
          <a:bodyPr/>
          <a:lstStyle>
            <a:lvl1pPr marL="0" indent="0">
              <a:buFont typeface="Arial" panose="020B0604020202020204" pitchFamily="34" charset="0"/>
              <a:buChar char="​"/>
              <a:defRPr>
                <a:solidFill>
                  <a:schemeClr val="bg1"/>
                </a:solidFill>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6" name="Slide Number Placeholder 5">
            <a:extLst>
              <a:ext uri="{FF2B5EF4-FFF2-40B4-BE49-F238E27FC236}">
                <a16:creationId xmlns:a16="http://schemas.microsoft.com/office/drawing/2014/main" id="{5ECB075F-A6AC-4E62-A660-AFE6F3EF72EA}"/>
              </a:ext>
            </a:extLst>
          </p:cNvPr>
          <p:cNvSpPr>
            <a:spLocks noGrp="1"/>
          </p:cNvSpPr>
          <p:nvPr>
            <p:ph type="sldNum" sz="quarter" idx="55"/>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25" name="Picture Placeholder 24">
            <a:extLst>
              <a:ext uri="{FF2B5EF4-FFF2-40B4-BE49-F238E27FC236}">
                <a16:creationId xmlns:a16="http://schemas.microsoft.com/office/drawing/2014/main" id="{DF7EB697-AC57-4162-96B6-5B35E3271D27}"/>
              </a:ext>
            </a:extLst>
          </p:cNvPr>
          <p:cNvSpPr>
            <a:spLocks noGrp="1"/>
          </p:cNvSpPr>
          <p:nvPr>
            <p:ph type="pic" sz="quarter" idx="66" hasCustomPrompt="1"/>
          </p:nvPr>
        </p:nvSpPr>
        <p:spPr>
          <a:xfrm>
            <a:off x="821032" y="2638915"/>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26" name="Picture Placeholder 25">
            <a:extLst>
              <a:ext uri="{FF2B5EF4-FFF2-40B4-BE49-F238E27FC236}">
                <a16:creationId xmlns:a16="http://schemas.microsoft.com/office/drawing/2014/main" id="{A3DCCFFF-6C66-478A-9A58-F5961E76C15F}"/>
              </a:ext>
            </a:extLst>
          </p:cNvPr>
          <p:cNvSpPr>
            <a:spLocks noGrp="1"/>
          </p:cNvSpPr>
          <p:nvPr>
            <p:ph type="pic" sz="quarter" idx="67" hasCustomPrompt="1"/>
          </p:nvPr>
        </p:nvSpPr>
        <p:spPr>
          <a:xfrm>
            <a:off x="4664580" y="2638915"/>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27" name="Picture Placeholder 26">
            <a:extLst>
              <a:ext uri="{FF2B5EF4-FFF2-40B4-BE49-F238E27FC236}">
                <a16:creationId xmlns:a16="http://schemas.microsoft.com/office/drawing/2014/main" id="{EB6CF17D-B4FD-4A75-95EA-ECBDE5F69CCB}"/>
              </a:ext>
            </a:extLst>
          </p:cNvPr>
          <p:cNvSpPr>
            <a:spLocks noGrp="1"/>
          </p:cNvSpPr>
          <p:nvPr>
            <p:ph type="pic" sz="quarter" idx="68" hasCustomPrompt="1"/>
          </p:nvPr>
        </p:nvSpPr>
        <p:spPr>
          <a:xfrm>
            <a:off x="8527474" y="2638915"/>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20" name="Footer Placeholder 4">
            <a:extLst>
              <a:ext uri="{FF2B5EF4-FFF2-40B4-BE49-F238E27FC236}">
                <a16:creationId xmlns:a16="http://schemas.microsoft.com/office/drawing/2014/main" id="{EFF5CFEB-65D4-46C2-8258-DB3C13F30077}"/>
              </a:ext>
            </a:extLst>
          </p:cNvPr>
          <p:cNvSpPr>
            <a:spLocks noGrp="1"/>
          </p:cNvSpPr>
          <p:nvPr>
            <p:ph type="ftr" sz="quarter" idx="50"/>
          </p:nvPr>
        </p:nvSpPr>
        <p:spPr>
          <a:xfrm>
            <a:off x="6424571" y="6479554"/>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22" name="TextBox 21">
            <a:extLst>
              <a:ext uri="{FF2B5EF4-FFF2-40B4-BE49-F238E27FC236}">
                <a16:creationId xmlns:a16="http://schemas.microsoft.com/office/drawing/2014/main" id="{38DB35E2-FF52-4B3E-8CD4-B25F42FFFE89}"/>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24" name="Graphic 23">
            <a:extLst>
              <a:ext uri="{FF2B5EF4-FFF2-40B4-BE49-F238E27FC236}">
                <a16:creationId xmlns:a16="http://schemas.microsoft.com/office/drawing/2014/main" id="{4AEB66C8-42E2-418C-9933-EA24D05F79F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1515872042"/>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White/Purple">
    <p:bg>
      <p:bgPr>
        <a:solidFill>
          <a:schemeClr val="bg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603272" y="4405744"/>
            <a:ext cx="5140303" cy="1258455"/>
          </a:xfrm>
        </p:spPr>
        <p:txBody>
          <a:bodyPr lIns="0" rIns="0">
            <a:normAutofit/>
          </a:bodyPr>
          <a:lstStyle>
            <a:lvl1pPr marL="0" indent="0" algn="l">
              <a:buNone/>
              <a:defRPr sz="1400" b="0">
                <a:solidFill>
                  <a:schemeClr val="tx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endParaRPr lang="en-GB" dirty="0"/>
          </a:p>
        </p:txBody>
      </p:sp>
      <p:grpSp>
        <p:nvGrpSpPr>
          <p:cNvPr id="22" name="Group 21">
            <a:extLst>
              <a:ext uri="{FF2B5EF4-FFF2-40B4-BE49-F238E27FC236}">
                <a16:creationId xmlns:a16="http://schemas.microsoft.com/office/drawing/2014/main" id="{06D3E6A9-608F-4FEF-9318-50780452D43F}"/>
              </a:ext>
            </a:extLst>
          </p:cNvPr>
          <p:cNvGrpSpPr/>
          <p:nvPr userDrawn="1"/>
        </p:nvGrpSpPr>
        <p:grpSpPr>
          <a:xfrm>
            <a:off x="9848850" y="557074"/>
            <a:ext cx="1904999" cy="195571"/>
            <a:chOff x="9848850" y="557074"/>
            <a:chExt cx="1904999" cy="195571"/>
          </a:xfrm>
          <a:solidFill>
            <a:schemeClr val="tx1"/>
          </a:solidFill>
        </p:grpSpPr>
        <p:sp>
          <p:nvSpPr>
            <p:cNvPr id="4" name="Freeform: Shape 3">
              <a:extLst>
                <a:ext uri="{FF2B5EF4-FFF2-40B4-BE49-F238E27FC236}">
                  <a16:creationId xmlns:a16="http://schemas.microsoft.com/office/drawing/2014/main" id="{982B1A2E-3EC0-4B78-AB9A-10329041127E}"/>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dirty="0"/>
            </a:p>
          </p:txBody>
        </p:sp>
        <p:sp>
          <p:nvSpPr>
            <p:cNvPr id="5" name="Freeform: Shape 4">
              <a:extLst>
                <a:ext uri="{FF2B5EF4-FFF2-40B4-BE49-F238E27FC236}">
                  <a16:creationId xmlns:a16="http://schemas.microsoft.com/office/drawing/2014/main" id="{CDEEB691-8710-4322-806E-E69F81A5E418}"/>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290779BC-95C9-40DF-AA48-4CE05FA0B9EE}"/>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1BA4860F-3F0D-4929-8566-E5959309DE7F}"/>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B12E63F6-4AED-4FCC-B839-0821E5C1D558}"/>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89E35D2B-5F84-4B67-AC50-4C6225985947}"/>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0EF39E0A-23A7-4A8E-BDFE-97F0DF77FD04}"/>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F46E1330-2734-4879-8F37-EB6C19D791BB}"/>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32ED1C32-8954-4DC5-8742-722004C6AC5D}"/>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4D9BA3F8-B706-48D2-84A5-BAF60046424E}"/>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34C49746-C7B2-49F5-9848-5ED10587F0C5}"/>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dirty="0"/>
            </a:p>
          </p:txBody>
        </p:sp>
      </p:gr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587375" y="2147030"/>
            <a:ext cx="5156200" cy="1999009"/>
          </a:xfrm>
        </p:spPr>
        <p:txBody>
          <a:bodyPr lIns="0" tIns="0" rIns="0" bIns="0" anchor="b" anchorCtr="0">
            <a:spAutoFit/>
          </a:bodyPr>
          <a:lstStyle>
            <a:lvl1pPr>
              <a:defRPr sz="3600"/>
            </a:lvl1pPr>
          </a:lstStyle>
          <a:p>
            <a:r>
              <a:rPr lang="en-US" dirty="0"/>
              <a:t>Title placeholder </a:t>
            </a:r>
            <a:r>
              <a:rPr lang="en-US" dirty="0" err="1"/>
              <a:t>alitori</a:t>
            </a:r>
            <a:r>
              <a:rPr lang="en-US" dirty="0"/>
              <a:t> </a:t>
            </a:r>
            <a:r>
              <a:rPr lang="en-US" dirty="0" err="1"/>
              <a:t>ut</a:t>
            </a:r>
            <a:r>
              <a:rPr lang="en-US" dirty="0"/>
              <a:t> </a:t>
            </a:r>
            <a:r>
              <a:rPr lang="en-US" dirty="0" err="1"/>
              <a:t>exeri</a:t>
            </a:r>
            <a:r>
              <a:rPr lang="en-US" dirty="0"/>
              <a:t> </a:t>
            </a:r>
            <a:r>
              <a:rPr lang="en-US" dirty="0" err="1"/>
              <a:t>bearitati</a:t>
            </a:r>
            <a:r>
              <a:rPr lang="en-US" dirty="0"/>
              <a:t> </a:t>
            </a:r>
            <a:r>
              <a:rPr lang="en-US" dirty="0" err="1"/>
              <a:t>ut</a:t>
            </a:r>
            <a:r>
              <a:rPr lang="en-US" dirty="0"/>
              <a:t> volent </a:t>
            </a:r>
            <a:r>
              <a:rPr lang="en-US" dirty="0" err="1"/>
              <a:t>lamusdae</a:t>
            </a:r>
            <a:r>
              <a:rPr lang="en-US" dirty="0"/>
              <a:t> es qui.</a:t>
            </a:r>
            <a:endParaRPr lang="en-GB" dirty="0"/>
          </a:p>
        </p:txBody>
      </p:sp>
      <p:sp>
        <p:nvSpPr>
          <p:cNvPr id="30" name="Freeform: Shape 29">
            <a:extLst>
              <a:ext uri="{FF2B5EF4-FFF2-40B4-BE49-F238E27FC236}">
                <a16:creationId xmlns:a16="http://schemas.microsoft.com/office/drawing/2014/main" id="{F98AB8C2-5685-434C-876B-28AD2BD2E0C7}"/>
              </a:ext>
            </a:extLst>
          </p:cNvPr>
          <p:cNvSpPr/>
          <p:nvPr/>
        </p:nvSpPr>
        <p:spPr>
          <a:xfrm>
            <a:off x="7923255" y="2012965"/>
            <a:ext cx="4268745" cy="4285146"/>
          </a:xfrm>
          <a:custGeom>
            <a:avLst/>
            <a:gdLst>
              <a:gd name="connsiteX0" fmla="*/ 2047528 w 4268745"/>
              <a:gd name="connsiteY0" fmla="*/ 3183018 h 4285146"/>
              <a:gd name="connsiteX1" fmla="*/ 3785883 w 4268745"/>
              <a:gd name="connsiteY1" fmla="*/ 3183018 h 4285146"/>
              <a:gd name="connsiteX2" fmla="*/ 4242832 w 4268745"/>
              <a:gd name="connsiteY2" fmla="*/ 3425978 h 4285146"/>
              <a:gd name="connsiteX3" fmla="*/ 4268745 w 4268745"/>
              <a:gd name="connsiteY3" fmla="*/ 3473719 h 4285146"/>
              <a:gd name="connsiteX4" fmla="*/ 4268745 w 4268745"/>
              <a:gd name="connsiteY4" fmla="*/ 3994445 h 4285146"/>
              <a:gd name="connsiteX5" fmla="*/ 4242832 w 4268745"/>
              <a:gd name="connsiteY5" fmla="*/ 4042186 h 4285146"/>
              <a:gd name="connsiteX6" fmla="*/ 3785883 w 4268745"/>
              <a:gd name="connsiteY6" fmla="*/ 4285146 h 4285146"/>
              <a:gd name="connsiteX7" fmla="*/ 2047528 w 4268745"/>
              <a:gd name="connsiteY7" fmla="*/ 4285146 h 4285146"/>
              <a:gd name="connsiteX8" fmla="*/ 1496466 w 4268745"/>
              <a:gd name="connsiteY8" fmla="*/ 3734018 h 4285146"/>
              <a:gd name="connsiteX9" fmla="*/ 1496466 w 4268745"/>
              <a:gd name="connsiteY9" fmla="*/ 3733955 h 4285146"/>
              <a:gd name="connsiteX10" fmla="*/ 2047528 w 4268745"/>
              <a:gd name="connsiteY10" fmla="*/ 3183018 h 4285146"/>
              <a:gd name="connsiteX11" fmla="*/ 551061 w 4268745"/>
              <a:gd name="connsiteY11" fmla="*/ 3182955 h 4285146"/>
              <a:gd name="connsiteX12" fmla="*/ 551316 w 4268745"/>
              <a:gd name="connsiteY12" fmla="*/ 3182955 h 4285146"/>
              <a:gd name="connsiteX13" fmla="*/ 1102378 w 4268745"/>
              <a:gd name="connsiteY13" fmla="*/ 3734018 h 4285146"/>
              <a:gd name="connsiteX14" fmla="*/ 551316 w 4268745"/>
              <a:gd name="connsiteY14" fmla="*/ 4285082 h 4285146"/>
              <a:gd name="connsiteX15" fmla="*/ 254 w 4268745"/>
              <a:gd name="connsiteY15" fmla="*/ 3734018 h 4285146"/>
              <a:gd name="connsiteX16" fmla="*/ 63 w 4268745"/>
              <a:gd name="connsiteY16" fmla="*/ 3734082 h 4285146"/>
              <a:gd name="connsiteX17" fmla="*/ 63 w 4268745"/>
              <a:gd name="connsiteY17" fmla="*/ 3733955 h 4285146"/>
              <a:gd name="connsiteX18" fmla="*/ 551061 w 4268745"/>
              <a:gd name="connsiteY18" fmla="*/ 3182955 h 4285146"/>
              <a:gd name="connsiteX19" fmla="*/ 3785883 w 4268745"/>
              <a:gd name="connsiteY19" fmla="*/ 1591573 h 4285146"/>
              <a:gd name="connsiteX20" fmla="*/ 4242832 w 4268745"/>
              <a:gd name="connsiteY20" fmla="*/ 1834532 h 4285146"/>
              <a:gd name="connsiteX21" fmla="*/ 4268745 w 4268745"/>
              <a:gd name="connsiteY21" fmla="*/ 1882274 h 4285146"/>
              <a:gd name="connsiteX22" fmla="*/ 4268745 w 4268745"/>
              <a:gd name="connsiteY22" fmla="*/ 2403001 h 4285146"/>
              <a:gd name="connsiteX23" fmla="*/ 4242845 w 4268745"/>
              <a:gd name="connsiteY23" fmla="*/ 2450721 h 4285146"/>
              <a:gd name="connsiteX24" fmla="*/ 3785947 w 4268745"/>
              <a:gd name="connsiteY24" fmla="*/ 2693700 h 4285146"/>
              <a:gd name="connsiteX25" fmla="*/ 3785883 w 4268745"/>
              <a:gd name="connsiteY25" fmla="*/ 2693700 h 4285146"/>
              <a:gd name="connsiteX26" fmla="*/ 3234822 w 4268745"/>
              <a:gd name="connsiteY26" fmla="*/ 2142637 h 4285146"/>
              <a:gd name="connsiteX27" fmla="*/ 3785883 w 4268745"/>
              <a:gd name="connsiteY27" fmla="*/ 1591573 h 4285146"/>
              <a:gd name="connsiteX28" fmla="*/ 551061 w 4268745"/>
              <a:gd name="connsiteY28" fmla="*/ 1591573 h 4285146"/>
              <a:gd name="connsiteX29" fmla="*/ 2289672 w 4268745"/>
              <a:gd name="connsiteY29" fmla="*/ 1591573 h 4285146"/>
              <a:gd name="connsiteX30" fmla="*/ 2840733 w 4268745"/>
              <a:gd name="connsiteY30" fmla="*/ 2142637 h 4285146"/>
              <a:gd name="connsiteX31" fmla="*/ 2289672 w 4268745"/>
              <a:gd name="connsiteY31" fmla="*/ 2693700 h 4285146"/>
              <a:gd name="connsiteX32" fmla="*/ 551061 w 4268745"/>
              <a:gd name="connsiteY32" fmla="*/ 2693700 h 4285146"/>
              <a:gd name="connsiteX33" fmla="*/ 63 w 4268745"/>
              <a:gd name="connsiteY33" fmla="*/ 2142700 h 4285146"/>
              <a:gd name="connsiteX34" fmla="*/ 0 w 4268745"/>
              <a:gd name="connsiteY34" fmla="*/ 2142573 h 4285146"/>
              <a:gd name="connsiteX35" fmla="*/ 0 w 4268745"/>
              <a:gd name="connsiteY35" fmla="*/ 2142509 h 4285146"/>
              <a:gd name="connsiteX36" fmla="*/ 551061 w 4268745"/>
              <a:gd name="connsiteY36" fmla="*/ 1591573 h 4285146"/>
              <a:gd name="connsiteX37" fmla="*/ 551125 w 4268745"/>
              <a:gd name="connsiteY37" fmla="*/ 64 h 4285146"/>
              <a:gd name="connsiteX38" fmla="*/ 1102123 w 4268745"/>
              <a:gd name="connsiteY38" fmla="*/ 551191 h 4285146"/>
              <a:gd name="connsiteX39" fmla="*/ 1102187 w 4268745"/>
              <a:gd name="connsiteY39" fmla="*/ 551064 h 4285146"/>
              <a:gd name="connsiteX40" fmla="*/ 551061 w 4268745"/>
              <a:gd name="connsiteY40" fmla="*/ 1102191 h 4285146"/>
              <a:gd name="connsiteX41" fmla="*/ 550998 w 4268745"/>
              <a:gd name="connsiteY41" fmla="*/ 1102191 h 4285146"/>
              <a:gd name="connsiteX42" fmla="*/ 0 w 4268745"/>
              <a:gd name="connsiteY42" fmla="*/ 551064 h 4285146"/>
              <a:gd name="connsiteX43" fmla="*/ 551125 w 4268745"/>
              <a:gd name="connsiteY43" fmla="*/ 64 h 4285146"/>
              <a:gd name="connsiteX44" fmla="*/ 2047528 w 4268745"/>
              <a:gd name="connsiteY44" fmla="*/ 0 h 4285146"/>
              <a:gd name="connsiteX45" fmla="*/ 3785693 w 4268745"/>
              <a:gd name="connsiteY45" fmla="*/ 0 h 4285146"/>
              <a:gd name="connsiteX46" fmla="*/ 4242641 w 4268745"/>
              <a:gd name="connsiteY46" fmla="*/ 242960 h 4285146"/>
              <a:gd name="connsiteX47" fmla="*/ 4268745 w 4268745"/>
              <a:gd name="connsiteY47" fmla="*/ 291053 h 4285146"/>
              <a:gd name="connsiteX48" fmla="*/ 4268745 w 4268745"/>
              <a:gd name="connsiteY48" fmla="*/ 811427 h 4285146"/>
              <a:gd name="connsiteX49" fmla="*/ 4242832 w 4268745"/>
              <a:gd name="connsiteY49" fmla="*/ 859168 h 4285146"/>
              <a:gd name="connsiteX50" fmla="*/ 3785883 w 4268745"/>
              <a:gd name="connsiteY50" fmla="*/ 1102127 h 4285146"/>
              <a:gd name="connsiteX51" fmla="*/ 2047528 w 4268745"/>
              <a:gd name="connsiteY51" fmla="*/ 1102127 h 4285146"/>
              <a:gd name="connsiteX52" fmla="*/ 1496466 w 4268745"/>
              <a:gd name="connsiteY52" fmla="*/ 551064 h 4285146"/>
              <a:gd name="connsiteX53" fmla="*/ 2047528 w 4268745"/>
              <a:gd name="connsiteY53" fmla="*/ 0 h 428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268745" h="4285146">
                <a:moveTo>
                  <a:pt x="2047528" y="3183018"/>
                </a:moveTo>
                <a:lnTo>
                  <a:pt x="3785883" y="3183018"/>
                </a:lnTo>
                <a:cubicBezTo>
                  <a:pt x="3976097" y="3183018"/>
                  <a:pt x="4143802" y="3279394"/>
                  <a:pt x="4242832" y="3425978"/>
                </a:cubicBezTo>
                <a:lnTo>
                  <a:pt x="4268745" y="3473719"/>
                </a:lnTo>
                <a:lnTo>
                  <a:pt x="4268745" y="3994445"/>
                </a:lnTo>
                <a:lnTo>
                  <a:pt x="4242832" y="4042186"/>
                </a:lnTo>
                <a:cubicBezTo>
                  <a:pt x="4143802" y="4188770"/>
                  <a:pt x="3976097" y="4285146"/>
                  <a:pt x="3785883" y="4285146"/>
                </a:cubicBezTo>
                <a:lnTo>
                  <a:pt x="2047528" y="4285146"/>
                </a:lnTo>
                <a:cubicBezTo>
                  <a:pt x="1743174" y="4285108"/>
                  <a:pt x="1496466" y="4038373"/>
                  <a:pt x="1496466" y="3734018"/>
                </a:cubicBezTo>
                <a:cubicBezTo>
                  <a:pt x="1496466" y="3733999"/>
                  <a:pt x="1496466" y="3733974"/>
                  <a:pt x="1496466" y="3733955"/>
                </a:cubicBezTo>
                <a:cubicBezTo>
                  <a:pt x="1496504" y="3429645"/>
                  <a:pt x="1743218" y="3182987"/>
                  <a:pt x="2047528" y="3183018"/>
                </a:cubicBezTo>
                <a:close/>
                <a:moveTo>
                  <a:pt x="551061" y="3182955"/>
                </a:moveTo>
                <a:cubicBezTo>
                  <a:pt x="551144" y="3182955"/>
                  <a:pt x="551233" y="3182955"/>
                  <a:pt x="551316" y="3182955"/>
                </a:cubicBezTo>
                <a:cubicBezTo>
                  <a:pt x="855657" y="3182955"/>
                  <a:pt x="1102378" y="3429676"/>
                  <a:pt x="1102378" y="3734018"/>
                </a:cubicBezTo>
                <a:cubicBezTo>
                  <a:pt x="1102378" y="4038361"/>
                  <a:pt x="855657" y="4285082"/>
                  <a:pt x="551316" y="4285082"/>
                </a:cubicBezTo>
                <a:cubicBezTo>
                  <a:pt x="246975" y="4285082"/>
                  <a:pt x="254" y="4038361"/>
                  <a:pt x="254" y="3734018"/>
                </a:cubicBezTo>
                <a:lnTo>
                  <a:pt x="63" y="3734082"/>
                </a:lnTo>
                <a:cubicBezTo>
                  <a:pt x="63" y="3734037"/>
                  <a:pt x="63" y="3733999"/>
                  <a:pt x="63" y="3733955"/>
                </a:cubicBezTo>
                <a:cubicBezTo>
                  <a:pt x="63" y="3429645"/>
                  <a:pt x="246752" y="3182955"/>
                  <a:pt x="551061" y="3182955"/>
                </a:cubicBezTo>
                <a:close/>
                <a:moveTo>
                  <a:pt x="3785883" y="1591573"/>
                </a:moveTo>
                <a:cubicBezTo>
                  <a:pt x="3976097" y="1591573"/>
                  <a:pt x="4143802" y="1687948"/>
                  <a:pt x="4242832" y="1834532"/>
                </a:cubicBezTo>
                <a:lnTo>
                  <a:pt x="4268745" y="1882274"/>
                </a:lnTo>
                <a:lnTo>
                  <a:pt x="4268745" y="2403001"/>
                </a:lnTo>
                <a:lnTo>
                  <a:pt x="4242845" y="2450721"/>
                </a:lnTo>
                <a:cubicBezTo>
                  <a:pt x="4143829" y="2597300"/>
                  <a:pt x="3976144" y="2693680"/>
                  <a:pt x="3785947" y="2693700"/>
                </a:cubicBezTo>
                <a:cubicBezTo>
                  <a:pt x="3785928" y="2693700"/>
                  <a:pt x="3785902" y="2693700"/>
                  <a:pt x="3785883" y="2693700"/>
                </a:cubicBezTo>
                <a:cubicBezTo>
                  <a:pt x="3481542" y="2693700"/>
                  <a:pt x="3234822" y="2446979"/>
                  <a:pt x="3234822" y="2142637"/>
                </a:cubicBezTo>
                <a:cubicBezTo>
                  <a:pt x="3234822" y="1838294"/>
                  <a:pt x="3481542" y="1591573"/>
                  <a:pt x="3785883" y="1591573"/>
                </a:cubicBezTo>
                <a:close/>
                <a:moveTo>
                  <a:pt x="551061" y="1591573"/>
                </a:moveTo>
                <a:lnTo>
                  <a:pt x="2289672" y="1591573"/>
                </a:lnTo>
                <a:cubicBezTo>
                  <a:pt x="2594013" y="1591573"/>
                  <a:pt x="2840733" y="1838294"/>
                  <a:pt x="2840733" y="2142637"/>
                </a:cubicBezTo>
                <a:cubicBezTo>
                  <a:pt x="2840733" y="2446979"/>
                  <a:pt x="2594013" y="2693700"/>
                  <a:pt x="2289672" y="2693700"/>
                </a:cubicBezTo>
                <a:lnTo>
                  <a:pt x="551061" y="2693700"/>
                </a:lnTo>
                <a:cubicBezTo>
                  <a:pt x="246784" y="2693630"/>
                  <a:pt x="133" y="2446979"/>
                  <a:pt x="63" y="2142700"/>
                </a:cubicBezTo>
                <a:lnTo>
                  <a:pt x="0" y="2142573"/>
                </a:lnTo>
                <a:cubicBezTo>
                  <a:pt x="0" y="2142554"/>
                  <a:pt x="0" y="2142528"/>
                  <a:pt x="0" y="2142509"/>
                </a:cubicBezTo>
                <a:cubicBezTo>
                  <a:pt x="35" y="1838199"/>
                  <a:pt x="246752" y="1591535"/>
                  <a:pt x="551061" y="1591573"/>
                </a:cubicBezTo>
                <a:close/>
                <a:moveTo>
                  <a:pt x="551125" y="64"/>
                </a:moveTo>
                <a:cubicBezTo>
                  <a:pt x="855466" y="102"/>
                  <a:pt x="1102161" y="246849"/>
                  <a:pt x="1102123" y="551191"/>
                </a:cubicBezTo>
                <a:lnTo>
                  <a:pt x="1102187" y="551064"/>
                </a:lnTo>
                <a:cubicBezTo>
                  <a:pt x="1102187" y="855444"/>
                  <a:pt x="855441" y="1102191"/>
                  <a:pt x="551061" y="1102191"/>
                </a:cubicBezTo>
                <a:cubicBezTo>
                  <a:pt x="551042" y="1102191"/>
                  <a:pt x="551017" y="1102191"/>
                  <a:pt x="550998" y="1102191"/>
                </a:cubicBezTo>
                <a:cubicBezTo>
                  <a:pt x="246656" y="1102153"/>
                  <a:pt x="-35" y="855406"/>
                  <a:pt x="0" y="551064"/>
                </a:cubicBezTo>
                <a:cubicBezTo>
                  <a:pt x="35" y="246721"/>
                  <a:pt x="246784" y="25"/>
                  <a:pt x="551125" y="64"/>
                </a:cubicBezTo>
                <a:close/>
                <a:moveTo>
                  <a:pt x="2047528" y="0"/>
                </a:moveTo>
                <a:lnTo>
                  <a:pt x="3785693" y="0"/>
                </a:lnTo>
                <a:cubicBezTo>
                  <a:pt x="3975906" y="0"/>
                  <a:pt x="4143611" y="96376"/>
                  <a:pt x="4242641" y="242960"/>
                </a:cubicBezTo>
                <a:lnTo>
                  <a:pt x="4268745" y="291053"/>
                </a:lnTo>
                <a:lnTo>
                  <a:pt x="4268745" y="811427"/>
                </a:lnTo>
                <a:lnTo>
                  <a:pt x="4242832" y="859168"/>
                </a:lnTo>
                <a:cubicBezTo>
                  <a:pt x="4143802" y="1005752"/>
                  <a:pt x="3976097" y="1102127"/>
                  <a:pt x="3785883" y="1102127"/>
                </a:cubicBezTo>
                <a:lnTo>
                  <a:pt x="2047528" y="1102127"/>
                </a:lnTo>
                <a:cubicBezTo>
                  <a:pt x="1743187" y="1102127"/>
                  <a:pt x="1496466" y="855406"/>
                  <a:pt x="1496466" y="551064"/>
                </a:cubicBezTo>
                <a:cubicBezTo>
                  <a:pt x="1496466" y="246721"/>
                  <a:pt x="1743187" y="0"/>
                  <a:pt x="2047528" y="0"/>
                </a:cubicBezTo>
                <a:close/>
              </a:path>
            </a:pathLst>
          </a:custGeom>
          <a:solidFill>
            <a:schemeClr val="bg2"/>
          </a:solidFill>
          <a:ln w="6266" cap="flat">
            <a:noFill/>
            <a:prstDash val="solid"/>
            <a:miter/>
          </a:ln>
        </p:spPr>
        <p:txBody>
          <a:bodyPr rtlCol="0" anchor="ctr"/>
          <a:lstStyle/>
          <a:p>
            <a:endParaRPr lang="en-GB" dirty="0"/>
          </a:p>
        </p:txBody>
      </p:sp>
    </p:spTree>
    <p:custDataLst>
      <p:tags r:id="rId1"/>
    </p:custDataLst>
    <p:extLst>
      <p:ext uri="{BB962C8B-B14F-4D97-AF65-F5344CB8AC3E}">
        <p14:creationId xmlns:p14="http://schemas.microsoft.com/office/powerpoint/2010/main" val="84395107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our Column">
    <p:spTree>
      <p:nvGrpSpPr>
        <p:cNvPr id="1" name=""/>
        <p:cNvGrpSpPr/>
        <p:nvPr/>
      </p:nvGrpSpPr>
      <p:grpSpPr>
        <a:xfrm>
          <a:off x="0" y="0"/>
          <a:ext cx="0" cy="0"/>
          <a:chOff x="0" y="0"/>
          <a:chExt cx="0" cy="0"/>
        </a:xfrm>
      </p:grpSpPr>
      <p:sp>
        <p:nvSpPr>
          <p:cNvPr id="20" name="Content Placeholder 7">
            <a:extLst>
              <a:ext uri="{FF2B5EF4-FFF2-40B4-BE49-F238E27FC236}">
                <a16:creationId xmlns:a16="http://schemas.microsoft.com/office/drawing/2014/main" id="{DDE739AD-5980-4E0D-B84C-F2EB05361B57}"/>
              </a:ext>
            </a:extLst>
          </p:cNvPr>
          <p:cNvSpPr>
            <a:spLocks noGrp="1"/>
          </p:cNvSpPr>
          <p:nvPr>
            <p:ph sz="quarter" idx="27" hasCustomPrompt="1"/>
          </p:nvPr>
        </p:nvSpPr>
        <p:spPr>
          <a:xfrm>
            <a:off x="9192113" y="2566568"/>
            <a:ext cx="2376000" cy="3230565"/>
          </a:xfrm>
          <a:ln>
            <a:solidFill>
              <a:schemeClr val="bg1">
                <a:alpha val="0"/>
              </a:schemeClr>
            </a:solidFill>
          </a:ln>
        </p:spPr>
        <p:txBody>
          <a:bodyPr/>
          <a:lstStyle/>
          <a:p>
            <a:pPr lvl="0"/>
            <a:r>
              <a:rPr lang="en-US" dirty="0"/>
              <a:t>Bullet level 1</a:t>
            </a:r>
          </a:p>
          <a:p>
            <a:pPr lvl="1"/>
            <a:r>
              <a:rPr lang="en-US" dirty="0"/>
              <a:t>Second level</a:t>
            </a:r>
          </a:p>
          <a:p>
            <a:pPr lvl="2"/>
            <a:r>
              <a:rPr lang="en-US" dirty="0"/>
              <a:t>Third level</a:t>
            </a:r>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7" cy="548640"/>
          </a:xfrm>
        </p:spPr>
        <p:txBody>
          <a:bodyPr/>
          <a:lstStyle>
            <a:lvl1pPr>
              <a:defRPr/>
            </a:lvl1pPr>
          </a:lstStyle>
          <a:p>
            <a:r>
              <a:rPr lang="en-US" dirty="0"/>
              <a:t>H1 placeholder.</a:t>
            </a:r>
            <a:endParaRPr lang="en-GB" dirty="0"/>
          </a:p>
        </p:txBody>
      </p:sp>
      <p:sp>
        <p:nvSpPr>
          <p:cNvPr id="28" name="Text Placeholder 21">
            <a:extLst>
              <a:ext uri="{FF2B5EF4-FFF2-40B4-BE49-F238E27FC236}">
                <a16:creationId xmlns:a16="http://schemas.microsoft.com/office/drawing/2014/main" id="{6077B1DF-0E6D-437A-9F03-5E9FC70C61C1}"/>
              </a:ext>
            </a:extLst>
          </p:cNvPr>
          <p:cNvSpPr>
            <a:spLocks noGrp="1"/>
          </p:cNvSpPr>
          <p:nvPr>
            <p:ph type="body" sz="quarter" idx="37" hasCustomPrompt="1"/>
          </p:nvPr>
        </p:nvSpPr>
        <p:spPr>
          <a:xfrm>
            <a:off x="587375" y="1428334"/>
            <a:ext cx="10980738" cy="1048904"/>
          </a:xfrm>
        </p:spPr>
        <p:txBody>
          <a:bodyPr/>
          <a:lstStyle>
            <a:lvl1pPr marL="0" indent="0">
              <a:buFont typeface="Arial" panose="020B0604020202020204" pitchFamily="34" charset="0"/>
              <a:buChar char="​"/>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14" name="Slide Number Placeholder 13">
            <a:extLst>
              <a:ext uri="{FF2B5EF4-FFF2-40B4-BE49-F238E27FC236}">
                <a16:creationId xmlns:a16="http://schemas.microsoft.com/office/drawing/2014/main" id="{AA8994CB-4CC5-453D-A8D7-C0647FB5B55D}"/>
              </a:ext>
            </a:extLst>
          </p:cNvPr>
          <p:cNvSpPr>
            <a:spLocks noGrp="1"/>
          </p:cNvSpPr>
          <p:nvPr>
            <p:ph type="sldNum" sz="quarter" idx="43"/>
          </p:nvPr>
        </p:nvSpPr>
        <p:spPr/>
        <p:txBody>
          <a:bodyPr/>
          <a:lstStyle/>
          <a:p>
            <a:fld id="{2604F1CA-F590-4AD7-82C4-33C5478F726E}" type="slidenum">
              <a:rPr lang="en-GB" smtClean="0"/>
              <a:pPr/>
              <a:t>‹#›</a:t>
            </a:fld>
            <a:endParaRPr lang="en-GB" dirty="0"/>
          </a:p>
        </p:txBody>
      </p:sp>
      <p:sp>
        <p:nvSpPr>
          <p:cNvPr id="11" name="Content Placeholder 4">
            <a:extLst>
              <a:ext uri="{FF2B5EF4-FFF2-40B4-BE49-F238E27FC236}">
                <a16:creationId xmlns:a16="http://schemas.microsoft.com/office/drawing/2014/main" id="{03FC7343-0352-4874-A290-391F53EA9710}"/>
              </a:ext>
            </a:extLst>
          </p:cNvPr>
          <p:cNvSpPr>
            <a:spLocks noGrp="1"/>
          </p:cNvSpPr>
          <p:nvPr>
            <p:ph sz="quarter" idx="25" hasCustomPrompt="1"/>
          </p:nvPr>
        </p:nvSpPr>
        <p:spPr>
          <a:xfrm>
            <a:off x="587376" y="2566568"/>
            <a:ext cx="2375999" cy="3230563"/>
          </a:xfrm>
          <a:prstGeom prst="callout1">
            <a:avLst>
              <a:gd name="adj1" fmla="val 1492"/>
              <a:gd name="adj2" fmla="val 110261"/>
              <a:gd name="adj3" fmla="val 92739"/>
              <a:gd name="adj4" fmla="val 110208"/>
            </a:avLst>
          </a:prstGeom>
          <a:ln>
            <a:solidFill>
              <a:srgbClr val="BCBEC0"/>
            </a:solidFill>
          </a:ln>
        </p:spPr>
        <p:txBody>
          <a:bodyPr/>
          <a:lstStyle>
            <a:lvl1pPr>
              <a:defRPr/>
            </a:lvl1pPr>
          </a:lstStyle>
          <a:p>
            <a:pPr lvl="0"/>
            <a:r>
              <a:rPr lang="en-US" dirty="0"/>
              <a:t>Bullet level 1</a:t>
            </a:r>
          </a:p>
          <a:p>
            <a:pPr lvl="1"/>
            <a:r>
              <a:rPr lang="en-US" dirty="0"/>
              <a:t>Second level</a:t>
            </a:r>
          </a:p>
          <a:p>
            <a:pPr lvl="2"/>
            <a:r>
              <a:rPr lang="en-US" dirty="0"/>
              <a:t>Third level</a:t>
            </a:r>
          </a:p>
        </p:txBody>
      </p:sp>
      <p:sp>
        <p:nvSpPr>
          <p:cNvPr id="16" name="Content Placeholder 4">
            <a:extLst>
              <a:ext uri="{FF2B5EF4-FFF2-40B4-BE49-F238E27FC236}">
                <a16:creationId xmlns:a16="http://schemas.microsoft.com/office/drawing/2014/main" id="{E72365BE-5B5C-4545-8907-1B40E8A35AAF}"/>
              </a:ext>
            </a:extLst>
          </p:cNvPr>
          <p:cNvSpPr>
            <a:spLocks noGrp="1"/>
          </p:cNvSpPr>
          <p:nvPr>
            <p:ph sz="quarter" idx="44" hasCustomPrompt="1"/>
          </p:nvPr>
        </p:nvSpPr>
        <p:spPr>
          <a:xfrm>
            <a:off x="3455622" y="2566568"/>
            <a:ext cx="2375999" cy="3230563"/>
          </a:xfrm>
          <a:prstGeom prst="callout1">
            <a:avLst>
              <a:gd name="adj1" fmla="val 1492"/>
              <a:gd name="adj2" fmla="val 110261"/>
              <a:gd name="adj3" fmla="val 92739"/>
              <a:gd name="adj4" fmla="val 110208"/>
            </a:avLst>
          </a:prstGeom>
          <a:ln>
            <a:solidFill>
              <a:srgbClr val="BCBEC0"/>
            </a:solidFill>
          </a:ln>
        </p:spPr>
        <p:txBody>
          <a:bodyPr/>
          <a:lstStyle>
            <a:lvl1pPr>
              <a:defRPr/>
            </a:lvl1pPr>
          </a:lstStyle>
          <a:p>
            <a:pPr lvl="0"/>
            <a:r>
              <a:rPr lang="en-US" dirty="0"/>
              <a:t>Bullet level 1</a:t>
            </a:r>
          </a:p>
          <a:p>
            <a:pPr lvl="1"/>
            <a:r>
              <a:rPr lang="en-US" dirty="0"/>
              <a:t>Second level</a:t>
            </a:r>
          </a:p>
          <a:p>
            <a:pPr lvl="2"/>
            <a:r>
              <a:rPr lang="en-US" dirty="0"/>
              <a:t>Third level</a:t>
            </a:r>
          </a:p>
        </p:txBody>
      </p:sp>
      <p:sp>
        <p:nvSpPr>
          <p:cNvPr id="17" name="Content Placeholder 4">
            <a:extLst>
              <a:ext uri="{FF2B5EF4-FFF2-40B4-BE49-F238E27FC236}">
                <a16:creationId xmlns:a16="http://schemas.microsoft.com/office/drawing/2014/main" id="{80803A9E-59C1-41C5-9AF1-AFC64606BE81}"/>
              </a:ext>
            </a:extLst>
          </p:cNvPr>
          <p:cNvSpPr>
            <a:spLocks noGrp="1"/>
          </p:cNvSpPr>
          <p:nvPr>
            <p:ph sz="quarter" idx="45" hasCustomPrompt="1"/>
          </p:nvPr>
        </p:nvSpPr>
        <p:spPr>
          <a:xfrm>
            <a:off x="6323868" y="2566568"/>
            <a:ext cx="2375999" cy="3230563"/>
          </a:xfrm>
          <a:prstGeom prst="callout1">
            <a:avLst>
              <a:gd name="adj1" fmla="val 1492"/>
              <a:gd name="adj2" fmla="val 110261"/>
              <a:gd name="adj3" fmla="val 92739"/>
              <a:gd name="adj4" fmla="val 110208"/>
            </a:avLst>
          </a:prstGeom>
          <a:ln>
            <a:solidFill>
              <a:srgbClr val="BCBEC0"/>
            </a:solidFill>
          </a:ln>
        </p:spPr>
        <p:txBody>
          <a:bodyPr/>
          <a:lstStyle>
            <a:lvl1pPr>
              <a:defRPr/>
            </a:lvl1pPr>
          </a:lstStyle>
          <a:p>
            <a:pPr lvl="0"/>
            <a:r>
              <a:rPr lang="en-US" dirty="0"/>
              <a:t>Bullet level 1</a:t>
            </a:r>
          </a:p>
          <a:p>
            <a:pPr lvl="1"/>
            <a:r>
              <a:rPr lang="en-US" dirty="0"/>
              <a:t>Second level</a:t>
            </a:r>
          </a:p>
          <a:p>
            <a:pPr lvl="2"/>
            <a:r>
              <a:rPr lang="en-US" dirty="0"/>
              <a:t>Third level</a:t>
            </a:r>
          </a:p>
        </p:txBody>
      </p:sp>
      <p:sp>
        <p:nvSpPr>
          <p:cNvPr id="10" name="Footer Placeholder 11">
            <a:extLst>
              <a:ext uri="{FF2B5EF4-FFF2-40B4-BE49-F238E27FC236}">
                <a16:creationId xmlns:a16="http://schemas.microsoft.com/office/drawing/2014/main" id="{7A462E56-078A-4360-BFB6-470729B5621E}"/>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298542138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Card White">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B8882182-E9AF-4F43-8965-F8083F60F3CE}"/>
              </a:ext>
            </a:extLst>
          </p:cNvPr>
          <p:cNvSpPr>
            <a:spLocks noChangeAspect="1"/>
          </p:cNvSpPr>
          <p:nvPr userDrawn="1"/>
        </p:nvSpPr>
        <p:spPr>
          <a:xfrm>
            <a:off x="10475976" y="1431636"/>
            <a:ext cx="1716024" cy="1784788"/>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F0F0F0"/>
          </a:solidFill>
          <a:ln w="9525" cap="flat">
            <a:noFill/>
            <a:prstDash val="solid"/>
            <a:miter/>
          </a:ln>
        </p:spPr>
        <p:txBody>
          <a:bodyPr rtlCol="0" anchor="ctr"/>
          <a:lstStyle/>
          <a:p>
            <a:endParaRPr lang="en-GB" dirty="0"/>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a:lstStyle>
            <a:lvl1pPr>
              <a:defRPr/>
            </a:lvl1pPr>
          </a:lstStyle>
          <a:p>
            <a:r>
              <a:rPr lang="en-US" dirty="0"/>
              <a:t>H1 placeholder.</a:t>
            </a:r>
            <a:endParaRPr lang="en-GB" dirty="0"/>
          </a:p>
        </p:txBody>
      </p:sp>
      <p:sp>
        <p:nvSpPr>
          <p:cNvPr id="64" name="Text Placeholder 21">
            <a:extLst>
              <a:ext uri="{FF2B5EF4-FFF2-40B4-BE49-F238E27FC236}">
                <a16:creationId xmlns:a16="http://schemas.microsoft.com/office/drawing/2014/main" id="{2FFED78A-DFC8-4249-A315-C4F755B57D4F}"/>
              </a:ext>
            </a:extLst>
          </p:cNvPr>
          <p:cNvSpPr>
            <a:spLocks noGrp="1"/>
          </p:cNvSpPr>
          <p:nvPr>
            <p:ph type="body" sz="quarter" idx="41" hasCustomPrompt="1"/>
          </p:nvPr>
        </p:nvSpPr>
        <p:spPr>
          <a:xfrm>
            <a:off x="587374" y="1426464"/>
            <a:ext cx="9888601" cy="1048904"/>
          </a:xfrm>
        </p:spPr>
        <p:txBody>
          <a:bodyPr/>
          <a:lstStyle>
            <a:lvl1pPr marL="0" indent="0">
              <a:buFont typeface="Arial" panose="020B0604020202020204" pitchFamily="34" charset="0"/>
              <a:buChar char="​"/>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77" name="Text Placeholder 48">
            <a:extLst>
              <a:ext uri="{FF2B5EF4-FFF2-40B4-BE49-F238E27FC236}">
                <a16:creationId xmlns:a16="http://schemas.microsoft.com/office/drawing/2014/main" id="{9A50676A-AA83-46CD-993F-E120F6A35499}"/>
              </a:ext>
            </a:extLst>
          </p:cNvPr>
          <p:cNvSpPr>
            <a:spLocks noGrp="1"/>
          </p:cNvSpPr>
          <p:nvPr>
            <p:ph type="body" sz="quarter" idx="42" hasCustomPrompt="1"/>
          </p:nvPr>
        </p:nvSpPr>
        <p:spPr>
          <a:xfrm>
            <a:off x="587375" y="2567313"/>
            <a:ext cx="2374438"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9" name="Text Placeholder 52">
            <a:extLst>
              <a:ext uri="{FF2B5EF4-FFF2-40B4-BE49-F238E27FC236}">
                <a16:creationId xmlns:a16="http://schemas.microsoft.com/office/drawing/2014/main" id="{9145594D-1656-4931-8C10-2201D70342ED}"/>
              </a:ext>
            </a:extLst>
          </p:cNvPr>
          <p:cNvSpPr>
            <a:spLocks noGrp="1"/>
          </p:cNvSpPr>
          <p:nvPr>
            <p:ph type="body" sz="quarter" idx="44" hasCustomPrompt="1"/>
          </p:nvPr>
        </p:nvSpPr>
        <p:spPr>
          <a:xfrm>
            <a:off x="736878" y="3290911"/>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80" name="Text Placeholder 54">
            <a:extLst>
              <a:ext uri="{FF2B5EF4-FFF2-40B4-BE49-F238E27FC236}">
                <a16:creationId xmlns:a16="http://schemas.microsoft.com/office/drawing/2014/main" id="{553C7A6B-694C-4230-A9B4-2F8446026AAA}"/>
              </a:ext>
            </a:extLst>
          </p:cNvPr>
          <p:cNvSpPr>
            <a:spLocks noGrp="1"/>
          </p:cNvSpPr>
          <p:nvPr>
            <p:ph type="body" sz="quarter" idx="45" hasCustomPrompt="1"/>
          </p:nvPr>
        </p:nvSpPr>
        <p:spPr>
          <a:xfrm>
            <a:off x="736878" y="3772358"/>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90" name="Text Placeholder 50">
            <a:extLst>
              <a:ext uri="{FF2B5EF4-FFF2-40B4-BE49-F238E27FC236}">
                <a16:creationId xmlns:a16="http://schemas.microsoft.com/office/drawing/2014/main" id="{8520C199-53B2-4514-9CF3-C278247C5DDA}"/>
              </a:ext>
            </a:extLst>
          </p:cNvPr>
          <p:cNvSpPr>
            <a:spLocks noGrp="1"/>
          </p:cNvSpPr>
          <p:nvPr>
            <p:ph type="body" sz="quarter" idx="47" hasCustomPrompt="1"/>
          </p:nvPr>
        </p:nvSpPr>
        <p:spPr>
          <a:xfrm>
            <a:off x="736878" y="2731545"/>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102" name="Text Placeholder 48">
            <a:extLst>
              <a:ext uri="{FF2B5EF4-FFF2-40B4-BE49-F238E27FC236}">
                <a16:creationId xmlns:a16="http://schemas.microsoft.com/office/drawing/2014/main" id="{A53B4959-7385-4A69-BCA2-93AB2815F66B}"/>
              </a:ext>
            </a:extLst>
          </p:cNvPr>
          <p:cNvSpPr>
            <a:spLocks noGrp="1"/>
          </p:cNvSpPr>
          <p:nvPr>
            <p:ph type="body" sz="quarter" idx="49" hasCustomPrompt="1"/>
          </p:nvPr>
        </p:nvSpPr>
        <p:spPr>
          <a:xfrm>
            <a:off x="9193675" y="2567313"/>
            <a:ext cx="2374438"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03" name="Text Placeholder 52">
            <a:extLst>
              <a:ext uri="{FF2B5EF4-FFF2-40B4-BE49-F238E27FC236}">
                <a16:creationId xmlns:a16="http://schemas.microsoft.com/office/drawing/2014/main" id="{1010AE40-A5D4-48CB-B2BD-A6ACC55CBBE8}"/>
              </a:ext>
            </a:extLst>
          </p:cNvPr>
          <p:cNvSpPr>
            <a:spLocks noGrp="1"/>
          </p:cNvSpPr>
          <p:nvPr>
            <p:ph type="body" sz="quarter" idx="50" hasCustomPrompt="1"/>
          </p:nvPr>
        </p:nvSpPr>
        <p:spPr>
          <a:xfrm>
            <a:off x="9349941" y="3290911"/>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104" name="Text Placeholder 54">
            <a:extLst>
              <a:ext uri="{FF2B5EF4-FFF2-40B4-BE49-F238E27FC236}">
                <a16:creationId xmlns:a16="http://schemas.microsoft.com/office/drawing/2014/main" id="{F7FF6FA2-6005-4DCF-9C1C-8D2891420734}"/>
              </a:ext>
            </a:extLst>
          </p:cNvPr>
          <p:cNvSpPr>
            <a:spLocks noGrp="1"/>
          </p:cNvSpPr>
          <p:nvPr>
            <p:ph type="body" sz="quarter" idx="51" hasCustomPrompt="1"/>
          </p:nvPr>
        </p:nvSpPr>
        <p:spPr>
          <a:xfrm>
            <a:off x="9349941" y="3772358"/>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105" name="Text Placeholder 50">
            <a:extLst>
              <a:ext uri="{FF2B5EF4-FFF2-40B4-BE49-F238E27FC236}">
                <a16:creationId xmlns:a16="http://schemas.microsoft.com/office/drawing/2014/main" id="{067B9AC0-8BD9-4C6B-9513-DDF58D9BCD63}"/>
              </a:ext>
            </a:extLst>
          </p:cNvPr>
          <p:cNvSpPr>
            <a:spLocks noGrp="1"/>
          </p:cNvSpPr>
          <p:nvPr>
            <p:ph type="body" sz="quarter" idx="52" hasCustomPrompt="1"/>
          </p:nvPr>
        </p:nvSpPr>
        <p:spPr>
          <a:xfrm>
            <a:off x="9349941" y="2731545"/>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107" name="Text Placeholder 48">
            <a:extLst>
              <a:ext uri="{FF2B5EF4-FFF2-40B4-BE49-F238E27FC236}">
                <a16:creationId xmlns:a16="http://schemas.microsoft.com/office/drawing/2014/main" id="{59CD77CD-6E19-48C1-8E0D-C52AF952D26F}"/>
              </a:ext>
            </a:extLst>
          </p:cNvPr>
          <p:cNvSpPr>
            <a:spLocks noGrp="1"/>
          </p:cNvSpPr>
          <p:nvPr>
            <p:ph type="body" sz="quarter" idx="54" hasCustomPrompt="1"/>
          </p:nvPr>
        </p:nvSpPr>
        <p:spPr>
          <a:xfrm>
            <a:off x="6324909" y="2567313"/>
            <a:ext cx="2374438"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08" name="Text Placeholder 52">
            <a:extLst>
              <a:ext uri="{FF2B5EF4-FFF2-40B4-BE49-F238E27FC236}">
                <a16:creationId xmlns:a16="http://schemas.microsoft.com/office/drawing/2014/main" id="{3BE07E0F-F140-4B4F-8054-D7A5588523C3}"/>
              </a:ext>
            </a:extLst>
          </p:cNvPr>
          <p:cNvSpPr>
            <a:spLocks noGrp="1"/>
          </p:cNvSpPr>
          <p:nvPr>
            <p:ph type="body" sz="quarter" idx="55" hasCustomPrompt="1"/>
          </p:nvPr>
        </p:nvSpPr>
        <p:spPr>
          <a:xfrm>
            <a:off x="6481175" y="3290911"/>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109" name="Text Placeholder 54">
            <a:extLst>
              <a:ext uri="{FF2B5EF4-FFF2-40B4-BE49-F238E27FC236}">
                <a16:creationId xmlns:a16="http://schemas.microsoft.com/office/drawing/2014/main" id="{CD867CF6-751F-4DC8-8B6C-8A0A17EA047D}"/>
              </a:ext>
            </a:extLst>
          </p:cNvPr>
          <p:cNvSpPr>
            <a:spLocks noGrp="1"/>
          </p:cNvSpPr>
          <p:nvPr>
            <p:ph type="body" sz="quarter" idx="56" hasCustomPrompt="1"/>
          </p:nvPr>
        </p:nvSpPr>
        <p:spPr>
          <a:xfrm>
            <a:off x="6481175" y="3772358"/>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110" name="Text Placeholder 50">
            <a:extLst>
              <a:ext uri="{FF2B5EF4-FFF2-40B4-BE49-F238E27FC236}">
                <a16:creationId xmlns:a16="http://schemas.microsoft.com/office/drawing/2014/main" id="{E0485650-3795-4A5A-B6EF-0F11A66AD83E}"/>
              </a:ext>
            </a:extLst>
          </p:cNvPr>
          <p:cNvSpPr>
            <a:spLocks noGrp="1"/>
          </p:cNvSpPr>
          <p:nvPr>
            <p:ph type="body" sz="quarter" idx="57" hasCustomPrompt="1"/>
          </p:nvPr>
        </p:nvSpPr>
        <p:spPr>
          <a:xfrm>
            <a:off x="6481175" y="2731545"/>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112" name="Text Placeholder 48">
            <a:extLst>
              <a:ext uri="{FF2B5EF4-FFF2-40B4-BE49-F238E27FC236}">
                <a16:creationId xmlns:a16="http://schemas.microsoft.com/office/drawing/2014/main" id="{B1C71168-A8C2-46BC-862A-E6FF8820F84C}"/>
              </a:ext>
            </a:extLst>
          </p:cNvPr>
          <p:cNvSpPr>
            <a:spLocks noGrp="1"/>
          </p:cNvSpPr>
          <p:nvPr>
            <p:ph type="body" sz="quarter" idx="59" hasCustomPrompt="1"/>
          </p:nvPr>
        </p:nvSpPr>
        <p:spPr>
          <a:xfrm>
            <a:off x="3456142" y="2567313"/>
            <a:ext cx="2374438"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13" name="Text Placeholder 52">
            <a:extLst>
              <a:ext uri="{FF2B5EF4-FFF2-40B4-BE49-F238E27FC236}">
                <a16:creationId xmlns:a16="http://schemas.microsoft.com/office/drawing/2014/main" id="{A5D321D1-93B5-42D5-B16C-4FBBD72CC338}"/>
              </a:ext>
            </a:extLst>
          </p:cNvPr>
          <p:cNvSpPr>
            <a:spLocks noGrp="1"/>
          </p:cNvSpPr>
          <p:nvPr>
            <p:ph type="body" sz="quarter" idx="60" hasCustomPrompt="1"/>
          </p:nvPr>
        </p:nvSpPr>
        <p:spPr>
          <a:xfrm>
            <a:off x="3612408" y="3290911"/>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114" name="Text Placeholder 54">
            <a:extLst>
              <a:ext uri="{FF2B5EF4-FFF2-40B4-BE49-F238E27FC236}">
                <a16:creationId xmlns:a16="http://schemas.microsoft.com/office/drawing/2014/main" id="{56DB72A9-8797-4B56-9A03-F7C85EB5E745}"/>
              </a:ext>
            </a:extLst>
          </p:cNvPr>
          <p:cNvSpPr>
            <a:spLocks noGrp="1"/>
          </p:cNvSpPr>
          <p:nvPr>
            <p:ph type="body" sz="quarter" idx="61" hasCustomPrompt="1"/>
          </p:nvPr>
        </p:nvSpPr>
        <p:spPr>
          <a:xfrm>
            <a:off x="3612408" y="3772358"/>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115" name="Text Placeholder 50">
            <a:extLst>
              <a:ext uri="{FF2B5EF4-FFF2-40B4-BE49-F238E27FC236}">
                <a16:creationId xmlns:a16="http://schemas.microsoft.com/office/drawing/2014/main" id="{734C4E96-EBFA-4560-82FF-DB1CB6232A0D}"/>
              </a:ext>
            </a:extLst>
          </p:cNvPr>
          <p:cNvSpPr>
            <a:spLocks noGrp="1"/>
          </p:cNvSpPr>
          <p:nvPr>
            <p:ph type="body" sz="quarter" idx="62" hasCustomPrompt="1"/>
          </p:nvPr>
        </p:nvSpPr>
        <p:spPr>
          <a:xfrm>
            <a:off x="3612408" y="2731545"/>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6" name="Slide Number Placeholder 5">
            <a:extLst>
              <a:ext uri="{FF2B5EF4-FFF2-40B4-BE49-F238E27FC236}">
                <a16:creationId xmlns:a16="http://schemas.microsoft.com/office/drawing/2014/main" id="{64EF6695-BC07-4F89-8888-78ECD75DC714}"/>
              </a:ext>
            </a:extLst>
          </p:cNvPr>
          <p:cNvSpPr>
            <a:spLocks noGrp="1"/>
          </p:cNvSpPr>
          <p:nvPr>
            <p:ph type="sldNum" sz="quarter" idx="65"/>
          </p:nvPr>
        </p:nvSpPr>
        <p:spPr/>
        <p:txBody>
          <a:bodyPr/>
          <a:lstStyle/>
          <a:p>
            <a:fld id="{2604F1CA-F590-4AD7-82C4-33C5478F726E}" type="slidenum">
              <a:rPr lang="en-GB" smtClean="0"/>
              <a:pPr/>
              <a:t>‹#›</a:t>
            </a:fld>
            <a:endParaRPr lang="en-GB" dirty="0"/>
          </a:p>
        </p:txBody>
      </p:sp>
      <p:sp>
        <p:nvSpPr>
          <p:cNvPr id="23" name="Footer Placeholder 11">
            <a:extLst>
              <a:ext uri="{FF2B5EF4-FFF2-40B4-BE49-F238E27FC236}">
                <a16:creationId xmlns:a16="http://schemas.microsoft.com/office/drawing/2014/main" id="{E5EBF3A4-D17B-4E16-B4F9-21D31949E26D}"/>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2444775650"/>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ard White with Icon Placeholders">
    <p:spTree>
      <p:nvGrpSpPr>
        <p:cNvPr id="1" name=""/>
        <p:cNvGrpSpPr/>
        <p:nvPr/>
      </p:nvGrpSpPr>
      <p:grpSpPr>
        <a:xfrm>
          <a:off x="0" y="0"/>
          <a:ext cx="0" cy="0"/>
          <a:chOff x="0" y="0"/>
          <a:chExt cx="0" cy="0"/>
        </a:xfrm>
      </p:grpSpPr>
      <p:sp>
        <p:nvSpPr>
          <p:cNvPr id="30" name="Freeform: Shape 29">
            <a:extLst>
              <a:ext uri="{FF2B5EF4-FFF2-40B4-BE49-F238E27FC236}">
                <a16:creationId xmlns:a16="http://schemas.microsoft.com/office/drawing/2014/main" id="{B8882182-E9AF-4F43-8965-F8083F60F3CE}"/>
              </a:ext>
            </a:extLst>
          </p:cNvPr>
          <p:cNvSpPr>
            <a:spLocks noChangeAspect="1"/>
          </p:cNvSpPr>
          <p:nvPr userDrawn="1"/>
        </p:nvSpPr>
        <p:spPr>
          <a:xfrm>
            <a:off x="10475976" y="1431636"/>
            <a:ext cx="1716024" cy="1784788"/>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F0F0F0"/>
          </a:solidFill>
          <a:ln w="9525" cap="flat">
            <a:noFill/>
            <a:prstDash val="solid"/>
            <a:miter/>
          </a:ln>
        </p:spPr>
        <p:txBody>
          <a:bodyPr rtlCol="0" anchor="ctr"/>
          <a:lstStyle/>
          <a:p>
            <a:endParaRPr lang="en-GB" dirty="0"/>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anchor="ctr"/>
          <a:lstStyle>
            <a:lvl1pPr>
              <a:defRPr/>
            </a:lvl1pPr>
          </a:lstStyle>
          <a:p>
            <a:r>
              <a:rPr lang="en-US" dirty="0"/>
              <a:t>H1 placeholder.</a:t>
            </a:r>
            <a:endParaRPr lang="en-GB" dirty="0"/>
          </a:p>
        </p:txBody>
      </p:sp>
      <p:sp>
        <p:nvSpPr>
          <p:cNvPr id="64" name="Text Placeholder 21">
            <a:extLst>
              <a:ext uri="{FF2B5EF4-FFF2-40B4-BE49-F238E27FC236}">
                <a16:creationId xmlns:a16="http://schemas.microsoft.com/office/drawing/2014/main" id="{2FFED78A-DFC8-4249-A315-C4F755B57D4F}"/>
              </a:ext>
            </a:extLst>
          </p:cNvPr>
          <p:cNvSpPr>
            <a:spLocks noGrp="1"/>
          </p:cNvSpPr>
          <p:nvPr>
            <p:ph type="body" sz="quarter" idx="41" hasCustomPrompt="1"/>
          </p:nvPr>
        </p:nvSpPr>
        <p:spPr>
          <a:xfrm>
            <a:off x="587375" y="1426464"/>
            <a:ext cx="9888601" cy="1048904"/>
          </a:xfrm>
        </p:spPr>
        <p:txBody>
          <a:bodyPr/>
          <a:lstStyle>
            <a:lvl1pPr marL="0" indent="0">
              <a:buFont typeface="Arial" panose="020B0604020202020204" pitchFamily="34" charset="0"/>
              <a:buChar char="​"/>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77" name="Text Placeholder 48">
            <a:extLst>
              <a:ext uri="{FF2B5EF4-FFF2-40B4-BE49-F238E27FC236}">
                <a16:creationId xmlns:a16="http://schemas.microsoft.com/office/drawing/2014/main" id="{9A50676A-AA83-46CD-993F-E120F6A35499}"/>
              </a:ext>
            </a:extLst>
          </p:cNvPr>
          <p:cNvSpPr>
            <a:spLocks noGrp="1"/>
          </p:cNvSpPr>
          <p:nvPr>
            <p:ph type="body" sz="quarter" idx="42" hasCustomPrompt="1"/>
          </p:nvPr>
        </p:nvSpPr>
        <p:spPr>
          <a:xfrm>
            <a:off x="587375" y="2567310"/>
            <a:ext cx="2374438"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9" name="Text Placeholder 52">
            <a:extLst>
              <a:ext uri="{FF2B5EF4-FFF2-40B4-BE49-F238E27FC236}">
                <a16:creationId xmlns:a16="http://schemas.microsoft.com/office/drawing/2014/main" id="{9145594D-1656-4931-8C10-2201D70342ED}"/>
              </a:ext>
            </a:extLst>
          </p:cNvPr>
          <p:cNvSpPr>
            <a:spLocks noGrp="1"/>
          </p:cNvSpPr>
          <p:nvPr>
            <p:ph type="body" sz="quarter" idx="44" hasCustomPrompt="1"/>
          </p:nvPr>
        </p:nvSpPr>
        <p:spPr>
          <a:xfrm>
            <a:off x="736878" y="3290908"/>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80" name="Text Placeholder 54">
            <a:extLst>
              <a:ext uri="{FF2B5EF4-FFF2-40B4-BE49-F238E27FC236}">
                <a16:creationId xmlns:a16="http://schemas.microsoft.com/office/drawing/2014/main" id="{553C7A6B-694C-4230-A9B4-2F8446026AAA}"/>
              </a:ext>
            </a:extLst>
          </p:cNvPr>
          <p:cNvSpPr>
            <a:spLocks noGrp="1"/>
          </p:cNvSpPr>
          <p:nvPr>
            <p:ph type="body" sz="quarter" idx="45" hasCustomPrompt="1"/>
          </p:nvPr>
        </p:nvSpPr>
        <p:spPr>
          <a:xfrm>
            <a:off x="736878" y="3772355"/>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102" name="Text Placeholder 48">
            <a:extLst>
              <a:ext uri="{FF2B5EF4-FFF2-40B4-BE49-F238E27FC236}">
                <a16:creationId xmlns:a16="http://schemas.microsoft.com/office/drawing/2014/main" id="{A53B4959-7385-4A69-BCA2-93AB2815F66B}"/>
              </a:ext>
            </a:extLst>
          </p:cNvPr>
          <p:cNvSpPr>
            <a:spLocks noGrp="1"/>
          </p:cNvSpPr>
          <p:nvPr>
            <p:ph type="body" sz="quarter" idx="49" hasCustomPrompt="1"/>
          </p:nvPr>
        </p:nvSpPr>
        <p:spPr>
          <a:xfrm>
            <a:off x="9193675" y="2567310"/>
            <a:ext cx="2374438"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03" name="Text Placeholder 52">
            <a:extLst>
              <a:ext uri="{FF2B5EF4-FFF2-40B4-BE49-F238E27FC236}">
                <a16:creationId xmlns:a16="http://schemas.microsoft.com/office/drawing/2014/main" id="{1010AE40-A5D4-48CB-B2BD-A6ACC55CBBE8}"/>
              </a:ext>
            </a:extLst>
          </p:cNvPr>
          <p:cNvSpPr>
            <a:spLocks noGrp="1"/>
          </p:cNvSpPr>
          <p:nvPr>
            <p:ph type="body" sz="quarter" idx="50" hasCustomPrompt="1"/>
          </p:nvPr>
        </p:nvSpPr>
        <p:spPr>
          <a:xfrm>
            <a:off x="9349941" y="3290908"/>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104" name="Text Placeholder 54">
            <a:extLst>
              <a:ext uri="{FF2B5EF4-FFF2-40B4-BE49-F238E27FC236}">
                <a16:creationId xmlns:a16="http://schemas.microsoft.com/office/drawing/2014/main" id="{F7FF6FA2-6005-4DCF-9C1C-8D2891420734}"/>
              </a:ext>
            </a:extLst>
          </p:cNvPr>
          <p:cNvSpPr>
            <a:spLocks noGrp="1"/>
          </p:cNvSpPr>
          <p:nvPr>
            <p:ph type="body" sz="quarter" idx="51" hasCustomPrompt="1"/>
          </p:nvPr>
        </p:nvSpPr>
        <p:spPr>
          <a:xfrm>
            <a:off x="9349941" y="3772355"/>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107" name="Text Placeholder 48">
            <a:extLst>
              <a:ext uri="{FF2B5EF4-FFF2-40B4-BE49-F238E27FC236}">
                <a16:creationId xmlns:a16="http://schemas.microsoft.com/office/drawing/2014/main" id="{59CD77CD-6E19-48C1-8E0D-C52AF952D26F}"/>
              </a:ext>
            </a:extLst>
          </p:cNvPr>
          <p:cNvSpPr>
            <a:spLocks noGrp="1"/>
          </p:cNvSpPr>
          <p:nvPr>
            <p:ph type="body" sz="quarter" idx="54" hasCustomPrompt="1"/>
          </p:nvPr>
        </p:nvSpPr>
        <p:spPr>
          <a:xfrm>
            <a:off x="6324909" y="2567310"/>
            <a:ext cx="2374438"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08" name="Text Placeholder 52">
            <a:extLst>
              <a:ext uri="{FF2B5EF4-FFF2-40B4-BE49-F238E27FC236}">
                <a16:creationId xmlns:a16="http://schemas.microsoft.com/office/drawing/2014/main" id="{3BE07E0F-F140-4B4F-8054-D7A5588523C3}"/>
              </a:ext>
            </a:extLst>
          </p:cNvPr>
          <p:cNvSpPr>
            <a:spLocks noGrp="1"/>
          </p:cNvSpPr>
          <p:nvPr>
            <p:ph type="body" sz="quarter" idx="55" hasCustomPrompt="1"/>
          </p:nvPr>
        </p:nvSpPr>
        <p:spPr>
          <a:xfrm>
            <a:off x="6481175" y="3290908"/>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109" name="Text Placeholder 54">
            <a:extLst>
              <a:ext uri="{FF2B5EF4-FFF2-40B4-BE49-F238E27FC236}">
                <a16:creationId xmlns:a16="http://schemas.microsoft.com/office/drawing/2014/main" id="{CD867CF6-751F-4DC8-8B6C-8A0A17EA047D}"/>
              </a:ext>
            </a:extLst>
          </p:cNvPr>
          <p:cNvSpPr>
            <a:spLocks noGrp="1"/>
          </p:cNvSpPr>
          <p:nvPr>
            <p:ph type="body" sz="quarter" idx="56" hasCustomPrompt="1"/>
          </p:nvPr>
        </p:nvSpPr>
        <p:spPr>
          <a:xfrm>
            <a:off x="6481175" y="3772355"/>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112" name="Text Placeholder 48">
            <a:extLst>
              <a:ext uri="{FF2B5EF4-FFF2-40B4-BE49-F238E27FC236}">
                <a16:creationId xmlns:a16="http://schemas.microsoft.com/office/drawing/2014/main" id="{B1C71168-A8C2-46BC-862A-E6FF8820F84C}"/>
              </a:ext>
            </a:extLst>
          </p:cNvPr>
          <p:cNvSpPr>
            <a:spLocks noGrp="1"/>
          </p:cNvSpPr>
          <p:nvPr>
            <p:ph type="body" sz="quarter" idx="59" hasCustomPrompt="1"/>
          </p:nvPr>
        </p:nvSpPr>
        <p:spPr>
          <a:xfrm>
            <a:off x="3456142" y="2567310"/>
            <a:ext cx="2374438" cy="3230563"/>
          </a:xfrm>
          <a:solidFill>
            <a:schemeClr val="bg2"/>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113" name="Text Placeholder 52">
            <a:extLst>
              <a:ext uri="{FF2B5EF4-FFF2-40B4-BE49-F238E27FC236}">
                <a16:creationId xmlns:a16="http://schemas.microsoft.com/office/drawing/2014/main" id="{A5D321D1-93B5-42D5-B16C-4FBBD72CC338}"/>
              </a:ext>
            </a:extLst>
          </p:cNvPr>
          <p:cNvSpPr>
            <a:spLocks noGrp="1"/>
          </p:cNvSpPr>
          <p:nvPr>
            <p:ph type="body" sz="quarter" idx="60" hasCustomPrompt="1"/>
          </p:nvPr>
        </p:nvSpPr>
        <p:spPr>
          <a:xfrm>
            <a:off x="3612408" y="3290908"/>
            <a:ext cx="2061906" cy="472283"/>
          </a:xfrm>
        </p:spPr>
        <p:txBody>
          <a:bodyPr lIns="36000" rIns="36000">
            <a:normAutofit/>
          </a:bodyPr>
          <a:lstStyle>
            <a:lvl1pPr marL="0" indent="0">
              <a:buFont typeface="Arial" panose="020B0604020202020204" pitchFamily="34" charset="0"/>
              <a:buChar char="​"/>
              <a:defRPr sz="2000" b="1">
                <a:solidFill>
                  <a:schemeClr val="bg1"/>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114" name="Text Placeholder 54">
            <a:extLst>
              <a:ext uri="{FF2B5EF4-FFF2-40B4-BE49-F238E27FC236}">
                <a16:creationId xmlns:a16="http://schemas.microsoft.com/office/drawing/2014/main" id="{56DB72A9-8797-4B56-9A03-F7C85EB5E745}"/>
              </a:ext>
            </a:extLst>
          </p:cNvPr>
          <p:cNvSpPr>
            <a:spLocks noGrp="1"/>
          </p:cNvSpPr>
          <p:nvPr>
            <p:ph type="body" sz="quarter" idx="61" hasCustomPrompt="1"/>
          </p:nvPr>
        </p:nvSpPr>
        <p:spPr>
          <a:xfrm>
            <a:off x="3612408" y="3772355"/>
            <a:ext cx="2061906" cy="1888546"/>
          </a:xfrm>
        </p:spPr>
        <p:txBody>
          <a:bodyPr lIns="36000" rIns="36000">
            <a:normAutofit/>
          </a:bodyPr>
          <a:lstStyle>
            <a:lvl1pPr marL="0" indent="0">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6" name="Slide Number Placeholder 5">
            <a:extLst>
              <a:ext uri="{FF2B5EF4-FFF2-40B4-BE49-F238E27FC236}">
                <a16:creationId xmlns:a16="http://schemas.microsoft.com/office/drawing/2014/main" id="{64EF6695-BC07-4F89-8888-78ECD75DC714}"/>
              </a:ext>
            </a:extLst>
          </p:cNvPr>
          <p:cNvSpPr>
            <a:spLocks noGrp="1"/>
          </p:cNvSpPr>
          <p:nvPr>
            <p:ph type="sldNum" sz="quarter" idx="65"/>
          </p:nvPr>
        </p:nvSpPr>
        <p:spPr/>
        <p:txBody>
          <a:bodyPr/>
          <a:lstStyle/>
          <a:p>
            <a:fld id="{2604F1CA-F590-4AD7-82C4-33C5478F726E}" type="slidenum">
              <a:rPr lang="en-GB" smtClean="0"/>
              <a:pPr/>
              <a:t>‹#›</a:t>
            </a:fld>
            <a:endParaRPr lang="en-GB" dirty="0"/>
          </a:p>
        </p:txBody>
      </p:sp>
      <p:sp>
        <p:nvSpPr>
          <p:cNvPr id="41" name="Picture Placeholder 40">
            <a:extLst>
              <a:ext uri="{FF2B5EF4-FFF2-40B4-BE49-F238E27FC236}">
                <a16:creationId xmlns:a16="http://schemas.microsoft.com/office/drawing/2014/main" id="{94D482B7-E96C-4340-AAAD-1651323B005B}"/>
              </a:ext>
            </a:extLst>
          </p:cNvPr>
          <p:cNvSpPr>
            <a:spLocks noGrp="1"/>
          </p:cNvSpPr>
          <p:nvPr>
            <p:ph type="pic" sz="quarter" idx="66" hasCustomPrompt="1"/>
          </p:nvPr>
        </p:nvSpPr>
        <p:spPr>
          <a:xfrm>
            <a:off x="736878" y="2641376"/>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42" name="Picture Placeholder 41">
            <a:extLst>
              <a:ext uri="{FF2B5EF4-FFF2-40B4-BE49-F238E27FC236}">
                <a16:creationId xmlns:a16="http://schemas.microsoft.com/office/drawing/2014/main" id="{5FBCF059-1F0A-41D7-AA85-E5207B4607FA}"/>
              </a:ext>
            </a:extLst>
          </p:cNvPr>
          <p:cNvSpPr>
            <a:spLocks noGrp="1"/>
          </p:cNvSpPr>
          <p:nvPr>
            <p:ph type="pic" sz="quarter" idx="67" hasCustomPrompt="1"/>
          </p:nvPr>
        </p:nvSpPr>
        <p:spPr>
          <a:xfrm>
            <a:off x="3612408" y="2641376"/>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43" name="Picture Placeholder 42">
            <a:extLst>
              <a:ext uri="{FF2B5EF4-FFF2-40B4-BE49-F238E27FC236}">
                <a16:creationId xmlns:a16="http://schemas.microsoft.com/office/drawing/2014/main" id="{C08D8554-3972-41AC-A558-004865CB0E3F}"/>
              </a:ext>
            </a:extLst>
          </p:cNvPr>
          <p:cNvSpPr>
            <a:spLocks noGrp="1"/>
          </p:cNvSpPr>
          <p:nvPr>
            <p:ph type="pic" sz="quarter" idx="68" hasCustomPrompt="1"/>
          </p:nvPr>
        </p:nvSpPr>
        <p:spPr>
          <a:xfrm>
            <a:off x="6431161" y="2641376"/>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44" name="Picture Placeholder 43">
            <a:extLst>
              <a:ext uri="{FF2B5EF4-FFF2-40B4-BE49-F238E27FC236}">
                <a16:creationId xmlns:a16="http://schemas.microsoft.com/office/drawing/2014/main" id="{7371168E-810C-4139-A4C7-107BC24E2B60}"/>
              </a:ext>
            </a:extLst>
          </p:cNvPr>
          <p:cNvSpPr>
            <a:spLocks noGrp="1"/>
          </p:cNvSpPr>
          <p:nvPr>
            <p:ph type="pic" sz="quarter" idx="69" hasCustomPrompt="1"/>
          </p:nvPr>
        </p:nvSpPr>
        <p:spPr>
          <a:xfrm>
            <a:off x="9344763" y="2641376"/>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23" name="Footer Placeholder 11">
            <a:extLst>
              <a:ext uri="{FF2B5EF4-FFF2-40B4-BE49-F238E27FC236}">
                <a16:creationId xmlns:a16="http://schemas.microsoft.com/office/drawing/2014/main" id="{80002B95-AF38-4359-9883-B74BAA34070A}"/>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3599748383"/>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Four Card Purpl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a:lstStyle>
            <a:lvl1pPr>
              <a:defRPr>
                <a:solidFill>
                  <a:schemeClr val="bg1"/>
                </a:solidFill>
              </a:defRPr>
            </a:lvl1pPr>
          </a:lstStyle>
          <a:p>
            <a:r>
              <a:rPr lang="en-US" dirty="0"/>
              <a:t>H1 placeholder.</a:t>
            </a:r>
            <a:endParaRPr lang="en-GB" dirty="0"/>
          </a:p>
        </p:txBody>
      </p:sp>
      <p:sp>
        <p:nvSpPr>
          <p:cNvPr id="66" name="Text Placeholder 21">
            <a:extLst>
              <a:ext uri="{FF2B5EF4-FFF2-40B4-BE49-F238E27FC236}">
                <a16:creationId xmlns:a16="http://schemas.microsoft.com/office/drawing/2014/main" id="{98BE2FFC-C672-48F4-A249-C26E0AEEE725}"/>
              </a:ext>
            </a:extLst>
          </p:cNvPr>
          <p:cNvSpPr>
            <a:spLocks noGrp="1"/>
          </p:cNvSpPr>
          <p:nvPr>
            <p:ph type="body" sz="quarter" idx="41" hasCustomPrompt="1"/>
          </p:nvPr>
        </p:nvSpPr>
        <p:spPr>
          <a:xfrm>
            <a:off x="587375" y="1426464"/>
            <a:ext cx="10980738" cy="1048904"/>
          </a:xfrm>
        </p:spPr>
        <p:txBody>
          <a:bodyPr/>
          <a:lstStyle>
            <a:lvl1pPr marL="0" indent="0">
              <a:buFont typeface="Arial" panose="020B0604020202020204" pitchFamily="34" charset="0"/>
              <a:buChar char="​"/>
              <a:defRPr>
                <a:solidFill>
                  <a:schemeClr val="bg1"/>
                </a:solidFill>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67" name="Text Placeholder 48">
            <a:extLst>
              <a:ext uri="{FF2B5EF4-FFF2-40B4-BE49-F238E27FC236}">
                <a16:creationId xmlns:a16="http://schemas.microsoft.com/office/drawing/2014/main" id="{92CC8151-809F-408B-B956-8F1FB70F2B23}"/>
              </a:ext>
            </a:extLst>
          </p:cNvPr>
          <p:cNvSpPr>
            <a:spLocks noGrp="1"/>
          </p:cNvSpPr>
          <p:nvPr>
            <p:ph type="body" sz="quarter" idx="44" hasCustomPrompt="1"/>
          </p:nvPr>
        </p:nvSpPr>
        <p:spPr>
          <a:xfrm>
            <a:off x="587375" y="2567310"/>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68" name="Text Placeholder 52">
            <a:extLst>
              <a:ext uri="{FF2B5EF4-FFF2-40B4-BE49-F238E27FC236}">
                <a16:creationId xmlns:a16="http://schemas.microsoft.com/office/drawing/2014/main" id="{D8D33EF8-5490-4FD1-92A9-474DDF89F17B}"/>
              </a:ext>
            </a:extLst>
          </p:cNvPr>
          <p:cNvSpPr>
            <a:spLocks noGrp="1"/>
          </p:cNvSpPr>
          <p:nvPr>
            <p:ph type="body" sz="quarter" idx="45" hasCustomPrompt="1"/>
          </p:nvPr>
        </p:nvSpPr>
        <p:spPr>
          <a:xfrm>
            <a:off x="736878" y="3290908"/>
            <a:ext cx="2061906" cy="472283"/>
          </a:xfrm>
        </p:spPr>
        <p:txBody>
          <a:bodyPr lIns="36000" rIns="36000">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69" name="Text Placeholder 54">
            <a:extLst>
              <a:ext uri="{FF2B5EF4-FFF2-40B4-BE49-F238E27FC236}">
                <a16:creationId xmlns:a16="http://schemas.microsoft.com/office/drawing/2014/main" id="{443F0561-EF8E-4718-A0BA-0D2192BC7858}"/>
              </a:ext>
            </a:extLst>
          </p:cNvPr>
          <p:cNvSpPr>
            <a:spLocks noGrp="1"/>
          </p:cNvSpPr>
          <p:nvPr>
            <p:ph type="body" sz="quarter" idx="46" hasCustomPrompt="1"/>
          </p:nvPr>
        </p:nvSpPr>
        <p:spPr>
          <a:xfrm>
            <a:off x="736878" y="3772355"/>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70" name="Text Placeholder 50">
            <a:extLst>
              <a:ext uri="{FF2B5EF4-FFF2-40B4-BE49-F238E27FC236}">
                <a16:creationId xmlns:a16="http://schemas.microsoft.com/office/drawing/2014/main" id="{DF0A0A4C-AD27-4650-8A91-328018584F00}"/>
              </a:ext>
            </a:extLst>
          </p:cNvPr>
          <p:cNvSpPr>
            <a:spLocks noGrp="1"/>
          </p:cNvSpPr>
          <p:nvPr>
            <p:ph type="body" sz="quarter" idx="47" hasCustomPrompt="1"/>
          </p:nvPr>
        </p:nvSpPr>
        <p:spPr>
          <a:xfrm>
            <a:off x="736878" y="2731542"/>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72" name="Text Placeholder 48">
            <a:extLst>
              <a:ext uri="{FF2B5EF4-FFF2-40B4-BE49-F238E27FC236}">
                <a16:creationId xmlns:a16="http://schemas.microsoft.com/office/drawing/2014/main" id="{CA09BA7D-E8CA-44B3-9FF4-461E0E2C8B7C}"/>
              </a:ext>
            </a:extLst>
          </p:cNvPr>
          <p:cNvSpPr>
            <a:spLocks noGrp="1"/>
          </p:cNvSpPr>
          <p:nvPr>
            <p:ph type="body" sz="quarter" idx="49" hasCustomPrompt="1"/>
          </p:nvPr>
        </p:nvSpPr>
        <p:spPr>
          <a:xfrm>
            <a:off x="9193675" y="2567310"/>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3" name="Text Placeholder 52">
            <a:extLst>
              <a:ext uri="{FF2B5EF4-FFF2-40B4-BE49-F238E27FC236}">
                <a16:creationId xmlns:a16="http://schemas.microsoft.com/office/drawing/2014/main" id="{ECE94999-7C02-48C2-B853-AF1539D807ED}"/>
              </a:ext>
            </a:extLst>
          </p:cNvPr>
          <p:cNvSpPr>
            <a:spLocks noGrp="1"/>
          </p:cNvSpPr>
          <p:nvPr>
            <p:ph type="body" sz="quarter" idx="50" hasCustomPrompt="1"/>
          </p:nvPr>
        </p:nvSpPr>
        <p:spPr>
          <a:xfrm>
            <a:off x="9349941" y="3290908"/>
            <a:ext cx="2061906" cy="472283"/>
          </a:xfrm>
        </p:spPr>
        <p:txBody>
          <a:bodyPr lIns="36000" rIns="36000">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74" name="Text Placeholder 54">
            <a:extLst>
              <a:ext uri="{FF2B5EF4-FFF2-40B4-BE49-F238E27FC236}">
                <a16:creationId xmlns:a16="http://schemas.microsoft.com/office/drawing/2014/main" id="{4B247116-1DDE-4612-9080-D953C16E01A6}"/>
              </a:ext>
            </a:extLst>
          </p:cNvPr>
          <p:cNvSpPr>
            <a:spLocks noGrp="1"/>
          </p:cNvSpPr>
          <p:nvPr>
            <p:ph type="body" sz="quarter" idx="51" hasCustomPrompt="1"/>
          </p:nvPr>
        </p:nvSpPr>
        <p:spPr>
          <a:xfrm>
            <a:off x="9349941" y="3772355"/>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75" name="Text Placeholder 50">
            <a:extLst>
              <a:ext uri="{FF2B5EF4-FFF2-40B4-BE49-F238E27FC236}">
                <a16:creationId xmlns:a16="http://schemas.microsoft.com/office/drawing/2014/main" id="{24B34B21-C913-4BA3-B630-AEA04BCB77BB}"/>
              </a:ext>
            </a:extLst>
          </p:cNvPr>
          <p:cNvSpPr>
            <a:spLocks noGrp="1"/>
          </p:cNvSpPr>
          <p:nvPr>
            <p:ph type="body" sz="quarter" idx="52" hasCustomPrompt="1"/>
          </p:nvPr>
        </p:nvSpPr>
        <p:spPr>
          <a:xfrm>
            <a:off x="9349941" y="2731542"/>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77" name="Text Placeholder 48">
            <a:extLst>
              <a:ext uri="{FF2B5EF4-FFF2-40B4-BE49-F238E27FC236}">
                <a16:creationId xmlns:a16="http://schemas.microsoft.com/office/drawing/2014/main" id="{AAE5807E-F229-4AF5-AFB0-DFE27F2E393E}"/>
              </a:ext>
            </a:extLst>
          </p:cNvPr>
          <p:cNvSpPr>
            <a:spLocks noGrp="1"/>
          </p:cNvSpPr>
          <p:nvPr>
            <p:ph type="body" sz="quarter" idx="54" hasCustomPrompt="1"/>
          </p:nvPr>
        </p:nvSpPr>
        <p:spPr>
          <a:xfrm>
            <a:off x="6324909" y="2567310"/>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8" name="Text Placeholder 52">
            <a:extLst>
              <a:ext uri="{FF2B5EF4-FFF2-40B4-BE49-F238E27FC236}">
                <a16:creationId xmlns:a16="http://schemas.microsoft.com/office/drawing/2014/main" id="{B6BC0273-6C5B-447B-8E7A-30A4886E926D}"/>
              </a:ext>
            </a:extLst>
          </p:cNvPr>
          <p:cNvSpPr>
            <a:spLocks noGrp="1"/>
          </p:cNvSpPr>
          <p:nvPr>
            <p:ph type="body" sz="quarter" idx="55" hasCustomPrompt="1"/>
          </p:nvPr>
        </p:nvSpPr>
        <p:spPr>
          <a:xfrm>
            <a:off x="6481175" y="3290908"/>
            <a:ext cx="2061906" cy="472283"/>
          </a:xfrm>
        </p:spPr>
        <p:txBody>
          <a:bodyPr lIns="36000" rIns="36000">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79" name="Text Placeholder 54">
            <a:extLst>
              <a:ext uri="{FF2B5EF4-FFF2-40B4-BE49-F238E27FC236}">
                <a16:creationId xmlns:a16="http://schemas.microsoft.com/office/drawing/2014/main" id="{ED8DB56F-9C9A-4385-99B7-89FA6DE8A455}"/>
              </a:ext>
            </a:extLst>
          </p:cNvPr>
          <p:cNvSpPr>
            <a:spLocks noGrp="1"/>
          </p:cNvSpPr>
          <p:nvPr>
            <p:ph type="body" sz="quarter" idx="56" hasCustomPrompt="1"/>
          </p:nvPr>
        </p:nvSpPr>
        <p:spPr>
          <a:xfrm>
            <a:off x="6481175" y="3772355"/>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80" name="Text Placeholder 50">
            <a:extLst>
              <a:ext uri="{FF2B5EF4-FFF2-40B4-BE49-F238E27FC236}">
                <a16:creationId xmlns:a16="http://schemas.microsoft.com/office/drawing/2014/main" id="{64EE6AFD-4755-4880-82A4-59F145999DC9}"/>
              </a:ext>
            </a:extLst>
          </p:cNvPr>
          <p:cNvSpPr>
            <a:spLocks noGrp="1"/>
          </p:cNvSpPr>
          <p:nvPr>
            <p:ph type="body" sz="quarter" idx="57" hasCustomPrompt="1"/>
          </p:nvPr>
        </p:nvSpPr>
        <p:spPr>
          <a:xfrm>
            <a:off x="6481175" y="2731542"/>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82" name="Text Placeholder 48">
            <a:extLst>
              <a:ext uri="{FF2B5EF4-FFF2-40B4-BE49-F238E27FC236}">
                <a16:creationId xmlns:a16="http://schemas.microsoft.com/office/drawing/2014/main" id="{EFE3C20B-CA8A-4B63-B94A-544694E33F71}"/>
              </a:ext>
            </a:extLst>
          </p:cNvPr>
          <p:cNvSpPr>
            <a:spLocks noGrp="1"/>
          </p:cNvSpPr>
          <p:nvPr>
            <p:ph type="body" sz="quarter" idx="59" hasCustomPrompt="1"/>
          </p:nvPr>
        </p:nvSpPr>
        <p:spPr>
          <a:xfrm>
            <a:off x="3456142" y="2567310"/>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83" name="Text Placeholder 52">
            <a:extLst>
              <a:ext uri="{FF2B5EF4-FFF2-40B4-BE49-F238E27FC236}">
                <a16:creationId xmlns:a16="http://schemas.microsoft.com/office/drawing/2014/main" id="{5592A2BA-A980-4A97-93A1-38C6354B8BB7}"/>
              </a:ext>
            </a:extLst>
          </p:cNvPr>
          <p:cNvSpPr>
            <a:spLocks noGrp="1"/>
          </p:cNvSpPr>
          <p:nvPr>
            <p:ph type="body" sz="quarter" idx="60" hasCustomPrompt="1"/>
          </p:nvPr>
        </p:nvSpPr>
        <p:spPr>
          <a:xfrm>
            <a:off x="3612408" y="3290908"/>
            <a:ext cx="2061906" cy="472283"/>
          </a:xfrm>
        </p:spPr>
        <p:txBody>
          <a:bodyPr lIns="36000" rIns="36000">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H3 placeholder</a:t>
            </a:r>
          </a:p>
        </p:txBody>
      </p:sp>
      <p:sp>
        <p:nvSpPr>
          <p:cNvPr id="84" name="Text Placeholder 54">
            <a:extLst>
              <a:ext uri="{FF2B5EF4-FFF2-40B4-BE49-F238E27FC236}">
                <a16:creationId xmlns:a16="http://schemas.microsoft.com/office/drawing/2014/main" id="{F2C09360-3ABD-4C8C-A98E-7324299FE710}"/>
              </a:ext>
            </a:extLst>
          </p:cNvPr>
          <p:cNvSpPr>
            <a:spLocks noGrp="1"/>
          </p:cNvSpPr>
          <p:nvPr>
            <p:ph type="body" sz="quarter" idx="61" hasCustomPrompt="1"/>
          </p:nvPr>
        </p:nvSpPr>
        <p:spPr>
          <a:xfrm>
            <a:off x="3612408" y="3772355"/>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85" name="Text Placeholder 50">
            <a:extLst>
              <a:ext uri="{FF2B5EF4-FFF2-40B4-BE49-F238E27FC236}">
                <a16:creationId xmlns:a16="http://schemas.microsoft.com/office/drawing/2014/main" id="{0076421F-1586-4A65-BA35-6E40A5C81085}"/>
              </a:ext>
            </a:extLst>
          </p:cNvPr>
          <p:cNvSpPr>
            <a:spLocks noGrp="1"/>
          </p:cNvSpPr>
          <p:nvPr>
            <p:ph type="body" sz="quarter" idx="62" hasCustomPrompt="1"/>
          </p:nvPr>
        </p:nvSpPr>
        <p:spPr>
          <a:xfrm>
            <a:off x="3612408" y="2731542"/>
            <a:ext cx="581747" cy="320088"/>
          </a:xfrm>
        </p:spPr>
        <p:txBody>
          <a:bodyPr lIns="36000" rIns="36000" anchor="b" anchorCtr="0">
            <a:normAutofit/>
          </a:bodyPr>
          <a:lstStyle>
            <a:lvl1pPr marL="0" indent="0">
              <a:buFont typeface="Arial" panose="020B0604020202020204" pitchFamily="34" charset="0"/>
              <a:buChar char="​"/>
              <a:defRPr>
                <a:solidFill>
                  <a:srgbClr val="E0044E"/>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a:t>##</a:t>
            </a:r>
          </a:p>
        </p:txBody>
      </p:sp>
      <p:sp>
        <p:nvSpPr>
          <p:cNvPr id="6" name="Slide Number Placeholder 5">
            <a:extLst>
              <a:ext uri="{FF2B5EF4-FFF2-40B4-BE49-F238E27FC236}">
                <a16:creationId xmlns:a16="http://schemas.microsoft.com/office/drawing/2014/main" id="{9ECD1F41-047D-44D9-8560-4731A6899B3B}"/>
              </a:ext>
            </a:extLst>
          </p:cNvPr>
          <p:cNvSpPr>
            <a:spLocks noGrp="1"/>
          </p:cNvSpPr>
          <p:nvPr>
            <p:ph type="sldNum" sz="quarter" idx="65"/>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26" name="Footer Placeholder 4">
            <a:extLst>
              <a:ext uri="{FF2B5EF4-FFF2-40B4-BE49-F238E27FC236}">
                <a16:creationId xmlns:a16="http://schemas.microsoft.com/office/drawing/2014/main" id="{1562DEBB-0473-4201-8D54-7AA4D3A5420E}"/>
              </a:ext>
            </a:extLst>
          </p:cNvPr>
          <p:cNvSpPr>
            <a:spLocks noGrp="1"/>
          </p:cNvSpPr>
          <p:nvPr>
            <p:ph type="ftr" sz="quarter" idx="66"/>
          </p:nvPr>
        </p:nvSpPr>
        <p:spPr>
          <a:xfrm>
            <a:off x="6424571" y="6479554"/>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27" name="TextBox 26">
            <a:extLst>
              <a:ext uri="{FF2B5EF4-FFF2-40B4-BE49-F238E27FC236}">
                <a16:creationId xmlns:a16="http://schemas.microsoft.com/office/drawing/2014/main" id="{22DC5488-CA9F-4050-A820-D7AE6A4A9B73}"/>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28" name="Graphic 27">
            <a:extLst>
              <a:ext uri="{FF2B5EF4-FFF2-40B4-BE49-F238E27FC236}">
                <a16:creationId xmlns:a16="http://schemas.microsoft.com/office/drawing/2014/main" id="{694DBA73-3F74-497F-BEB3-82FBBB4EC53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77477450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our Card Purple with Icon Placeholders">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393192"/>
            <a:ext cx="10980738" cy="548640"/>
          </a:xfrm>
        </p:spPr>
        <p:txBody>
          <a:bodyPr/>
          <a:lstStyle>
            <a:lvl1pPr>
              <a:defRPr>
                <a:solidFill>
                  <a:schemeClr val="bg1"/>
                </a:solidFill>
              </a:defRPr>
            </a:lvl1pPr>
          </a:lstStyle>
          <a:p>
            <a:r>
              <a:rPr lang="en-US" dirty="0"/>
              <a:t>H1 placeholder.</a:t>
            </a:r>
            <a:endParaRPr lang="en-GB" dirty="0"/>
          </a:p>
        </p:txBody>
      </p:sp>
      <p:sp>
        <p:nvSpPr>
          <p:cNvPr id="66" name="Text Placeholder 21">
            <a:extLst>
              <a:ext uri="{FF2B5EF4-FFF2-40B4-BE49-F238E27FC236}">
                <a16:creationId xmlns:a16="http://schemas.microsoft.com/office/drawing/2014/main" id="{98BE2FFC-C672-48F4-A249-C26E0AEEE725}"/>
              </a:ext>
            </a:extLst>
          </p:cNvPr>
          <p:cNvSpPr>
            <a:spLocks noGrp="1"/>
          </p:cNvSpPr>
          <p:nvPr>
            <p:ph type="body" sz="quarter" idx="41" hasCustomPrompt="1"/>
          </p:nvPr>
        </p:nvSpPr>
        <p:spPr>
          <a:xfrm>
            <a:off x="587374" y="1426464"/>
            <a:ext cx="10980737" cy="1048904"/>
          </a:xfrm>
        </p:spPr>
        <p:txBody>
          <a:bodyPr/>
          <a:lstStyle>
            <a:lvl1pPr marL="0" indent="0">
              <a:buFont typeface="Arial" panose="020B0604020202020204" pitchFamily="34" charset="0"/>
              <a:buChar char="​"/>
              <a:defRPr>
                <a:solidFill>
                  <a:schemeClr val="bg1"/>
                </a:solidFill>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67" name="Text Placeholder 48">
            <a:extLst>
              <a:ext uri="{FF2B5EF4-FFF2-40B4-BE49-F238E27FC236}">
                <a16:creationId xmlns:a16="http://schemas.microsoft.com/office/drawing/2014/main" id="{92CC8151-809F-408B-B956-8F1FB70F2B23}"/>
              </a:ext>
            </a:extLst>
          </p:cNvPr>
          <p:cNvSpPr>
            <a:spLocks noGrp="1"/>
          </p:cNvSpPr>
          <p:nvPr>
            <p:ph type="body" sz="quarter" idx="44" hasCustomPrompt="1"/>
          </p:nvPr>
        </p:nvSpPr>
        <p:spPr>
          <a:xfrm>
            <a:off x="587375" y="2567311"/>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68" name="Text Placeholder 52">
            <a:extLst>
              <a:ext uri="{FF2B5EF4-FFF2-40B4-BE49-F238E27FC236}">
                <a16:creationId xmlns:a16="http://schemas.microsoft.com/office/drawing/2014/main" id="{D8D33EF8-5490-4FD1-92A9-474DDF89F17B}"/>
              </a:ext>
            </a:extLst>
          </p:cNvPr>
          <p:cNvSpPr>
            <a:spLocks noGrp="1"/>
          </p:cNvSpPr>
          <p:nvPr>
            <p:ph type="body" sz="quarter" idx="45" hasCustomPrompt="1"/>
          </p:nvPr>
        </p:nvSpPr>
        <p:spPr>
          <a:xfrm>
            <a:off x="736878" y="3290909"/>
            <a:ext cx="2061906" cy="472283"/>
          </a:xfrm>
        </p:spPr>
        <p:txBody>
          <a:bodyPr lIns="36000" rIns="36000">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69" name="Text Placeholder 54">
            <a:extLst>
              <a:ext uri="{FF2B5EF4-FFF2-40B4-BE49-F238E27FC236}">
                <a16:creationId xmlns:a16="http://schemas.microsoft.com/office/drawing/2014/main" id="{443F0561-EF8E-4718-A0BA-0D2192BC7858}"/>
              </a:ext>
            </a:extLst>
          </p:cNvPr>
          <p:cNvSpPr>
            <a:spLocks noGrp="1"/>
          </p:cNvSpPr>
          <p:nvPr>
            <p:ph type="body" sz="quarter" idx="46" hasCustomPrompt="1"/>
          </p:nvPr>
        </p:nvSpPr>
        <p:spPr>
          <a:xfrm>
            <a:off x="736878" y="3772356"/>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72" name="Text Placeholder 48">
            <a:extLst>
              <a:ext uri="{FF2B5EF4-FFF2-40B4-BE49-F238E27FC236}">
                <a16:creationId xmlns:a16="http://schemas.microsoft.com/office/drawing/2014/main" id="{CA09BA7D-E8CA-44B3-9FF4-461E0E2C8B7C}"/>
              </a:ext>
            </a:extLst>
          </p:cNvPr>
          <p:cNvSpPr>
            <a:spLocks noGrp="1"/>
          </p:cNvSpPr>
          <p:nvPr>
            <p:ph type="body" sz="quarter" idx="49" hasCustomPrompt="1"/>
          </p:nvPr>
        </p:nvSpPr>
        <p:spPr>
          <a:xfrm>
            <a:off x="9193675" y="2567311"/>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3" name="Text Placeholder 52">
            <a:extLst>
              <a:ext uri="{FF2B5EF4-FFF2-40B4-BE49-F238E27FC236}">
                <a16:creationId xmlns:a16="http://schemas.microsoft.com/office/drawing/2014/main" id="{ECE94999-7C02-48C2-B853-AF1539D807ED}"/>
              </a:ext>
            </a:extLst>
          </p:cNvPr>
          <p:cNvSpPr>
            <a:spLocks noGrp="1"/>
          </p:cNvSpPr>
          <p:nvPr>
            <p:ph type="body" sz="quarter" idx="50" hasCustomPrompt="1"/>
          </p:nvPr>
        </p:nvSpPr>
        <p:spPr>
          <a:xfrm>
            <a:off x="9349941" y="3290909"/>
            <a:ext cx="2061906" cy="472283"/>
          </a:xfrm>
        </p:spPr>
        <p:txBody>
          <a:bodyPr lIns="36000" rIns="36000">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74" name="Text Placeholder 54">
            <a:extLst>
              <a:ext uri="{FF2B5EF4-FFF2-40B4-BE49-F238E27FC236}">
                <a16:creationId xmlns:a16="http://schemas.microsoft.com/office/drawing/2014/main" id="{4B247116-1DDE-4612-9080-D953C16E01A6}"/>
              </a:ext>
            </a:extLst>
          </p:cNvPr>
          <p:cNvSpPr>
            <a:spLocks noGrp="1"/>
          </p:cNvSpPr>
          <p:nvPr>
            <p:ph type="body" sz="quarter" idx="51" hasCustomPrompt="1"/>
          </p:nvPr>
        </p:nvSpPr>
        <p:spPr>
          <a:xfrm>
            <a:off x="9349941" y="3772356"/>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77" name="Text Placeholder 48">
            <a:extLst>
              <a:ext uri="{FF2B5EF4-FFF2-40B4-BE49-F238E27FC236}">
                <a16:creationId xmlns:a16="http://schemas.microsoft.com/office/drawing/2014/main" id="{AAE5807E-F229-4AF5-AFB0-DFE27F2E393E}"/>
              </a:ext>
            </a:extLst>
          </p:cNvPr>
          <p:cNvSpPr>
            <a:spLocks noGrp="1"/>
          </p:cNvSpPr>
          <p:nvPr>
            <p:ph type="body" sz="quarter" idx="54" hasCustomPrompt="1"/>
          </p:nvPr>
        </p:nvSpPr>
        <p:spPr>
          <a:xfrm>
            <a:off x="6324909" y="2567311"/>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78" name="Text Placeholder 52">
            <a:extLst>
              <a:ext uri="{FF2B5EF4-FFF2-40B4-BE49-F238E27FC236}">
                <a16:creationId xmlns:a16="http://schemas.microsoft.com/office/drawing/2014/main" id="{B6BC0273-6C5B-447B-8E7A-30A4886E926D}"/>
              </a:ext>
            </a:extLst>
          </p:cNvPr>
          <p:cNvSpPr>
            <a:spLocks noGrp="1"/>
          </p:cNvSpPr>
          <p:nvPr>
            <p:ph type="body" sz="quarter" idx="55" hasCustomPrompt="1"/>
          </p:nvPr>
        </p:nvSpPr>
        <p:spPr>
          <a:xfrm>
            <a:off x="6481175" y="3290909"/>
            <a:ext cx="2061906" cy="472283"/>
          </a:xfrm>
        </p:spPr>
        <p:txBody>
          <a:bodyPr lIns="36000" rIns="36000">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79" name="Text Placeholder 54">
            <a:extLst>
              <a:ext uri="{FF2B5EF4-FFF2-40B4-BE49-F238E27FC236}">
                <a16:creationId xmlns:a16="http://schemas.microsoft.com/office/drawing/2014/main" id="{ED8DB56F-9C9A-4385-99B7-89FA6DE8A455}"/>
              </a:ext>
            </a:extLst>
          </p:cNvPr>
          <p:cNvSpPr>
            <a:spLocks noGrp="1"/>
          </p:cNvSpPr>
          <p:nvPr>
            <p:ph type="body" sz="quarter" idx="56" hasCustomPrompt="1"/>
          </p:nvPr>
        </p:nvSpPr>
        <p:spPr>
          <a:xfrm>
            <a:off x="6481175" y="3772356"/>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82" name="Text Placeholder 48">
            <a:extLst>
              <a:ext uri="{FF2B5EF4-FFF2-40B4-BE49-F238E27FC236}">
                <a16:creationId xmlns:a16="http://schemas.microsoft.com/office/drawing/2014/main" id="{EFE3C20B-CA8A-4B63-B94A-544694E33F71}"/>
              </a:ext>
            </a:extLst>
          </p:cNvPr>
          <p:cNvSpPr>
            <a:spLocks noGrp="1"/>
          </p:cNvSpPr>
          <p:nvPr>
            <p:ph type="body" sz="quarter" idx="59" hasCustomPrompt="1"/>
          </p:nvPr>
        </p:nvSpPr>
        <p:spPr>
          <a:xfrm>
            <a:off x="3456142" y="2567311"/>
            <a:ext cx="2374438" cy="3230563"/>
          </a:xfrm>
          <a:solidFill>
            <a:schemeClr val="bg1"/>
          </a:solidFill>
        </p:spPr>
        <p:txBody>
          <a:bodyPr/>
          <a:lstStyle>
            <a:lvl1pPr marL="0" indent="0">
              <a:buFont typeface="Arial" panose="020B0604020202020204" pitchFamily="34" charset="0"/>
              <a:buChar cha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 </a:t>
            </a:r>
          </a:p>
        </p:txBody>
      </p:sp>
      <p:sp>
        <p:nvSpPr>
          <p:cNvPr id="83" name="Text Placeholder 52">
            <a:extLst>
              <a:ext uri="{FF2B5EF4-FFF2-40B4-BE49-F238E27FC236}">
                <a16:creationId xmlns:a16="http://schemas.microsoft.com/office/drawing/2014/main" id="{5592A2BA-A980-4A97-93A1-38C6354B8BB7}"/>
              </a:ext>
            </a:extLst>
          </p:cNvPr>
          <p:cNvSpPr>
            <a:spLocks noGrp="1"/>
          </p:cNvSpPr>
          <p:nvPr>
            <p:ph type="body" sz="quarter" idx="60" hasCustomPrompt="1"/>
          </p:nvPr>
        </p:nvSpPr>
        <p:spPr>
          <a:xfrm>
            <a:off x="3612408" y="3290909"/>
            <a:ext cx="2061906" cy="472283"/>
          </a:xfrm>
        </p:spPr>
        <p:txBody>
          <a:bodyPr lIns="36000" rIns="36000">
            <a:normAutofit/>
          </a:bodyPr>
          <a:lstStyle>
            <a:lvl1pPr marL="0" indent="0">
              <a:buFont typeface="Arial" panose="020B0604020202020204" pitchFamily="34" charset="0"/>
              <a:buChar char="​"/>
              <a:defRPr sz="2000" b="1">
                <a:solidFill>
                  <a:schemeClr val="bg2"/>
                </a:solidFill>
                <a:latin typeface="Segoe UI" panose="020B0502040204020203" pitchFamily="34" charset="0"/>
                <a:cs typeface="Segoe UI" panose="020B0502040204020203"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3 placeholder</a:t>
            </a:r>
          </a:p>
        </p:txBody>
      </p:sp>
      <p:sp>
        <p:nvSpPr>
          <p:cNvPr id="84" name="Text Placeholder 54">
            <a:extLst>
              <a:ext uri="{FF2B5EF4-FFF2-40B4-BE49-F238E27FC236}">
                <a16:creationId xmlns:a16="http://schemas.microsoft.com/office/drawing/2014/main" id="{F2C09360-3ABD-4C8C-A98E-7324299FE710}"/>
              </a:ext>
            </a:extLst>
          </p:cNvPr>
          <p:cNvSpPr>
            <a:spLocks noGrp="1"/>
          </p:cNvSpPr>
          <p:nvPr>
            <p:ph type="body" sz="quarter" idx="61" hasCustomPrompt="1"/>
          </p:nvPr>
        </p:nvSpPr>
        <p:spPr>
          <a:xfrm>
            <a:off x="3612408" y="3772356"/>
            <a:ext cx="2061906" cy="1888546"/>
          </a:xfrm>
        </p:spPr>
        <p:txBody>
          <a:bodyPr lIns="36000" rIns="36000">
            <a:normAutofit/>
          </a:bodyPr>
          <a:lstStyle>
            <a:lvl1pPr marL="0" indent="0">
              <a:buFont typeface="Arial" panose="020B0604020202020204" pitchFamily="34" charset="0"/>
              <a:buChar char="​"/>
              <a:defRPr sz="12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6" name="Slide Number Placeholder 5">
            <a:extLst>
              <a:ext uri="{FF2B5EF4-FFF2-40B4-BE49-F238E27FC236}">
                <a16:creationId xmlns:a16="http://schemas.microsoft.com/office/drawing/2014/main" id="{9ECD1F41-047D-44D9-8560-4731A6899B3B}"/>
              </a:ext>
            </a:extLst>
          </p:cNvPr>
          <p:cNvSpPr>
            <a:spLocks noGrp="1"/>
          </p:cNvSpPr>
          <p:nvPr>
            <p:ph type="sldNum" sz="quarter" idx="65"/>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31" name="Picture Placeholder 30">
            <a:extLst>
              <a:ext uri="{FF2B5EF4-FFF2-40B4-BE49-F238E27FC236}">
                <a16:creationId xmlns:a16="http://schemas.microsoft.com/office/drawing/2014/main" id="{88982096-4EEC-413C-8EA7-055D731D337C}"/>
              </a:ext>
            </a:extLst>
          </p:cNvPr>
          <p:cNvSpPr>
            <a:spLocks noGrp="1"/>
          </p:cNvSpPr>
          <p:nvPr>
            <p:ph type="pic" sz="quarter" idx="66" hasCustomPrompt="1"/>
          </p:nvPr>
        </p:nvSpPr>
        <p:spPr>
          <a:xfrm>
            <a:off x="736878" y="2641377"/>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32" name="Picture Placeholder 31">
            <a:extLst>
              <a:ext uri="{FF2B5EF4-FFF2-40B4-BE49-F238E27FC236}">
                <a16:creationId xmlns:a16="http://schemas.microsoft.com/office/drawing/2014/main" id="{A2097BEF-3663-49A4-8781-27E9446D3E12}"/>
              </a:ext>
            </a:extLst>
          </p:cNvPr>
          <p:cNvSpPr>
            <a:spLocks noGrp="1"/>
          </p:cNvSpPr>
          <p:nvPr>
            <p:ph type="pic" sz="quarter" idx="67" hasCustomPrompt="1"/>
          </p:nvPr>
        </p:nvSpPr>
        <p:spPr>
          <a:xfrm>
            <a:off x="3612408" y="2641377"/>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33" name="Picture Placeholder 32">
            <a:extLst>
              <a:ext uri="{FF2B5EF4-FFF2-40B4-BE49-F238E27FC236}">
                <a16:creationId xmlns:a16="http://schemas.microsoft.com/office/drawing/2014/main" id="{C8792866-7218-4AC9-ABA9-8D6C35CC9811}"/>
              </a:ext>
            </a:extLst>
          </p:cNvPr>
          <p:cNvSpPr>
            <a:spLocks noGrp="1"/>
          </p:cNvSpPr>
          <p:nvPr>
            <p:ph type="pic" sz="quarter" idx="68" hasCustomPrompt="1"/>
          </p:nvPr>
        </p:nvSpPr>
        <p:spPr>
          <a:xfrm>
            <a:off x="6481175" y="2641377"/>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34" name="Picture Placeholder 33">
            <a:extLst>
              <a:ext uri="{FF2B5EF4-FFF2-40B4-BE49-F238E27FC236}">
                <a16:creationId xmlns:a16="http://schemas.microsoft.com/office/drawing/2014/main" id="{76ACE892-40AA-4117-B0EA-00A3E508E67C}"/>
              </a:ext>
            </a:extLst>
          </p:cNvPr>
          <p:cNvSpPr>
            <a:spLocks noGrp="1"/>
          </p:cNvSpPr>
          <p:nvPr>
            <p:ph type="pic" sz="quarter" idx="69" hasCustomPrompt="1"/>
          </p:nvPr>
        </p:nvSpPr>
        <p:spPr>
          <a:xfrm>
            <a:off x="9349941" y="2641377"/>
            <a:ext cx="575468" cy="575468"/>
          </a:xfrm>
          <a:custGeom>
            <a:avLst/>
            <a:gdLst>
              <a:gd name="connsiteX0" fmla="*/ 287734 w 575468"/>
              <a:gd name="connsiteY0" fmla="*/ 0 h 575468"/>
              <a:gd name="connsiteX1" fmla="*/ 575468 w 575468"/>
              <a:gd name="connsiteY1" fmla="*/ 287734 h 575468"/>
              <a:gd name="connsiteX2" fmla="*/ 287734 w 575468"/>
              <a:gd name="connsiteY2" fmla="*/ 575468 h 575468"/>
              <a:gd name="connsiteX3" fmla="*/ 0 w 575468"/>
              <a:gd name="connsiteY3" fmla="*/ 287734 h 575468"/>
              <a:gd name="connsiteX4" fmla="*/ 287734 w 575468"/>
              <a:gd name="connsiteY4" fmla="*/ 0 h 57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5468" h="575468">
                <a:moveTo>
                  <a:pt x="287734" y="0"/>
                </a:moveTo>
                <a:cubicBezTo>
                  <a:pt x="446645" y="0"/>
                  <a:pt x="575468" y="128823"/>
                  <a:pt x="575468" y="287734"/>
                </a:cubicBezTo>
                <a:cubicBezTo>
                  <a:pt x="575468" y="446645"/>
                  <a:pt x="446645" y="575468"/>
                  <a:pt x="287734" y="575468"/>
                </a:cubicBezTo>
                <a:cubicBezTo>
                  <a:pt x="128823" y="575468"/>
                  <a:pt x="0" y="446645"/>
                  <a:pt x="0" y="287734"/>
                </a:cubicBezTo>
                <a:cubicBezTo>
                  <a:pt x="0" y="128823"/>
                  <a:pt x="128823" y="0"/>
                  <a:pt x="287734" y="0"/>
                </a:cubicBezTo>
                <a:close/>
              </a:path>
            </a:pathLst>
          </a:custGeom>
          <a:solidFill>
            <a:srgbClr val="E6E7E8"/>
          </a:solidFill>
        </p:spPr>
        <p:txBody>
          <a:bodyPr wrap="square">
            <a:noAutofit/>
          </a:bodyPr>
          <a:lstStyle>
            <a:lvl1pPr marL="0" indent="0">
              <a:buNone/>
              <a:defRPr sz="1400">
                <a:solidFill>
                  <a:srgbClr val="E0044E"/>
                </a:solidFill>
              </a:defRPr>
            </a:lvl1pPr>
          </a:lstStyle>
          <a:p>
            <a:r>
              <a:rPr lang="en-US" dirty="0"/>
              <a:t> Icon</a:t>
            </a:r>
            <a:endParaRPr lang="en-GB" dirty="0"/>
          </a:p>
        </p:txBody>
      </p:sp>
      <p:sp>
        <p:nvSpPr>
          <p:cNvPr id="26" name="Footer Placeholder 4">
            <a:extLst>
              <a:ext uri="{FF2B5EF4-FFF2-40B4-BE49-F238E27FC236}">
                <a16:creationId xmlns:a16="http://schemas.microsoft.com/office/drawing/2014/main" id="{4BAD8074-CE1D-49C8-9F78-1118D8D41F03}"/>
              </a:ext>
            </a:extLst>
          </p:cNvPr>
          <p:cNvSpPr>
            <a:spLocks noGrp="1"/>
          </p:cNvSpPr>
          <p:nvPr>
            <p:ph type="ftr" sz="quarter" idx="70"/>
          </p:nvPr>
        </p:nvSpPr>
        <p:spPr>
          <a:xfrm>
            <a:off x="6424571" y="6479554"/>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27" name="TextBox 26">
            <a:extLst>
              <a:ext uri="{FF2B5EF4-FFF2-40B4-BE49-F238E27FC236}">
                <a16:creationId xmlns:a16="http://schemas.microsoft.com/office/drawing/2014/main" id="{2164D97E-EA8D-44AD-832B-7A0099AE201B}"/>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28" name="Graphic 27">
            <a:extLst>
              <a:ext uri="{FF2B5EF4-FFF2-40B4-BE49-F238E27FC236}">
                <a16:creationId xmlns:a16="http://schemas.microsoft.com/office/drawing/2014/main" id="{6A493A24-187F-492A-AD71-F6CCF18CEA6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1389117652"/>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6959F-2346-401A-BA9A-ED98F6034A4D}"/>
              </a:ext>
            </a:extLst>
          </p:cNvPr>
          <p:cNvSpPr>
            <a:spLocks noGrp="1"/>
          </p:cNvSpPr>
          <p:nvPr>
            <p:ph type="title" hasCustomPrompt="1"/>
          </p:nvPr>
        </p:nvSpPr>
        <p:spPr>
          <a:xfrm>
            <a:off x="587375" y="393192"/>
            <a:ext cx="10980738" cy="548640"/>
          </a:xfrm>
        </p:spPr>
        <p:txBody>
          <a:bodyPr anchor="ctr"/>
          <a:lstStyle>
            <a:lvl1pPr>
              <a:defRPr/>
            </a:lvl1pPr>
          </a:lstStyle>
          <a:p>
            <a:r>
              <a:rPr lang="en-US" dirty="0"/>
              <a:t>H1 placeholder.</a:t>
            </a:r>
            <a:endParaRPr lang="en-GB" dirty="0"/>
          </a:p>
        </p:txBody>
      </p:sp>
      <p:sp>
        <p:nvSpPr>
          <p:cNvPr id="9" name="Slide Number Placeholder 8">
            <a:extLst>
              <a:ext uri="{FF2B5EF4-FFF2-40B4-BE49-F238E27FC236}">
                <a16:creationId xmlns:a16="http://schemas.microsoft.com/office/drawing/2014/main" id="{1F866C77-7CF4-44EA-8872-06DEC5546528}"/>
              </a:ext>
            </a:extLst>
          </p:cNvPr>
          <p:cNvSpPr>
            <a:spLocks noGrp="1"/>
          </p:cNvSpPr>
          <p:nvPr>
            <p:ph type="sldNum" sz="quarter" idx="17"/>
          </p:nvPr>
        </p:nvSpPr>
        <p:spPr/>
        <p:txBody>
          <a:bodyPr/>
          <a:lstStyle/>
          <a:p>
            <a:fld id="{2604F1CA-F590-4AD7-82C4-33C5478F726E}" type="slidenum">
              <a:rPr lang="en-GB" smtClean="0"/>
              <a:pPr/>
              <a:t>‹#›</a:t>
            </a:fld>
            <a:endParaRPr lang="en-GB" dirty="0"/>
          </a:p>
        </p:txBody>
      </p:sp>
      <p:sp>
        <p:nvSpPr>
          <p:cNvPr id="5" name="Footer Placeholder 11">
            <a:extLst>
              <a:ext uri="{FF2B5EF4-FFF2-40B4-BE49-F238E27FC236}">
                <a16:creationId xmlns:a16="http://schemas.microsoft.com/office/drawing/2014/main" id="{145D54EF-D611-4BB4-BF53-F3EF29CE7B43}"/>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41702791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Title and Content with subtitl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E260285C-69C9-4919-B7F7-165FF89CFDEC}"/>
              </a:ext>
            </a:extLst>
          </p:cNvPr>
          <p:cNvSpPr>
            <a:spLocks noGrp="1"/>
          </p:cNvSpPr>
          <p:nvPr>
            <p:ph type="title" hasCustomPrompt="1"/>
          </p:nvPr>
        </p:nvSpPr>
        <p:spPr>
          <a:xfrm>
            <a:off x="587376" y="393192"/>
            <a:ext cx="10980737" cy="548640"/>
          </a:xfrm>
        </p:spPr>
        <p:txBody>
          <a:bodyPr anchor="ctr">
            <a:noAutofit/>
          </a:bodyPr>
          <a:lstStyle>
            <a:lvl1pPr>
              <a:defRPr/>
            </a:lvl1pPr>
          </a:lstStyle>
          <a:p>
            <a:r>
              <a:rPr lang="en-US" dirty="0"/>
              <a:t>H1 placeholder.</a:t>
            </a:r>
            <a:endParaRPr lang="en-GB" dirty="0"/>
          </a:p>
        </p:txBody>
      </p:sp>
      <p:sp>
        <p:nvSpPr>
          <p:cNvPr id="19" name="Slide Number Placeholder 18">
            <a:extLst>
              <a:ext uri="{FF2B5EF4-FFF2-40B4-BE49-F238E27FC236}">
                <a16:creationId xmlns:a16="http://schemas.microsoft.com/office/drawing/2014/main" id="{EF08BC83-9339-4582-AD1A-C40BADC3E7E1}"/>
              </a:ext>
            </a:extLst>
          </p:cNvPr>
          <p:cNvSpPr>
            <a:spLocks noGrp="1"/>
          </p:cNvSpPr>
          <p:nvPr>
            <p:ph type="sldNum" sz="quarter" idx="17"/>
          </p:nvPr>
        </p:nvSpPr>
        <p:spPr/>
        <p:txBody>
          <a:bodyPr/>
          <a:lstStyle/>
          <a:p>
            <a:fld id="{2604F1CA-F590-4AD7-82C4-33C5478F726E}" type="slidenum">
              <a:rPr lang="en-GB" smtClean="0"/>
              <a:pPr/>
              <a:t>‹#›</a:t>
            </a:fld>
            <a:endParaRPr lang="en-GB" dirty="0"/>
          </a:p>
        </p:txBody>
      </p:sp>
      <p:sp>
        <p:nvSpPr>
          <p:cNvPr id="7" name="Text Placeholder 6">
            <a:extLst>
              <a:ext uri="{FF2B5EF4-FFF2-40B4-BE49-F238E27FC236}">
                <a16:creationId xmlns:a16="http://schemas.microsoft.com/office/drawing/2014/main" id="{D472F869-0857-4E9E-956E-92A74599D8AD}"/>
              </a:ext>
            </a:extLst>
          </p:cNvPr>
          <p:cNvSpPr>
            <a:spLocks noGrp="1"/>
          </p:cNvSpPr>
          <p:nvPr>
            <p:ph type="body" sz="quarter" idx="19" hasCustomPrompt="1"/>
          </p:nvPr>
        </p:nvSpPr>
        <p:spPr>
          <a:xfrm>
            <a:off x="587375" y="950976"/>
            <a:ext cx="10980738" cy="456564"/>
          </a:xfrm>
        </p:spPr>
        <p:txBody>
          <a:bodyPr anchor="t">
            <a:normAutofit/>
          </a:bodyPr>
          <a:lstStyle>
            <a:lvl1pPr marL="0" indent="0">
              <a:buFontTx/>
              <a:buNone/>
              <a:defRPr sz="2000"/>
            </a:lvl1pPr>
          </a:lstStyle>
          <a:p>
            <a:pPr lvl="0"/>
            <a:r>
              <a:rPr lang="en-US" dirty="0"/>
              <a:t>Subtitle goes here</a:t>
            </a:r>
            <a:endParaRPr lang="en-IN" dirty="0"/>
          </a:p>
        </p:txBody>
      </p:sp>
      <p:sp>
        <p:nvSpPr>
          <p:cNvPr id="8" name="Footer Placeholder 11">
            <a:extLst>
              <a:ext uri="{FF2B5EF4-FFF2-40B4-BE49-F238E27FC236}">
                <a16:creationId xmlns:a16="http://schemas.microsoft.com/office/drawing/2014/main" id="{2C5AB1B8-2321-47B1-A233-ADF305CF7209}"/>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3233323510"/>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DA7A86D-DF17-4D23-B4EC-1F8C3D740DE3}"/>
              </a:ext>
            </a:extLst>
          </p:cNvPr>
          <p:cNvSpPr>
            <a:spLocks noGrp="1"/>
          </p:cNvSpPr>
          <p:nvPr>
            <p:ph type="sldNum" sz="quarter" idx="12"/>
          </p:nvPr>
        </p:nvSpPr>
        <p:spPr/>
        <p:txBody>
          <a:bodyPr/>
          <a:lstStyle/>
          <a:p>
            <a:fld id="{2604F1CA-F590-4AD7-82C4-33C5478F726E}" type="slidenum">
              <a:rPr lang="en-GB" smtClean="0"/>
              <a:pPr/>
              <a:t>‹#›</a:t>
            </a:fld>
            <a:endParaRPr lang="en-GB" dirty="0"/>
          </a:p>
        </p:txBody>
      </p:sp>
      <p:sp>
        <p:nvSpPr>
          <p:cNvPr id="6" name="Footer Placeholder 11">
            <a:extLst>
              <a:ext uri="{FF2B5EF4-FFF2-40B4-BE49-F238E27FC236}">
                <a16:creationId xmlns:a16="http://schemas.microsoft.com/office/drawing/2014/main" id="{E9904C99-259A-43B6-B5A2-EDD0F5419CFC}"/>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145463478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and Image">
    <p:bg>
      <p:bgPr>
        <a:solidFill>
          <a:schemeClr val="bg2"/>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2BB8E49-1F6F-46FF-9288-4D6D8DB9D556}"/>
              </a:ext>
            </a:extLst>
          </p:cNvPr>
          <p:cNvSpPr>
            <a:spLocks noGrp="1"/>
          </p:cNvSpPr>
          <p:nvPr>
            <p:ph type="body" sz="quarter" idx="13" hasCustomPrompt="1"/>
          </p:nvPr>
        </p:nvSpPr>
        <p:spPr>
          <a:xfrm>
            <a:off x="2026227" y="2436089"/>
            <a:ext cx="8139545" cy="1507837"/>
          </a:xfrm>
        </p:spPr>
        <p:txBody>
          <a:bodyPr>
            <a:normAutofit/>
          </a:bodyPr>
          <a:lstStyle>
            <a:lvl1pPr marL="0" indent="0" algn="ctr">
              <a:buFont typeface="Arial" panose="020B0604020202020204" pitchFamily="34" charset="0"/>
              <a:buChar char="​"/>
              <a:defRPr sz="2400">
                <a:solidFill>
                  <a:schemeClr val="bg1"/>
                </a:solidFill>
              </a:defRPr>
            </a:lvl1pPr>
          </a:lstStyle>
          <a:p>
            <a:pPr lvl="0"/>
            <a:r>
              <a:rPr lang="en-US" dirty="0"/>
              <a:t>Et </a:t>
            </a:r>
            <a:r>
              <a:rPr lang="en-US" dirty="0" err="1"/>
              <a:t>opta</a:t>
            </a:r>
            <a:r>
              <a:rPr lang="en-US" dirty="0"/>
              <a:t> cum </a:t>
            </a:r>
            <a:r>
              <a:rPr lang="en-US" dirty="0" err="1"/>
              <a:t>evernatus</a:t>
            </a:r>
            <a:r>
              <a:rPr lang="en-US" dirty="0"/>
              <a:t> </a:t>
            </a:r>
            <a:r>
              <a:rPr lang="en-US" dirty="0" err="1"/>
              <a:t>escidebis</a:t>
            </a:r>
            <a:r>
              <a:rPr lang="en-US" dirty="0"/>
              <a:t> </a:t>
            </a:r>
            <a:r>
              <a:rPr lang="en-US" dirty="0" err="1"/>
              <a:t>ut</a:t>
            </a:r>
            <a:r>
              <a:rPr lang="en-US" dirty="0"/>
              <a:t> </a:t>
            </a:r>
            <a:r>
              <a:rPr lang="en-US" dirty="0" err="1"/>
              <a:t>venimagnam</a:t>
            </a:r>
            <a:r>
              <a:rPr lang="en-US" dirty="0"/>
              <a:t>, </a:t>
            </a:r>
            <a:r>
              <a:rPr lang="en-US" dirty="0" err="1"/>
              <a:t>odion</a:t>
            </a:r>
            <a:r>
              <a:rPr lang="en-US" dirty="0"/>
              <a:t> prat et, </a:t>
            </a:r>
            <a:r>
              <a:rPr lang="en-US" dirty="0" err="1"/>
              <a:t>consequ</a:t>
            </a:r>
            <a:r>
              <a:rPr lang="en-US" dirty="0"/>
              <a:t> </a:t>
            </a:r>
            <a:r>
              <a:rPr lang="en-US" dirty="0" err="1"/>
              <a:t>idemperit</a:t>
            </a:r>
            <a:r>
              <a:rPr lang="en-US" dirty="0"/>
              <a:t> </a:t>
            </a:r>
            <a:r>
              <a:rPr lang="en-US" dirty="0" err="1"/>
              <a:t>ipsus</a:t>
            </a:r>
            <a:r>
              <a:rPr lang="en-US" dirty="0"/>
              <a:t> non </a:t>
            </a:r>
            <a:r>
              <a:rPr lang="en-US" dirty="0" err="1"/>
              <a:t>cumquo</a:t>
            </a:r>
            <a:r>
              <a:rPr lang="en-US" dirty="0"/>
              <a:t> </a:t>
            </a:r>
            <a:r>
              <a:rPr lang="en-US" dirty="0" err="1"/>
              <a:t>volorectum</a:t>
            </a:r>
            <a:r>
              <a:rPr lang="en-US" dirty="0"/>
              <a:t> </a:t>
            </a:r>
            <a:r>
              <a:rPr lang="en-US" dirty="0" err="1"/>
              <a:t>ullam</a:t>
            </a:r>
            <a:r>
              <a:rPr lang="en-US" dirty="0"/>
              <a:t>, </a:t>
            </a:r>
            <a:r>
              <a:rPr lang="en-US" dirty="0" err="1"/>
              <a:t>omnihillatem</a:t>
            </a:r>
            <a:r>
              <a:rPr lang="en-US" dirty="0"/>
              <a:t> </a:t>
            </a:r>
            <a:r>
              <a:rPr lang="en-US" dirty="0" err="1"/>
              <a:t>lamet</a:t>
            </a:r>
            <a:r>
              <a:rPr lang="en-US" dirty="0"/>
              <a:t>.</a:t>
            </a:r>
            <a:endParaRPr lang="en-GB" dirty="0"/>
          </a:p>
        </p:txBody>
      </p:sp>
      <p:grpSp>
        <p:nvGrpSpPr>
          <p:cNvPr id="9" name="Graphic 7">
            <a:extLst>
              <a:ext uri="{FF2B5EF4-FFF2-40B4-BE49-F238E27FC236}">
                <a16:creationId xmlns:a16="http://schemas.microsoft.com/office/drawing/2014/main" id="{A5FB9FAA-B750-4ED3-B5D4-EB4B7BB10879}"/>
              </a:ext>
            </a:extLst>
          </p:cNvPr>
          <p:cNvGrpSpPr/>
          <p:nvPr/>
        </p:nvGrpSpPr>
        <p:grpSpPr>
          <a:xfrm>
            <a:off x="5750858" y="1256145"/>
            <a:ext cx="689964" cy="448450"/>
            <a:chOff x="5581686" y="1681900"/>
            <a:chExt cx="1028308" cy="668360"/>
          </a:xfrm>
          <a:solidFill>
            <a:srgbClr val="E0044E"/>
          </a:solidFill>
        </p:grpSpPr>
        <p:sp>
          <p:nvSpPr>
            <p:cNvPr id="10" name="Freeform: Shape 9">
              <a:extLst>
                <a:ext uri="{FF2B5EF4-FFF2-40B4-BE49-F238E27FC236}">
                  <a16:creationId xmlns:a16="http://schemas.microsoft.com/office/drawing/2014/main" id="{519F6974-A06E-4E23-8668-5CA482AA61CD}"/>
                </a:ext>
              </a:extLst>
            </p:cNvPr>
            <p:cNvSpPr/>
            <p:nvPr/>
          </p:nvSpPr>
          <p:spPr>
            <a:xfrm>
              <a:off x="6139433" y="1681900"/>
              <a:ext cx="470560" cy="668360"/>
            </a:xfrm>
            <a:custGeom>
              <a:avLst/>
              <a:gdLst>
                <a:gd name="connsiteX0" fmla="*/ 150542 w 470560"/>
                <a:gd name="connsiteY0" fmla="*/ 454590 h 668360"/>
                <a:gd name="connsiteX1" fmla="*/ 185688 w 470560"/>
                <a:gd name="connsiteY1" fmla="*/ 466401 h 668360"/>
                <a:gd name="connsiteX2" fmla="*/ 105869 w 470560"/>
                <a:gd name="connsiteY2" fmla="*/ 558889 h 668360"/>
                <a:gd name="connsiteX3" fmla="*/ 110155 w 470560"/>
                <a:gd name="connsiteY3" fmla="*/ 648090 h 668360"/>
                <a:gd name="connsiteX4" fmla="*/ 112632 w 470560"/>
                <a:gd name="connsiteY4" fmla="*/ 650233 h 668360"/>
                <a:gd name="connsiteX5" fmla="*/ 203386 w 470560"/>
                <a:gd name="connsiteY5" fmla="*/ 647842 h 668360"/>
                <a:gd name="connsiteX6" fmla="*/ 205691 w 470560"/>
                <a:gd name="connsiteY6" fmla="*/ 645280 h 668360"/>
                <a:gd name="connsiteX7" fmla="*/ 248935 w 470560"/>
                <a:gd name="connsiteY7" fmla="*/ 598227 h 668360"/>
                <a:gd name="connsiteX8" fmla="*/ 426862 w 470560"/>
                <a:gd name="connsiteY8" fmla="*/ 364864 h 668360"/>
                <a:gd name="connsiteX9" fmla="*/ 469629 w 470560"/>
                <a:gd name="connsiteY9" fmla="*/ 234562 h 668360"/>
                <a:gd name="connsiteX10" fmla="*/ 234162 w 470560"/>
                <a:gd name="connsiteY10" fmla="*/ -505 h 668360"/>
                <a:gd name="connsiteX11" fmla="*/ -906 w 470560"/>
                <a:gd name="connsiteY11" fmla="*/ 234962 h 668360"/>
                <a:gd name="connsiteX12" fmla="*/ 150542 w 470560"/>
                <a:gd name="connsiteY12" fmla="*/ 454590 h 6683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0560" h="668360">
                  <a:moveTo>
                    <a:pt x="150542" y="454590"/>
                  </a:moveTo>
                  <a:cubicBezTo>
                    <a:pt x="161304" y="458495"/>
                    <a:pt x="172354" y="461924"/>
                    <a:pt x="185688" y="466401"/>
                  </a:cubicBezTo>
                  <a:cubicBezTo>
                    <a:pt x="158257" y="498214"/>
                    <a:pt x="131492" y="528122"/>
                    <a:pt x="105869" y="558889"/>
                  </a:cubicBezTo>
                  <a:cubicBezTo>
                    <a:pt x="82419" y="584701"/>
                    <a:pt x="84333" y="624640"/>
                    <a:pt x="110155" y="648090"/>
                  </a:cubicBezTo>
                  <a:cubicBezTo>
                    <a:pt x="110956" y="648833"/>
                    <a:pt x="111784" y="649538"/>
                    <a:pt x="112632" y="650233"/>
                  </a:cubicBezTo>
                  <a:cubicBezTo>
                    <a:pt x="138359" y="674636"/>
                    <a:pt x="178993" y="673560"/>
                    <a:pt x="203386" y="647842"/>
                  </a:cubicBezTo>
                  <a:cubicBezTo>
                    <a:pt x="204177" y="647004"/>
                    <a:pt x="204948" y="646157"/>
                    <a:pt x="205691" y="645280"/>
                  </a:cubicBezTo>
                  <a:cubicBezTo>
                    <a:pt x="220169" y="629659"/>
                    <a:pt x="234266" y="613943"/>
                    <a:pt x="248935" y="598227"/>
                  </a:cubicBezTo>
                  <a:cubicBezTo>
                    <a:pt x="315038" y="525551"/>
                    <a:pt x="378380" y="450779"/>
                    <a:pt x="426862" y="364864"/>
                  </a:cubicBezTo>
                  <a:cubicBezTo>
                    <a:pt x="449722" y="324478"/>
                    <a:pt x="470486" y="282378"/>
                    <a:pt x="469629" y="234562"/>
                  </a:cubicBezTo>
                  <a:cubicBezTo>
                    <a:pt x="469534" y="104631"/>
                    <a:pt x="364092" y="-619"/>
                    <a:pt x="234162" y="-505"/>
                  </a:cubicBezTo>
                  <a:cubicBezTo>
                    <a:pt x="104231" y="-401"/>
                    <a:pt x="-1011" y="105022"/>
                    <a:pt x="-906" y="234962"/>
                  </a:cubicBezTo>
                  <a:cubicBezTo>
                    <a:pt x="-821" y="332479"/>
                    <a:pt x="59416" y="419842"/>
                    <a:pt x="150542" y="454590"/>
                  </a:cubicBezTo>
                </a:path>
              </a:pathLst>
            </a:custGeom>
            <a:solidFill>
              <a:srgbClr val="E0044E"/>
            </a:solidFill>
            <a:ln w="9525" cap="flat">
              <a:noFill/>
              <a:prstDash val="solid"/>
              <a:miter/>
            </a:ln>
          </p:spPr>
          <p:txBody>
            <a:bodyPr rtlCol="0" anchor="ctr"/>
            <a:lstStyle/>
            <a:p>
              <a:endParaRPr lang="en-GB" dirty="0"/>
            </a:p>
          </p:txBody>
        </p:sp>
        <p:sp>
          <p:nvSpPr>
            <p:cNvPr id="11" name="Freeform: Shape 10">
              <a:extLst>
                <a:ext uri="{FF2B5EF4-FFF2-40B4-BE49-F238E27FC236}">
                  <a16:creationId xmlns:a16="http://schemas.microsoft.com/office/drawing/2014/main" id="{E7A0389A-F9D3-4E5D-82BF-2BCDDFFF761B}"/>
                </a:ext>
              </a:extLst>
            </p:cNvPr>
            <p:cNvSpPr/>
            <p:nvPr/>
          </p:nvSpPr>
          <p:spPr>
            <a:xfrm>
              <a:off x="5581686" y="1682608"/>
              <a:ext cx="465628" cy="666552"/>
            </a:xfrm>
            <a:custGeom>
              <a:avLst/>
              <a:gdLst>
                <a:gd name="connsiteX0" fmla="*/ 123549 w 465628"/>
                <a:gd name="connsiteY0" fmla="*/ 441689 h 666552"/>
                <a:gd name="connsiteX1" fmla="*/ 178985 w 465628"/>
                <a:gd name="connsiteY1" fmla="*/ 466168 h 666552"/>
                <a:gd name="connsiteX2" fmla="*/ 170888 w 465628"/>
                <a:gd name="connsiteY2" fmla="*/ 477694 h 666552"/>
                <a:gd name="connsiteX3" fmla="*/ 104213 w 465628"/>
                <a:gd name="connsiteY3" fmla="*/ 555132 h 666552"/>
                <a:gd name="connsiteX4" fmla="*/ 106737 w 465628"/>
                <a:gd name="connsiteY4" fmla="*/ 648039 h 666552"/>
                <a:gd name="connsiteX5" fmla="*/ 156220 w 465628"/>
                <a:gd name="connsiteY5" fmla="*/ 665908 h 666552"/>
                <a:gd name="connsiteX6" fmla="*/ 210798 w 465628"/>
                <a:gd name="connsiteY6" fmla="*/ 633904 h 666552"/>
                <a:gd name="connsiteX7" fmla="*/ 402727 w 465628"/>
                <a:gd name="connsiteY7" fmla="*/ 397303 h 666552"/>
                <a:gd name="connsiteX8" fmla="*/ 464068 w 465628"/>
                <a:gd name="connsiteY8" fmla="*/ 250618 h 666552"/>
                <a:gd name="connsiteX9" fmla="*/ 365389 w 465628"/>
                <a:gd name="connsiteY9" fmla="*/ 43068 h 666552"/>
                <a:gd name="connsiteX10" fmla="*/ 131550 w 465628"/>
                <a:gd name="connsiteY10" fmla="*/ 24780 h 666552"/>
                <a:gd name="connsiteX11" fmla="*/ -848 w 465628"/>
                <a:gd name="connsiteY11" fmla="*/ 229663 h 666552"/>
                <a:gd name="connsiteX12" fmla="*/ 123644 w 465628"/>
                <a:gd name="connsiteY12" fmla="*/ 441689 h 666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5628" h="666552">
                  <a:moveTo>
                    <a:pt x="123549" y="441689"/>
                  </a:moveTo>
                  <a:cubicBezTo>
                    <a:pt x="141561" y="450872"/>
                    <a:pt x="160068" y="459044"/>
                    <a:pt x="178985" y="466168"/>
                  </a:cubicBezTo>
                  <a:cubicBezTo>
                    <a:pt x="176546" y="470188"/>
                    <a:pt x="173841" y="474037"/>
                    <a:pt x="170888" y="477694"/>
                  </a:cubicBezTo>
                  <a:cubicBezTo>
                    <a:pt x="148695" y="503602"/>
                    <a:pt x="126406" y="529319"/>
                    <a:pt x="104213" y="555132"/>
                  </a:cubicBezTo>
                  <a:cubicBezTo>
                    <a:pt x="79257" y="581488"/>
                    <a:pt x="80381" y="623083"/>
                    <a:pt x="106737" y="648039"/>
                  </a:cubicBezTo>
                  <a:cubicBezTo>
                    <a:pt x="120025" y="660631"/>
                    <a:pt x="137960" y="667099"/>
                    <a:pt x="156220" y="665908"/>
                  </a:cubicBezTo>
                  <a:cubicBezTo>
                    <a:pt x="180508" y="665337"/>
                    <a:pt x="195367" y="650573"/>
                    <a:pt x="210798" y="633904"/>
                  </a:cubicBezTo>
                  <a:cubicBezTo>
                    <a:pt x="279854" y="559133"/>
                    <a:pt x="347863" y="483504"/>
                    <a:pt x="402727" y="397303"/>
                  </a:cubicBezTo>
                  <a:cubicBezTo>
                    <a:pt x="431302" y="351964"/>
                    <a:pt x="460448" y="305482"/>
                    <a:pt x="464068" y="250618"/>
                  </a:cubicBezTo>
                  <a:cubicBezTo>
                    <a:pt x="469878" y="164226"/>
                    <a:pt x="437016" y="92979"/>
                    <a:pt x="365389" y="43068"/>
                  </a:cubicBezTo>
                  <a:cubicBezTo>
                    <a:pt x="291856" y="-8271"/>
                    <a:pt x="211655" y="-14082"/>
                    <a:pt x="131550" y="24780"/>
                  </a:cubicBezTo>
                  <a:cubicBezTo>
                    <a:pt x="47634" y="65833"/>
                    <a:pt x="1058" y="135270"/>
                    <a:pt x="-848" y="229663"/>
                  </a:cubicBezTo>
                  <a:cubicBezTo>
                    <a:pt x="-2753" y="324056"/>
                    <a:pt x="41920" y="394826"/>
                    <a:pt x="123644" y="441689"/>
                  </a:cubicBezTo>
                </a:path>
              </a:pathLst>
            </a:custGeom>
            <a:solidFill>
              <a:srgbClr val="E0044E"/>
            </a:solidFill>
            <a:ln w="9525" cap="flat">
              <a:noFill/>
              <a:prstDash val="solid"/>
              <a:miter/>
            </a:ln>
          </p:spPr>
          <p:txBody>
            <a:bodyPr rtlCol="0" anchor="ctr"/>
            <a:lstStyle/>
            <a:p>
              <a:endParaRPr lang="en-GB" dirty="0"/>
            </a:p>
          </p:txBody>
        </p:sp>
      </p:grpSp>
      <p:sp>
        <p:nvSpPr>
          <p:cNvPr id="22" name="Picture Placeholder 21">
            <a:extLst>
              <a:ext uri="{FF2B5EF4-FFF2-40B4-BE49-F238E27FC236}">
                <a16:creationId xmlns:a16="http://schemas.microsoft.com/office/drawing/2014/main" id="{8260569C-4C56-4153-B1C9-F4CF39BAD223}"/>
              </a:ext>
            </a:extLst>
          </p:cNvPr>
          <p:cNvSpPr>
            <a:spLocks noGrp="1"/>
          </p:cNvSpPr>
          <p:nvPr>
            <p:ph type="pic" sz="quarter" idx="14"/>
          </p:nvPr>
        </p:nvSpPr>
        <p:spPr>
          <a:xfrm>
            <a:off x="5578765" y="4040086"/>
            <a:ext cx="1034470" cy="1034470"/>
          </a:xfrm>
          <a:custGeom>
            <a:avLst/>
            <a:gdLst>
              <a:gd name="connsiteX0" fmla="*/ 517235 w 1034470"/>
              <a:gd name="connsiteY0" fmla="*/ 0 h 1034470"/>
              <a:gd name="connsiteX1" fmla="*/ 1034470 w 1034470"/>
              <a:gd name="connsiteY1" fmla="*/ 517235 h 1034470"/>
              <a:gd name="connsiteX2" fmla="*/ 517235 w 1034470"/>
              <a:gd name="connsiteY2" fmla="*/ 1034470 h 1034470"/>
              <a:gd name="connsiteX3" fmla="*/ 0 w 1034470"/>
              <a:gd name="connsiteY3" fmla="*/ 517235 h 1034470"/>
              <a:gd name="connsiteX4" fmla="*/ 517235 w 1034470"/>
              <a:gd name="connsiteY4" fmla="*/ 0 h 10344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4470" h="1034470">
                <a:moveTo>
                  <a:pt x="517235" y="0"/>
                </a:moveTo>
                <a:cubicBezTo>
                  <a:pt x="802896" y="0"/>
                  <a:pt x="1034470" y="231574"/>
                  <a:pt x="1034470" y="517235"/>
                </a:cubicBezTo>
                <a:cubicBezTo>
                  <a:pt x="1034470" y="802896"/>
                  <a:pt x="802896" y="1034470"/>
                  <a:pt x="517235" y="1034470"/>
                </a:cubicBezTo>
                <a:cubicBezTo>
                  <a:pt x="231574" y="1034470"/>
                  <a:pt x="0" y="802896"/>
                  <a:pt x="0" y="517235"/>
                </a:cubicBezTo>
                <a:cubicBezTo>
                  <a:pt x="0" y="231574"/>
                  <a:pt x="231574" y="0"/>
                  <a:pt x="517235" y="0"/>
                </a:cubicBezTo>
                <a:close/>
              </a:path>
            </a:pathLst>
          </a:custGeom>
        </p:spPr>
        <p:txBody>
          <a:bodyPr wrap="square" anchor="t" anchorCtr="1">
            <a:noAutofit/>
          </a:bodyPr>
          <a:lstStyle>
            <a:lvl1pPr marL="0" indent="0" algn="ctr">
              <a:buNone/>
              <a:defRPr sz="1200">
                <a:solidFill>
                  <a:srgbClr val="E0044E"/>
                </a:solidFill>
              </a:defRPr>
            </a:lvl1pPr>
          </a:lstStyle>
          <a:p>
            <a:r>
              <a:rPr lang="en-US" dirty="0"/>
              <a:t>Click icon to add picture</a:t>
            </a:r>
            <a:endParaRPr lang="en-GB" dirty="0"/>
          </a:p>
        </p:txBody>
      </p:sp>
      <p:sp>
        <p:nvSpPr>
          <p:cNvPr id="18" name="Text Placeholder 5">
            <a:extLst>
              <a:ext uri="{FF2B5EF4-FFF2-40B4-BE49-F238E27FC236}">
                <a16:creationId xmlns:a16="http://schemas.microsoft.com/office/drawing/2014/main" id="{96D01C92-D88A-44FD-996B-44B8F7602BE3}"/>
              </a:ext>
            </a:extLst>
          </p:cNvPr>
          <p:cNvSpPr>
            <a:spLocks noGrp="1"/>
          </p:cNvSpPr>
          <p:nvPr>
            <p:ph type="body" sz="quarter" idx="15" hasCustomPrompt="1"/>
          </p:nvPr>
        </p:nvSpPr>
        <p:spPr>
          <a:xfrm>
            <a:off x="5172707" y="5208023"/>
            <a:ext cx="1846587" cy="307777"/>
          </a:xfrm>
          <a:ln>
            <a:solidFill>
              <a:schemeClr val="bg1">
                <a:alpha val="0"/>
              </a:schemeClr>
            </a:solidFill>
          </a:ln>
        </p:spPr>
        <p:txBody>
          <a:bodyPr wrap="none" lIns="72000" anchor="ctr" anchorCtr="1">
            <a:spAutoFit/>
          </a:bodyPr>
          <a:lstStyle>
            <a:lvl1pPr marL="228600" indent="-228600" algn="ctr">
              <a:buClr>
                <a:srgbClr val="E0044E"/>
              </a:buClr>
              <a:buSzPct val="120000"/>
              <a:buFont typeface="Calibri" panose="020F0502020204030204" pitchFamily="34" charset="0"/>
              <a:buChar char="●"/>
              <a:defRPr sz="1400" b="0">
                <a:solidFill>
                  <a:schemeClr val="bg1"/>
                </a:solidFill>
                <a:latin typeface="Segoe UI" panose="020B0502040204020203" pitchFamily="34" charset="0"/>
                <a:cs typeface="Segoe UI" panose="020B0502040204020203" pitchFamily="34" charset="0"/>
              </a:defRPr>
            </a:lvl1pPr>
          </a:lstStyle>
          <a:p>
            <a:pPr lvl="0"/>
            <a:r>
              <a:rPr lang="en-US" dirty="0"/>
              <a:t>Name Placeholder</a:t>
            </a:r>
            <a:endParaRPr lang="en-GB" dirty="0"/>
          </a:p>
        </p:txBody>
      </p:sp>
      <p:sp>
        <p:nvSpPr>
          <p:cNvPr id="20" name="Text Placeholder 19">
            <a:extLst>
              <a:ext uri="{FF2B5EF4-FFF2-40B4-BE49-F238E27FC236}">
                <a16:creationId xmlns:a16="http://schemas.microsoft.com/office/drawing/2014/main" id="{A49EB3B9-59BB-46D6-B82C-78A8E8FDE546}"/>
              </a:ext>
            </a:extLst>
          </p:cNvPr>
          <p:cNvSpPr>
            <a:spLocks noGrp="1"/>
          </p:cNvSpPr>
          <p:nvPr>
            <p:ph type="body" sz="quarter" idx="16" hasCustomPrompt="1"/>
          </p:nvPr>
        </p:nvSpPr>
        <p:spPr>
          <a:xfrm>
            <a:off x="4762501" y="5601380"/>
            <a:ext cx="2667000" cy="518433"/>
          </a:xfrm>
        </p:spPr>
        <p:txBody>
          <a:bodyPr>
            <a:normAutofit/>
          </a:bodyPr>
          <a:lstStyle>
            <a:lvl1pPr marL="0" indent="0" algn="ctr">
              <a:buFont typeface="Arial" panose="020B0604020202020204" pitchFamily="34" charset="0"/>
              <a:buChar char="​"/>
              <a:defRPr sz="1200">
                <a:solidFill>
                  <a:schemeClr val="bg1"/>
                </a:solidFill>
              </a:defRPr>
            </a:lvl1pPr>
            <a:lvl2pPr>
              <a:buNone/>
              <a:defRPr/>
            </a:lvl2pPr>
          </a:lstStyle>
          <a:p>
            <a:pPr lvl="0"/>
            <a:r>
              <a:rPr lang="en-US" dirty="0"/>
              <a:t>TITLE PLACEHOLDER</a:t>
            </a:r>
          </a:p>
        </p:txBody>
      </p:sp>
      <p:sp>
        <p:nvSpPr>
          <p:cNvPr id="6" name="Slide Number Placeholder 5">
            <a:extLst>
              <a:ext uri="{FF2B5EF4-FFF2-40B4-BE49-F238E27FC236}">
                <a16:creationId xmlns:a16="http://schemas.microsoft.com/office/drawing/2014/main" id="{A8E7E9FF-5301-401E-9B81-9D7135C44086}"/>
              </a:ext>
            </a:extLst>
          </p:cNvPr>
          <p:cNvSpPr>
            <a:spLocks noGrp="1"/>
          </p:cNvSpPr>
          <p:nvPr>
            <p:ph type="sldNum" sz="quarter" idx="19"/>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15" name="Footer Placeholder 4">
            <a:extLst>
              <a:ext uri="{FF2B5EF4-FFF2-40B4-BE49-F238E27FC236}">
                <a16:creationId xmlns:a16="http://schemas.microsoft.com/office/drawing/2014/main" id="{1CB0DAA7-583D-484A-98E1-7D3AD7C00B20}"/>
              </a:ext>
            </a:extLst>
          </p:cNvPr>
          <p:cNvSpPr>
            <a:spLocks noGrp="1"/>
          </p:cNvSpPr>
          <p:nvPr>
            <p:ph type="ftr" sz="quarter" idx="50"/>
          </p:nvPr>
        </p:nvSpPr>
        <p:spPr>
          <a:xfrm>
            <a:off x="6424571" y="6479554"/>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16" name="TextBox 15">
            <a:extLst>
              <a:ext uri="{FF2B5EF4-FFF2-40B4-BE49-F238E27FC236}">
                <a16:creationId xmlns:a16="http://schemas.microsoft.com/office/drawing/2014/main" id="{CAEE5534-B16C-4D63-8563-F84B2C581B37}"/>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17" name="Graphic 16">
            <a:extLst>
              <a:ext uri="{FF2B5EF4-FFF2-40B4-BE49-F238E27FC236}">
                <a16:creationId xmlns:a16="http://schemas.microsoft.com/office/drawing/2014/main" id="{077B0EDC-8EA2-457F-B418-C83596AB56E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19790027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Quote and Logo">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30BC5FCF-5ECA-4460-8C32-3F4E911749C0}"/>
              </a:ext>
            </a:extLst>
          </p:cNvPr>
          <p:cNvSpPr>
            <a:spLocks noGrp="1"/>
          </p:cNvSpPr>
          <p:nvPr>
            <p:ph type="pic" sz="quarter" idx="17" hasCustomPrompt="1"/>
          </p:nvPr>
        </p:nvSpPr>
        <p:spPr>
          <a:xfrm>
            <a:off x="4654550" y="947303"/>
            <a:ext cx="2882900" cy="1038660"/>
          </a:xfrm>
        </p:spPr>
        <p:txBody>
          <a:bodyPr anchor="ctr" anchorCtr="0"/>
          <a:lstStyle>
            <a:lvl1pPr marL="0" indent="0" algn="ctr">
              <a:buNone/>
              <a:defRPr>
                <a:solidFill>
                  <a:schemeClr val="bg2">
                    <a:lumMod val="85000"/>
                  </a:schemeClr>
                </a:solidFill>
              </a:defRPr>
            </a:lvl1pPr>
          </a:lstStyle>
          <a:p>
            <a:r>
              <a:rPr lang="en-US" dirty="0"/>
              <a:t>Logo Placeholder</a:t>
            </a:r>
          </a:p>
          <a:p>
            <a:r>
              <a:rPr lang="en-US" dirty="0"/>
              <a:t>Click icon to add image</a:t>
            </a:r>
            <a:endParaRPr lang="en-GB" dirty="0"/>
          </a:p>
        </p:txBody>
      </p:sp>
      <p:sp>
        <p:nvSpPr>
          <p:cNvPr id="3" name="Text Placeholder 2">
            <a:extLst>
              <a:ext uri="{FF2B5EF4-FFF2-40B4-BE49-F238E27FC236}">
                <a16:creationId xmlns:a16="http://schemas.microsoft.com/office/drawing/2014/main" id="{B2BB8E49-1F6F-46FF-9288-4D6D8DB9D556}"/>
              </a:ext>
            </a:extLst>
          </p:cNvPr>
          <p:cNvSpPr>
            <a:spLocks noGrp="1"/>
          </p:cNvSpPr>
          <p:nvPr>
            <p:ph type="body" sz="quarter" idx="13" hasCustomPrompt="1"/>
          </p:nvPr>
        </p:nvSpPr>
        <p:spPr>
          <a:xfrm>
            <a:off x="2026227" y="2436089"/>
            <a:ext cx="8139545" cy="2431475"/>
          </a:xfrm>
        </p:spPr>
        <p:txBody>
          <a:bodyPr>
            <a:normAutofit/>
          </a:bodyPr>
          <a:lstStyle>
            <a:lvl1pPr marL="0" indent="0" algn="ctr">
              <a:buFont typeface="Arial" panose="020B0604020202020204" pitchFamily="34" charset="0"/>
              <a:buChar char="​"/>
              <a:defRPr sz="2400">
                <a:solidFill>
                  <a:schemeClr val="bg1"/>
                </a:solidFill>
              </a:defRPr>
            </a:lvl1pPr>
          </a:lstStyle>
          <a:p>
            <a:pPr lvl="0"/>
            <a:r>
              <a:rPr lang="en-US" dirty="0" err="1"/>
              <a:t>Soluptat</a:t>
            </a:r>
            <a:r>
              <a:rPr lang="en-US" dirty="0"/>
              <a:t> </a:t>
            </a:r>
            <a:r>
              <a:rPr lang="en-US" dirty="0" err="1"/>
              <a:t>uriorum</a:t>
            </a:r>
            <a:r>
              <a:rPr lang="en-US" dirty="0"/>
              <a:t> </a:t>
            </a:r>
            <a:r>
              <a:rPr lang="en-US" dirty="0" err="1"/>
              <a:t>nonem</a:t>
            </a:r>
            <a:r>
              <a:rPr lang="en-US" dirty="0"/>
              <a:t> re </a:t>
            </a:r>
            <a:r>
              <a:rPr lang="en-US" dirty="0" err="1"/>
              <a:t>nectum</a:t>
            </a:r>
            <a:r>
              <a:rPr lang="en-US" dirty="0"/>
              <a:t> rem et is </a:t>
            </a:r>
            <a:r>
              <a:rPr lang="en-US" dirty="0" err="1"/>
              <a:t>eum</a:t>
            </a:r>
            <a:r>
              <a:rPr lang="en-US" dirty="0"/>
              <a:t> </a:t>
            </a:r>
            <a:r>
              <a:rPr lang="en-US" dirty="0" err="1"/>
              <a:t>nist</a:t>
            </a:r>
            <a:r>
              <a:rPr lang="en-US" dirty="0"/>
              <a:t>, sit </a:t>
            </a:r>
            <a:r>
              <a:rPr lang="en-US" dirty="0" err="1"/>
              <a:t>perios</a:t>
            </a:r>
            <a:r>
              <a:rPr lang="en-US" dirty="0"/>
              <a:t> re </a:t>
            </a:r>
            <a:r>
              <a:rPr lang="en-US" dirty="0" err="1"/>
              <a:t>nos</a:t>
            </a:r>
            <a:r>
              <a:rPr lang="en-US" dirty="0"/>
              <a:t> </a:t>
            </a:r>
            <a:r>
              <a:rPr lang="en-US" dirty="0" err="1"/>
              <a:t>modis</a:t>
            </a:r>
            <a:r>
              <a:rPr lang="en-US" dirty="0"/>
              <a:t> </a:t>
            </a:r>
            <a:r>
              <a:rPr lang="en-US" dirty="0" err="1"/>
              <a:t>earit</a:t>
            </a:r>
            <a:r>
              <a:rPr lang="en-US" dirty="0"/>
              <a:t> </a:t>
            </a:r>
            <a:r>
              <a:rPr lang="en-US" dirty="0" err="1"/>
              <a:t>destiis</a:t>
            </a:r>
            <a:r>
              <a:rPr lang="en-US" dirty="0"/>
              <a:t> </a:t>
            </a:r>
            <a:r>
              <a:rPr lang="en-US" dirty="0" err="1"/>
              <a:t>solupid</a:t>
            </a:r>
            <a:r>
              <a:rPr lang="en-US" dirty="0"/>
              <a:t> </a:t>
            </a:r>
            <a:r>
              <a:rPr lang="en-US" dirty="0" err="1"/>
              <a:t>endae</a:t>
            </a:r>
            <a:r>
              <a:rPr lang="en-US" dirty="0"/>
              <a:t> </a:t>
            </a:r>
            <a:r>
              <a:rPr lang="en-US" dirty="0" err="1"/>
              <a:t>nullat</a:t>
            </a:r>
            <a:r>
              <a:rPr lang="en-US" dirty="0"/>
              <a:t> vel molo </a:t>
            </a:r>
            <a:r>
              <a:rPr lang="en-US" dirty="0" err="1"/>
              <a:t>ellam</a:t>
            </a:r>
            <a:r>
              <a:rPr lang="en-US" dirty="0"/>
              <a:t> </a:t>
            </a:r>
            <a:r>
              <a:rPr lang="en-US" dirty="0" err="1"/>
              <a:t>harum</a:t>
            </a:r>
            <a:r>
              <a:rPr lang="en-US" dirty="0"/>
              <a:t> con </a:t>
            </a:r>
            <a:r>
              <a:rPr lang="en-US" dirty="0" err="1"/>
              <a:t>ni</a:t>
            </a:r>
            <a:r>
              <a:rPr lang="en-US" dirty="0"/>
              <a:t> </a:t>
            </a:r>
            <a:r>
              <a:rPr lang="en-US" dirty="0" err="1"/>
              <a:t>corenet</a:t>
            </a:r>
            <a:r>
              <a:rPr lang="en-US" dirty="0"/>
              <a:t> </a:t>
            </a:r>
            <a:r>
              <a:rPr lang="en-US" dirty="0" err="1"/>
              <a:t>uriberumque</a:t>
            </a:r>
            <a:r>
              <a:rPr lang="en-US" dirty="0"/>
              <a:t> </a:t>
            </a:r>
            <a:r>
              <a:rPr lang="en-US" dirty="0" err="1"/>
              <a:t>veria</a:t>
            </a:r>
            <a:r>
              <a:rPr lang="en-US" dirty="0"/>
              <a:t> </a:t>
            </a:r>
            <a:r>
              <a:rPr lang="en-US" dirty="0" err="1"/>
              <a:t>dit</a:t>
            </a:r>
            <a:r>
              <a:rPr lang="en-US" dirty="0"/>
              <a:t> </a:t>
            </a:r>
            <a:r>
              <a:rPr lang="en-US" dirty="0" err="1"/>
              <a:t>magnia</a:t>
            </a:r>
            <a:r>
              <a:rPr lang="en-US" dirty="0"/>
              <a:t> </a:t>
            </a:r>
            <a:r>
              <a:rPr lang="en-US" dirty="0" err="1"/>
              <a:t>sa</a:t>
            </a:r>
            <a:r>
              <a:rPr lang="en-US" dirty="0"/>
              <a:t> </a:t>
            </a:r>
            <a:r>
              <a:rPr lang="en-US" dirty="0" err="1"/>
              <a:t>dolorumquiae</a:t>
            </a:r>
            <a:r>
              <a:rPr lang="en-US" dirty="0"/>
              <a:t> </a:t>
            </a:r>
            <a:r>
              <a:rPr lang="en-US" dirty="0" err="1"/>
              <a:t>poreribus</a:t>
            </a:r>
            <a:r>
              <a:rPr lang="en-US" dirty="0"/>
              <a:t>, </a:t>
            </a:r>
            <a:r>
              <a:rPr lang="en-US" dirty="0" err="1"/>
              <a:t>nobitatin</a:t>
            </a:r>
            <a:r>
              <a:rPr lang="en-US" dirty="0"/>
              <a:t> prat </a:t>
            </a:r>
            <a:r>
              <a:rPr lang="en-US" dirty="0" err="1"/>
              <a:t>facersp</a:t>
            </a:r>
            <a:r>
              <a:rPr lang="en-US" dirty="0"/>
              <a:t> </a:t>
            </a:r>
            <a:r>
              <a:rPr lang="en-US" dirty="0" err="1"/>
              <a:t>elest</a:t>
            </a:r>
            <a:r>
              <a:rPr lang="en-US" dirty="0"/>
              <a:t>, </a:t>
            </a:r>
            <a:r>
              <a:rPr lang="en-US" dirty="0" err="1"/>
              <a:t>simagn</a:t>
            </a:r>
            <a:r>
              <a:rPr lang="en-US" dirty="0"/>
              <a:t>.</a:t>
            </a:r>
            <a:endParaRPr lang="en-GB" dirty="0"/>
          </a:p>
        </p:txBody>
      </p:sp>
      <p:sp>
        <p:nvSpPr>
          <p:cNvPr id="18" name="Text Placeholder 5">
            <a:extLst>
              <a:ext uri="{FF2B5EF4-FFF2-40B4-BE49-F238E27FC236}">
                <a16:creationId xmlns:a16="http://schemas.microsoft.com/office/drawing/2014/main" id="{96D01C92-D88A-44FD-996B-44B8F7602BE3}"/>
              </a:ext>
            </a:extLst>
          </p:cNvPr>
          <p:cNvSpPr>
            <a:spLocks noGrp="1"/>
          </p:cNvSpPr>
          <p:nvPr>
            <p:ph type="body" sz="quarter" idx="15" hasCustomPrompt="1"/>
          </p:nvPr>
        </p:nvSpPr>
        <p:spPr>
          <a:xfrm>
            <a:off x="5179119" y="5208023"/>
            <a:ext cx="1833763" cy="307777"/>
          </a:xfrm>
          <a:ln>
            <a:solidFill>
              <a:schemeClr val="bg1">
                <a:alpha val="0"/>
              </a:schemeClr>
            </a:solidFill>
          </a:ln>
        </p:spPr>
        <p:txBody>
          <a:bodyPr wrap="none" lIns="72000" anchor="ctr" anchorCtr="1">
            <a:spAutoFit/>
          </a:bodyPr>
          <a:lstStyle>
            <a:lvl1pPr marL="228600" indent="-228600" algn="ctr">
              <a:buClr>
                <a:srgbClr val="E0044E"/>
              </a:buClr>
              <a:buSzPct val="120000"/>
              <a:buFont typeface="Calibri" panose="020F0502020204030204" pitchFamily="34" charset="0"/>
              <a:buChar char="●"/>
              <a:defRPr sz="1400" b="0">
                <a:solidFill>
                  <a:schemeClr val="bg1"/>
                </a:solidFill>
                <a:latin typeface="Segoe UI" panose="020B0502040204020203" pitchFamily="34" charset="0"/>
                <a:cs typeface="Segoe UI" panose="020B0502040204020203" pitchFamily="34" charset="0"/>
              </a:defRPr>
            </a:lvl1pPr>
          </a:lstStyle>
          <a:p>
            <a:pPr lvl="0"/>
            <a:r>
              <a:rPr lang="en-US" dirty="0"/>
              <a:t>Name Placeholder</a:t>
            </a:r>
            <a:endParaRPr lang="en-GB" dirty="0"/>
          </a:p>
        </p:txBody>
      </p:sp>
      <p:sp>
        <p:nvSpPr>
          <p:cNvPr id="15" name="Text Placeholder 19">
            <a:extLst>
              <a:ext uri="{FF2B5EF4-FFF2-40B4-BE49-F238E27FC236}">
                <a16:creationId xmlns:a16="http://schemas.microsoft.com/office/drawing/2014/main" id="{D6CF55F7-449F-4887-B445-D494C115210F}"/>
              </a:ext>
            </a:extLst>
          </p:cNvPr>
          <p:cNvSpPr>
            <a:spLocks noGrp="1"/>
          </p:cNvSpPr>
          <p:nvPr>
            <p:ph type="body" sz="quarter" idx="16" hasCustomPrompt="1"/>
          </p:nvPr>
        </p:nvSpPr>
        <p:spPr>
          <a:xfrm>
            <a:off x="4762501" y="5601380"/>
            <a:ext cx="2667000" cy="518433"/>
          </a:xfrm>
        </p:spPr>
        <p:txBody>
          <a:bodyPr>
            <a:normAutofit/>
          </a:bodyPr>
          <a:lstStyle>
            <a:lvl1pPr marL="0" indent="0" algn="ctr">
              <a:buFont typeface="Arial" panose="020B0604020202020204" pitchFamily="34" charset="0"/>
              <a:buChar char="​"/>
              <a:defRPr sz="1200">
                <a:solidFill>
                  <a:schemeClr val="bg1"/>
                </a:solidFill>
                <a:latin typeface="Segoe UI" panose="020B0502040204020203" pitchFamily="34" charset="0"/>
                <a:cs typeface="Segoe UI" panose="020B0502040204020203" pitchFamily="34" charset="0"/>
              </a:defRPr>
            </a:lvl1pPr>
            <a:lvl2pPr>
              <a:buNone/>
              <a:defRPr/>
            </a:lvl2pPr>
          </a:lstStyle>
          <a:p>
            <a:pPr lvl="0"/>
            <a:r>
              <a:rPr lang="en-US" dirty="0"/>
              <a:t>TITLE PLACEHOLDER</a:t>
            </a:r>
          </a:p>
        </p:txBody>
      </p:sp>
      <p:sp>
        <p:nvSpPr>
          <p:cNvPr id="6" name="Slide Number Placeholder 5">
            <a:extLst>
              <a:ext uri="{FF2B5EF4-FFF2-40B4-BE49-F238E27FC236}">
                <a16:creationId xmlns:a16="http://schemas.microsoft.com/office/drawing/2014/main" id="{89187306-94D4-4959-9BC4-A26F481E8180}"/>
              </a:ext>
            </a:extLst>
          </p:cNvPr>
          <p:cNvSpPr>
            <a:spLocks noGrp="1"/>
          </p:cNvSpPr>
          <p:nvPr>
            <p:ph type="sldNum" sz="quarter" idx="20"/>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16" name="Footer Placeholder 4">
            <a:extLst>
              <a:ext uri="{FF2B5EF4-FFF2-40B4-BE49-F238E27FC236}">
                <a16:creationId xmlns:a16="http://schemas.microsoft.com/office/drawing/2014/main" id="{999EFA08-9F50-4347-87CA-1456EF52D6B1}"/>
              </a:ext>
            </a:extLst>
          </p:cNvPr>
          <p:cNvSpPr>
            <a:spLocks noGrp="1"/>
          </p:cNvSpPr>
          <p:nvPr>
            <p:ph type="ftr" sz="quarter" idx="50"/>
          </p:nvPr>
        </p:nvSpPr>
        <p:spPr>
          <a:xfrm>
            <a:off x="6424571" y="6479554"/>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17" name="TextBox 16">
            <a:extLst>
              <a:ext uri="{FF2B5EF4-FFF2-40B4-BE49-F238E27FC236}">
                <a16:creationId xmlns:a16="http://schemas.microsoft.com/office/drawing/2014/main" id="{B54FA0A5-848B-4E6F-9F6A-4CED1F9A65DF}"/>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19" name="Graphic 18">
            <a:extLst>
              <a:ext uri="{FF2B5EF4-FFF2-40B4-BE49-F238E27FC236}">
                <a16:creationId xmlns:a16="http://schemas.microsoft.com/office/drawing/2014/main" id="{7DE686C2-C473-4FAB-96CF-4D6C83161A3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1319648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hite with Image">
    <p:bg>
      <p:bgPr>
        <a:solidFill>
          <a:schemeClr val="bg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603272" y="4405744"/>
            <a:ext cx="5140303" cy="1258455"/>
          </a:xfrm>
        </p:spPr>
        <p:txBody>
          <a:bodyPr lIns="0" rIns="0">
            <a:normAutofit/>
          </a:bodyPr>
          <a:lstStyle>
            <a:lvl1pPr marL="0" indent="0" algn="l">
              <a:buNone/>
              <a:defRPr sz="1400" b="0">
                <a:solidFill>
                  <a:schemeClr val="tx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endParaRPr lang="en-GB" dirty="0"/>
          </a:p>
        </p:txBody>
      </p:sp>
      <p:grpSp>
        <p:nvGrpSpPr>
          <p:cNvPr id="22" name="Group 21">
            <a:extLst>
              <a:ext uri="{FF2B5EF4-FFF2-40B4-BE49-F238E27FC236}">
                <a16:creationId xmlns:a16="http://schemas.microsoft.com/office/drawing/2014/main" id="{06D3E6A9-608F-4FEF-9318-50780452D43F}"/>
              </a:ext>
            </a:extLst>
          </p:cNvPr>
          <p:cNvGrpSpPr/>
          <p:nvPr userDrawn="1"/>
        </p:nvGrpSpPr>
        <p:grpSpPr>
          <a:xfrm>
            <a:off x="9848850" y="557074"/>
            <a:ext cx="1904999" cy="195571"/>
            <a:chOff x="9848850" y="557074"/>
            <a:chExt cx="1904999" cy="195571"/>
          </a:xfrm>
          <a:solidFill>
            <a:schemeClr val="tx1"/>
          </a:solidFill>
        </p:grpSpPr>
        <p:sp>
          <p:nvSpPr>
            <p:cNvPr id="4" name="Freeform: Shape 3">
              <a:extLst>
                <a:ext uri="{FF2B5EF4-FFF2-40B4-BE49-F238E27FC236}">
                  <a16:creationId xmlns:a16="http://schemas.microsoft.com/office/drawing/2014/main" id="{982B1A2E-3EC0-4B78-AB9A-10329041127E}"/>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dirty="0"/>
            </a:p>
          </p:txBody>
        </p:sp>
        <p:sp>
          <p:nvSpPr>
            <p:cNvPr id="5" name="Freeform: Shape 4">
              <a:extLst>
                <a:ext uri="{FF2B5EF4-FFF2-40B4-BE49-F238E27FC236}">
                  <a16:creationId xmlns:a16="http://schemas.microsoft.com/office/drawing/2014/main" id="{CDEEB691-8710-4322-806E-E69F81A5E418}"/>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290779BC-95C9-40DF-AA48-4CE05FA0B9EE}"/>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1BA4860F-3F0D-4929-8566-E5959309DE7F}"/>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B12E63F6-4AED-4FCC-B839-0821E5C1D558}"/>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89E35D2B-5F84-4B67-AC50-4C6225985947}"/>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0EF39E0A-23A7-4A8E-BDFE-97F0DF77FD04}"/>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F46E1330-2734-4879-8F37-EB6C19D791BB}"/>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32ED1C32-8954-4DC5-8742-722004C6AC5D}"/>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4D9BA3F8-B706-48D2-84A5-BAF60046424E}"/>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34C49746-C7B2-49F5-9848-5ED10587F0C5}"/>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dirty="0"/>
            </a:p>
          </p:txBody>
        </p:sp>
      </p:gr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587375" y="2147030"/>
            <a:ext cx="5156200" cy="1999009"/>
          </a:xfrm>
        </p:spPr>
        <p:txBody>
          <a:bodyPr lIns="0" tIns="0" rIns="0" bIns="0" anchor="b" anchorCtr="0">
            <a:spAutoFit/>
          </a:bodyPr>
          <a:lstStyle>
            <a:lvl1pPr>
              <a:defRPr sz="3600"/>
            </a:lvl1pPr>
          </a:lstStyle>
          <a:p>
            <a:r>
              <a:rPr lang="en-US" dirty="0"/>
              <a:t>Title placeholder </a:t>
            </a:r>
            <a:r>
              <a:rPr lang="en-US" dirty="0" err="1"/>
              <a:t>alitori</a:t>
            </a:r>
            <a:r>
              <a:rPr lang="en-US" dirty="0"/>
              <a:t> </a:t>
            </a:r>
            <a:r>
              <a:rPr lang="en-US" dirty="0" err="1"/>
              <a:t>ut</a:t>
            </a:r>
            <a:r>
              <a:rPr lang="en-US" dirty="0"/>
              <a:t> </a:t>
            </a:r>
            <a:r>
              <a:rPr lang="en-US" dirty="0" err="1"/>
              <a:t>exeri</a:t>
            </a:r>
            <a:r>
              <a:rPr lang="en-US" dirty="0"/>
              <a:t> </a:t>
            </a:r>
            <a:r>
              <a:rPr lang="en-US" dirty="0" err="1"/>
              <a:t>bearitati</a:t>
            </a:r>
            <a:r>
              <a:rPr lang="en-US" dirty="0"/>
              <a:t> </a:t>
            </a:r>
            <a:r>
              <a:rPr lang="en-US" dirty="0" err="1"/>
              <a:t>ut</a:t>
            </a:r>
            <a:r>
              <a:rPr lang="en-US" dirty="0"/>
              <a:t> volent </a:t>
            </a:r>
            <a:r>
              <a:rPr lang="en-US" dirty="0" err="1"/>
              <a:t>lamusdae</a:t>
            </a:r>
            <a:r>
              <a:rPr lang="en-US" dirty="0"/>
              <a:t> es qui.</a:t>
            </a:r>
            <a:endParaRPr lang="en-GB" dirty="0"/>
          </a:p>
        </p:txBody>
      </p:sp>
      <p:sp>
        <p:nvSpPr>
          <p:cNvPr id="25" name="Picture Placeholder 24">
            <a:extLst>
              <a:ext uri="{FF2B5EF4-FFF2-40B4-BE49-F238E27FC236}">
                <a16:creationId xmlns:a16="http://schemas.microsoft.com/office/drawing/2014/main" id="{8DA027A5-040C-435B-BADC-90D1B50F8C08}"/>
              </a:ext>
            </a:extLst>
          </p:cNvPr>
          <p:cNvSpPr>
            <a:spLocks noGrp="1"/>
          </p:cNvSpPr>
          <p:nvPr>
            <p:ph type="pic" sz="quarter" idx="15"/>
          </p:nvPr>
        </p:nvSpPr>
        <p:spPr>
          <a:xfrm>
            <a:off x="7923254" y="2012965"/>
            <a:ext cx="4268746" cy="4284648"/>
          </a:xfrm>
          <a:custGeom>
            <a:avLst/>
            <a:gdLst>
              <a:gd name="connsiteX0" fmla="*/ 2047529 w 4268746"/>
              <a:gd name="connsiteY0" fmla="*/ 3183018 h 4284648"/>
              <a:gd name="connsiteX1" fmla="*/ 3785884 w 4268746"/>
              <a:gd name="connsiteY1" fmla="*/ 3183018 h 4284648"/>
              <a:gd name="connsiteX2" fmla="*/ 4242833 w 4268746"/>
              <a:gd name="connsiteY2" fmla="*/ 3425978 h 4284648"/>
              <a:gd name="connsiteX3" fmla="*/ 4268746 w 4268746"/>
              <a:gd name="connsiteY3" fmla="*/ 3473719 h 4284648"/>
              <a:gd name="connsiteX4" fmla="*/ 4268746 w 4268746"/>
              <a:gd name="connsiteY4" fmla="*/ 3994445 h 4284648"/>
              <a:gd name="connsiteX5" fmla="*/ 4242833 w 4268746"/>
              <a:gd name="connsiteY5" fmla="*/ 4042186 h 4284648"/>
              <a:gd name="connsiteX6" fmla="*/ 3856069 w 4268746"/>
              <a:gd name="connsiteY6" fmla="*/ 4280719 h 4284648"/>
              <a:gd name="connsiteX7" fmla="*/ 3793778 w 4268746"/>
              <a:gd name="connsiteY7" fmla="*/ 4284648 h 4284648"/>
              <a:gd name="connsiteX8" fmla="*/ 2042595 w 4268746"/>
              <a:gd name="connsiteY8" fmla="*/ 4284648 h 4284648"/>
              <a:gd name="connsiteX9" fmla="*/ 1936468 w 4268746"/>
              <a:gd name="connsiteY9" fmla="*/ 4273937 h 4284648"/>
              <a:gd name="connsiteX10" fmla="*/ 1496467 w 4268746"/>
              <a:gd name="connsiteY10" fmla="*/ 3734018 h 4284648"/>
              <a:gd name="connsiteX11" fmla="*/ 1496467 w 4268746"/>
              <a:gd name="connsiteY11" fmla="*/ 3733955 h 4284648"/>
              <a:gd name="connsiteX12" fmla="*/ 2047529 w 4268746"/>
              <a:gd name="connsiteY12" fmla="*/ 3183018 h 4284648"/>
              <a:gd name="connsiteX13" fmla="*/ 551062 w 4268746"/>
              <a:gd name="connsiteY13" fmla="*/ 3182955 h 4284648"/>
              <a:gd name="connsiteX14" fmla="*/ 551317 w 4268746"/>
              <a:gd name="connsiteY14" fmla="*/ 3182955 h 4284648"/>
              <a:gd name="connsiteX15" fmla="*/ 1102379 w 4268746"/>
              <a:gd name="connsiteY15" fmla="*/ 3734018 h 4284648"/>
              <a:gd name="connsiteX16" fmla="*/ 662375 w 4268746"/>
              <a:gd name="connsiteY16" fmla="*/ 4273887 h 4284648"/>
              <a:gd name="connsiteX17" fmla="*/ 555622 w 4268746"/>
              <a:gd name="connsiteY17" fmla="*/ 4284648 h 4284648"/>
              <a:gd name="connsiteX18" fmla="*/ 547012 w 4268746"/>
              <a:gd name="connsiteY18" fmla="*/ 4284648 h 4284648"/>
              <a:gd name="connsiteX19" fmla="*/ 440260 w 4268746"/>
              <a:gd name="connsiteY19" fmla="*/ 4273887 h 4284648"/>
              <a:gd name="connsiteX20" fmla="*/ 255 w 4268746"/>
              <a:gd name="connsiteY20" fmla="*/ 3734018 h 4284648"/>
              <a:gd name="connsiteX21" fmla="*/ 64 w 4268746"/>
              <a:gd name="connsiteY21" fmla="*/ 3734082 h 4284648"/>
              <a:gd name="connsiteX22" fmla="*/ 64 w 4268746"/>
              <a:gd name="connsiteY22" fmla="*/ 3733955 h 4284648"/>
              <a:gd name="connsiteX23" fmla="*/ 551062 w 4268746"/>
              <a:gd name="connsiteY23" fmla="*/ 3182955 h 4284648"/>
              <a:gd name="connsiteX24" fmla="*/ 3785884 w 4268746"/>
              <a:gd name="connsiteY24" fmla="*/ 1591573 h 4284648"/>
              <a:gd name="connsiteX25" fmla="*/ 4242833 w 4268746"/>
              <a:gd name="connsiteY25" fmla="*/ 1834532 h 4284648"/>
              <a:gd name="connsiteX26" fmla="*/ 4268746 w 4268746"/>
              <a:gd name="connsiteY26" fmla="*/ 1882274 h 4284648"/>
              <a:gd name="connsiteX27" fmla="*/ 4268746 w 4268746"/>
              <a:gd name="connsiteY27" fmla="*/ 2403001 h 4284648"/>
              <a:gd name="connsiteX28" fmla="*/ 4242846 w 4268746"/>
              <a:gd name="connsiteY28" fmla="*/ 2450721 h 4284648"/>
              <a:gd name="connsiteX29" fmla="*/ 3785948 w 4268746"/>
              <a:gd name="connsiteY29" fmla="*/ 2693700 h 4284648"/>
              <a:gd name="connsiteX30" fmla="*/ 3785884 w 4268746"/>
              <a:gd name="connsiteY30" fmla="*/ 2693700 h 4284648"/>
              <a:gd name="connsiteX31" fmla="*/ 3234823 w 4268746"/>
              <a:gd name="connsiteY31" fmla="*/ 2142637 h 4284648"/>
              <a:gd name="connsiteX32" fmla="*/ 3785884 w 4268746"/>
              <a:gd name="connsiteY32" fmla="*/ 1591573 h 4284648"/>
              <a:gd name="connsiteX33" fmla="*/ 551062 w 4268746"/>
              <a:gd name="connsiteY33" fmla="*/ 1591573 h 4284648"/>
              <a:gd name="connsiteX34" fmla="*/ 2289673 w 4268746"/>
              <a:gd name="connsiteY34" fmla="*/ 1591573 h 4284648"/>
              <a:gd name="connsiteX35" fmla="*/ 2840734 w 4268746"/>
              <a:gd name="connsiteY35" fmla="*/ 2142637 h 4284648"/>
              <a:gd name="connsiteX36" fmla="*/ 2289673 w 4268746"/>
              <a:gd name="connsiteY36" fmla="*/ 2693700 h 4284648"/>
              <a:gd name="connsiteX37" fmla="*/ 551062 w 4268746"/>
              <a:gd name="connsiteY37" fmla="*/ 2693700 h 4284648"/>
              <a:gd name="connsiteX38" fmla="*/ 64 w 4268746"/>
              <a:gd name="connsiteY38" fmla="*/ 2142700 h 4284648"/>
              <a:gd name="connsiteX39" fmla="*/ 1 w 4268746"/>
              <a:gd name="connsiteY39" fmla="*/ 2142573 h 4284648"/>
              <a:gd name="connsiteX40" fmla="*/ 1 w 4268746"/>
              <a:gd name="connsiteY40" fmla="*/ 2142509 h 4284648"/>
              <a:gd name="connsiteX41" fmla="*/ 551062 w 4268746"/>
              <a:gd name="connsiteY41" fmla="*/ 1591573 h 4284648"/>
              <a:gd name="connsiteX42" fmla="*/ 551126 w 4268746"/>
              <a:gd name="connsiteY42" fmla="*/ 64 h 4284648"/>
              <a:gd name="connsiteX43" fmla="*/ 1102124 w 4268746"/>
              <a:gd name="connsiteY43" fmla="*/ 551191 h 4284648"/>
              <a:gd name="connsiteX44" fmla="*/ 1102188 w 4268746"/>
              <a:gd name="connsiteY44" fmla="*/ 551064 h 4284648"/>
              <a:gd name="connsiteX45" fmla="*/ 551062 w 4268746"/>
              <a:gd name="connsiteY45" fmla="*/ 1102191 h 4284648"/>
              <a:gd name="connsiteX46" fmla="*/ 550999 w 4268746"/>
              <a:gd name="connsiteY46" fmla="*/ 1102191 h 4284648"/>
              <a:gd name="connsiteX47" fmla="*/ 1 w 4268746"/>
              <a:gd name="connsiteY47" fmla="*/ 551064 h 4284648"/>
              <a:gd name="connsiteX48" fmla="*/ 551126 w 4268746"/>
              <a:gd name="connsiteY48" fmla="*/ 64 h 4284648"/>
              <a:gd name="connsiteX49" fmla="*/ 2047529 w 4268746"/>
              <a:gd name="connsiteY49" fmla="*/ 0 h 4284648"/>
              <a:gd name="connsiteX50" fmla="*/ 3785694 w 4268746"/>
              <a:gd name="connsiteY50" fmla="*/ 0 h 4284648"/>
              <a:gd name="connsiteX51" fmla="*/ 4242642 w 4268746"/>
              <a:gd name="connsiteY51" fmla="*/ 242960 h 4284648"/>
              <a:gd name="connsiteX52" fmla="*/ 4268746 w 4268746"/>
              <a:gd name="connsiteY52" fmla="*/ 291053 h 4284648"/>
              <a:gd name="connsiteX53" fmla="*/ 4268746 w 4268746"/>
              <a:gd name="connsiteY53" fmla="*/ 811427 h 4284648"/>
              <a:gd name="connsiteX54" fmla="*/ 4242833 w 4268746"/>
              <a:gd name="connsiteY54" fmla="*/ 859168 h 4284648"/>
              <a:gd name="connsiteX55" fmla="*/ 3785884 w 4268746"/>
              <a:gd name="connsiteY55" fmla="*/ 1102127 h 4284648"/>
              <a:gd name="connsiteX56" fmla="*/ 2047529 w 4268746"/>
              <a:gd name="connsiteY56" fmla="*/ 1102127 h 4284648"/>
              <a:gd name="connsiteX57" fmla="*/ 1496467 w 4268746"/>
              <a:gd name="connsiteY57" fmla="*/ 551064 h 4284648"/>
              <a:gd name="connsiteX58" fmla="*/ 2047529 w 4268746"/>
              <a:gd name="connsiteY58" fmla="*/ 0 h 42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268746" h="4284648">
                <a:moveTo>
                  <a:pt x="2047529" y="3183018"/>
                </a:moveTo>
                <a:lnTo>
                  <a:pt x="3785884" y="3183018"/>
                </a:lnTo>
                <a:cubicBezTo>
                  <a:pt x="3976098" y="3183018"/>
                  <a:pt x="4143803" y="3279394"/>
                  <a:pt x="4242833" y="3425978"/>
                </a:cubicBezTo>
                <a:lnTo>
                  <a:pt x="4268746" y="3473719"/>
                </a:lnTo>
                <a:lnTo>
                  <a:pt x="4268746" y="3994445"/>
                </a:lnTo>
                <a:lnTo>
                  <a:pt x="4242833" y="4042186"/>
                </a:lnTo>
                <a:cubicBezTo>
                  <a:pt x="4156182" y="4170447"/>
                  <a:pt x="4016951" y="4260268"/>
                  <a:pt x="3856069" y="4280719"/>
                </a:cubicBezTo>
                <a:lnTo>
                  <a:pt x="3793778" y="4284648"/>
                </a:lnTo>
                <a:lnTo>
                  <a:pt x="2042595" y="4284648"/>
                </a:lnTo>
                <a:lnTo>
                  <a:pt x="1936468" y="4273937"/>
                </a:lnTo>
                <a:cubicBezTo>
                  <a:pt x="1685353" y="4222524"/>
                  <a:pt x="1496467" y="4000329"/>
                  <a:pt x="1496467" y="3734018"/>
                </a:cubicBezTo>
                <a:cubicBezTo>
                  <a:pt x="1496467" y="3733999"/>
                  <a:pt x="1496467" y="3733974"/>
                  <a:pt x="1496467" y="3733955"/>
                </a:cubicBezTo>
                <a:cubicBezTo>
                  <a:pt x="1496505" y="3429645"/>
                  <a:pt x="1743219" y="3182987"/>
                  <a:pt x="2047529" y="3183018"/>
                </a:cubicBezTo>
                <a:close/>
                <a:moveTo>
                  <a:pt x="551062" y="3182955"/>
                </a:moveTo>
                <a:cubicBezTo>
                  <a:pt x="551145" y="3182955"/>
                  <a:pt x="551234" y="3182955"/>
                  <a:pt x="551317" y="3182955"/>
                </a:cubicBezTo>
                <a:cubicBezTo>
                  <a:pt x="855658" y="3182955"/>
                  <a:pt x="1102379" y="3429676"/>
                  <a:pt x="1102379" y="3734018"/>
                </a:cubicBezTo>
                <a:cubicBezTo>
                  <a:pt x="1102379" y="4000318"/>
                  <a:pt x="913483" y="4222502"/>
                  <a:pt x="662375" y="4273887"/>
                </a:cubicBezTo>
                <a:lnTo>
                  <a:pt x="555622" y="4284648"/>
                </a:lnTo>
                <a:lnTo>
                  <a:pt x="547012" y="4284648"/>
                </a:lnTo>
                <a:lnTo>
                  <a:pt x="440260" y="4273887"/>
                </a:lnTo>
                <a:cubicBezTo>
                  <a:pt x="189151" y="4222502"/>
                  <a:pt x="255" y="4000318"/>
                  <a:pt x="255" y="3734018"/>
                </a:cubicBezTo>
                <a:lnTo>
                  <a:pt x="64" y="3734082"/>
                </a:lnTo>
                <a:cubicBezTo>
                  <a:pt x="64" y="3734037"/>
                  <a:pt x="64" y="3733999"/>
                  <a:pt x="64" y="3733955"/>
                </a:cubicBezTo>
                <a:cubicBezTo>
                  <a:pt x="64" y="3429645"/>
                  <a:pt x="246753" y="3182955"/>
                  <a:pt x="551062" y="3182955"/>
                </a:cubicBezTo>
                <a:close/>
                <a:moveTo>
                  <a:pt x="3785884" y="1591573"/>
                </a:moveTo>
                <a:cubicBezTo>
                  <a:pt x="3976098" y="1591573"/>
                  <a:pt x="4143803" y="1687948"/>
                  <a:pt x="4242833" y="1834532"/>
                </a:cubicBezTo>
                <a:lnTo>
                  <a:pt x="4268746" y="1882274"/>
                </a:lnTo>
                <a:lnTo>
                  <a:pt x="4268746" y="2403001"/>
                </a:lnTo>
                <a:lnTo>
                  <a:pt x="4242846" y="2450721"/>
                </a:lnTo>
                <a:cubicBezTo>
                  <a:pt x="4143830" y="2597300"/>
                  <a:pt x="3976145" y="2693680"/>
                  <a:pt x="3785948" y="2693700"/>
                </a:cubicBezTo>
                <a:cubicBezTo>
                  <a:pt x="3785929" y="2693700"/>
                  <a:pt x="3785903" y="2693700"/>
                  <a:pt x="3785884" y="2693700"/>
                </a:cubicBezTo>
                <a:cubicBezTo>
                  <a:pt x="3481543" y="2693700"/>
                  <a:pt x="3234823" y="2446979"/>
                  <a:pt x="3234823" y="2142637"/>
                </a:cubicBezTo>
                <a:cubicBezTo>
                  <a:pt x="3234823" y="1838294"/>
                  <a:pt x="3481543" y="1591573"/>
                  <a:pt x="3785884" y="1591573"/>
                </a:cubicBezTo>
                <a:close/>
                <a:moveTo>
                  <a:pt x="551062" y="1591573"/>
                </a:moveTo>
                <a:lnTo>
                  <a:pt x="2289673" y="1591573"/>
                </a:lnTo>
                <a:cubicBezTo>
                  <a:pt x="2594014" y="1591573"/>
                  <a:pt x="2840734" y="1838294"/>
                  <a:pt x="2840734" y="2142637"/>
                </a:cubicBezTo>
                <a:cubicBezTo>
                  <a:pt x="2840734" y="2446979"/>
                  <a:pt x="2594014" y="2693700"/>
                  <a:pt x="2289673" y="2693700"/>
                </a:cubicBezTo>
                <a:lnTo>
                  <a:pt x="551062" y="2693700"/>
                </a:lnTo>
                <a:cubicBezTo>
                  <a:pt x="246785" y="2693630"/>
                  <a:pt x="134" y="2446979"/>
                  <a:pt x="64" y="2142700"/>
                </a:cubicBezTo>
                <a:lnTo>
                  <a:pt x="1" y="2142573"/>
                </a:lnTo>
                <a:cubicBezTo>
                  <a:pt x="1" y="2142554"/>
                  <a:pt x="1" y="2142528"/>
                  <a:pt x="1" y="2142509"/>
                </a:cubicBezTo>
                <a:cubicBezTo>
                  <a:pt x="36" y="1838199"/>
                  <a:pt x="246753" y="1591535"/>
                  <a:pt x="551062" y="1591573"/>
                </a:cubicBezTo>
                <a:close/>
                <a:moveTo>
                  <a:pt x="551126" y="64"/>
                </a:moveTo>
                <a:cubicBezTo>
                  <a:pt x="855467" y="102"/>
                  <a:pt x="1102162" y="246849"/>
                  <a:pt x="1102124" y="551191"/>
                </a:cubicBezTo>
                <a:lnTo>
                  <a:pt x="1102188" y="551064"/>
                </a:lnTo>
                <a:cubicBezTo>
                  <a:pt x="1102188" y="855444"/>
                  <a:pt x="855442" y="1102191"/>
                  <a:pt x="551062" y="1102191"/>
                </a:cubicBezTo>
                <a:cubicBezTo>
                  <a:pt x="551043" y="1102191"/>
                  <a:pt x="551018" y="1102191"/>
                  <a:pt x="550999" y="1102191"/>
                </a:cubicBezTo>
                <a:cubicBezTo>
                  <a:pt x="246657" y="1102153"/>
                  <a:pt x="-34" y="855406"/>
                  <a:pt x="1" y="551064"/>
                </a:cubicBezTo>
                <a:cubicBezTo>
                  <a:pt x="36" y="246721"/>
                  <a:pt x="246785" y="25"/>
                  <a:pt x="551126" y="64"/>
                </a:cubicBezTo>
                <a:close/>
                <a:moveTo>
                  <a:pt x="2047529" y="0"/>
                </a:moveTo>
                <a:lnTo>
                  <a:pt x="3785694" y="0"/>
                </a:lnTo>
                <a:cubicBezTo>
                  <a:pt x="3975907" y="0"/>
                  <a:pt x="4143612" y="96376"/>
                  <a:pt x="4242642" y="242960"/>
                </a:cubicBezTo>
                <a:lnTo>
                  <a:pt x="4268746" y="291053"/>
                </a:lnTo>
                <a:lnTo>
                  <a:pt x="4268746" y="811427"/>
                </a:lnTo>
                <a:lnTo>
                  <a:pt x="4242833" y="859168"/>
                </a:lnTo>
                <a:cubicBezTo>
                  <a:pt x="4143803" y="1005752"/>
                  <a:pt x="3976098" y="1102127"/>
                  <a:pt x="3785884" y="1102127"/>
                </a:cubicBezTo>
                <a:lnTo>
                  <a:pt x="2047529" y="1102127"/>
                </a:lnTo>
                <a:cubicBezTo>
                  <a:pt x="1743188" y="1102127"/>
                  <a:pt x="1496467" y="855406"/>
                  <a:pt x="1496467" y="551064"/>
                </a:cubicBezTo>
                <a:cubicBezTo>
                  <a:pt x="1496467" y="246721"/>
                  <a:pt x="1743188" y="0"/>
                  <a:pt x="2047529" y="0"/>
                </a:cubicBezTo>
                <a:close/>
              </a:path>
            </a:pathLst>
          </a:custGeom>
          <a:solidFill>
            <a:srgbClr val="E6E7E8"/>
          </a:solidFill>
        </p:spPr>
        <p:txBody>
          <a:bodyPr wrap="square" anchor="ctr" anchorCtr="0">
            <a:noAutofit/>
          </a:bodyPr>
          <a:lstStyle>
            <a:lvl1pPr marL="0" indent="0">
              <a:spcBef>
                <a:spcPts val="1200"/>
              </a:spcBef>
              <a:buNone/>
              <a:defRPr sz="1400"/>
            </a:lvl1p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3377420439"/>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stimonials (Three)">
    <p:bg>
      <p:bgPr>
        <a:solidFill>
          <a:schemeClr val="bg2"/>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5705EC5-B505-4186-8341-23F0B2602E75}"/>
              </a:ext>
            </a:extLst>
          </p:cNvPr>
          <p:cNvSpPr>
            <a:spLocks noGrp="1"/>
          </p:cNvSpPr>
          <p:nvPr>
            <p:ph type="body" sz="quarter" idx="17" hasCustomPrompt="1"/>
          </p:nvPr>
        </p:nvSpPr>
        <p:spPr>
          <a:xfrm>
            <a:off x="587375" y="2209737"/>
            <a:ext cx="3265200" cy="3676938"/>
          </a:xfrm>
          <a:solidFill>
            <a:srgbClr val="301038"/>
          </a:solidFill>
        </p:spPr>
        <p:txBody>
          <a:bodyPr/>
          <a:lstStyle>
            <a:lvl1pPr marL="0" indent="0">
              <a:buNone/>
              <a:defRPr/>
            </a:lvl1pPr>
          </a:lstStyle>
          <a:p>
            <a:pPr lvl="0"/>
            <a:r>
              <a:rPr lang="en-US"/>
              <a:t> </a:t>
            </a:r>
            <a:endParaRPr lang="en-GB"/>
          </a:p>
        </p:txBody>
      </p:sp>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222559"/>
            <a:ext cx="10980738" cy="697057"/>
          </a:xfrm>
        </p:spPr>
        <p:txBody>
          <a:bodyPr/>
          <a:lstStyle>
            <a:lvl1pPr>
              <a:defRPr>
                <a:solidFill>
                  <a:schemeClr val="bg1"/>
                </a:solidFill>
              </a:defRPr>
            </a:lvl1pPr>
          </a:lstStyle>
          <a:p>
            <a:r>
              <a:rPr lang="en-US" dirty="0"/>
              <a:t>H1 placeholder.</a:t>
            </a:r>
            <a:endParaRPr lang="en-GB" dirty="0"/>
          </a:p>
        </p:txBody>
      </p:sp>
      <p:sp>
        <p:nvSpPr>
          <p:cNvPr id="20" name="Text Placeholder 8">
            <a:extLst>
              <a:ext uri="{FF2B5EF4-FFF2-40B4-BE49-F238E27FC236}">
                <a16:creationId xmlns:a16="http://schemas.microsoft.com/office/drawing/2014/main" id="{46FC39C1-A222-47DE-BDC2-F0DC1EF1C0F9}"/>
              </a:ext>
            </a:extLst>
          </p:cNvPr>
          <p:cNvSpPr>
            <a:spLocks noGrp="1"/>
          </p:cNvSpPr>
          <p:nvPr>
            <p:ph type="body" sz="quarter" idx="29" hasCustomPrompt="1"/>
          </p:nvPr>
        </p:nvSpPr>
        <p:spPr>
          <a:xfrm>
            <a:off x="8302913" y="2209737"/>
            <a:ext cx="3265200" cy="3676938"/>
          </a:xfrm>
          <a:solidFill>
            <a:srgbClr val="301038"/>
          </a:solidFill>
        </p:spPr>
        <p:txBody>
          <a:bodyPr/>
          <a:lstStyle>
            <a:lvl1pPr marL="0" indent="0">
              <a:buNone/>
              <a:defRPr/>
            </a:lvl1pPr>
          </a:lstStyle>
          <a:p>
            <a:pPr lvl="0"/>
            <a:r>
              <a:rPr lang="en-US"/>
              <a:t> </a:t>
            </a:r>
            <a:endParaRPr lang="en-GB"/>
          </a:p>
        </p:txBody>
      </p:sp>
      <p:sp>
        <p:nvSpPr>
          <p:cNvPr id="31" name="Text Placeholder 8">
            <a:extLst>
              <a:ext uri="{FF2B5EF4-FFF2-40B4-BE49-F238E27FC236}">
                <a16:creationId xmlns:a16="http://schemas.microsoft.com/office/drawing/2014/main" id="{B9EA5752-029F-4F91-A791-539D3F525874}"/>
              </a:ext>
            </a:extLst>
          </p:cNvPr>
          <p:cNvSpPr>
            <a:spLocks noGrp="1"/>
          </p:cNvSpPr>
          <p:nvPr>
            <p:ph type="body" sz="quarter" idx="33" hasCustomPrompt="1"/>
          </p:nvPr>
        </p:nvSpPr>
        <p:spPr>
          <a:xfrm>
            <a:off x="4445144" y="2209737"/>
            <a:ext cx="3265200" cy="3676938"/>
          </a:xfrm>
          <a:solidFill>
            <a:srgbClr val="301038"/>
          </a:solidFill>
        </p:spPr>
        <p:txBody>
          <a:bodyPr/>
          <a:lstStyle>
            <a:lvl1pPr marL="0" indent="0">
              <a:buNone/>
              <a:defRPr/>
            </a:lvl1pPr>
          </a:lstStyle>
          <a:p>
            <a:pPr lvl="0"/>
            <a:r>
              <a:rPr lang="en-US"/>
              <a:t> </a:t>
            </a:r>
            <a:endParaRPr lang="en-GB"/>
          </a:p>
        </p:txBody>
      </p:sp>
      <p:sp>
        <p:nvSpPr>
          <p:cNvPr id="23" name="Picture Placeholder 7">
            <a:extLst>
              <a:ext uri="{FF2B5EF4-FFF2-40B4-BE49-F238E27FC236}">
                <a16:creationId xmlns:a16="http://schemas.microsoft.com/office/drawing/2014/main" id="{C66ADEFB-A137-4737-8F6F-5172FF3BF911}"/>
              </a:ext>
            </a:extLst>
          </p:cNvPr>
          <p:cNvSpPr>
            <a:spLocks noGrp="1"/>
          </p:cNvSpPr>
          <p:nvPr>
            <p:ph type="pic" sz="quarter" idx="36" hasCustomPrompt="1"/>
          </p:nvPr>
        </p:nvSpPr>
        <p:spPr>
          <a:xfrm>
            <a:off x="1285042" y="2428630"/>
            <a:ext cx="1869866" cy="673680"/>
          </a:xfrm>
        </p:spPr>
        <p:txBody>
          <a:bodyPr anchor="ctr" anchorCtr="0"/>
          <a:lstStyle>
            <a:lvl1pPr marL="0" indent="0" algn="ctr">
              <a:buNone/>
              <a:defRPr>
                <a:solidFill>
                  <a:schemeClr val="bg2">
                    <a:lumMod val="85000"/>
                  </a:schemeClr>
                </a:solidFill>
              </a:defRPr>
            </a:lvl1pPr>
          </a:lstStyle>
          <a:p>
            <a:r>
              <a:rPr lang="en-US" dirty="0"/>
              <a:t>Logo Placeholder</a:t>
            </a:r>
            <a:endParaRPr lang="en-GB" dirty="0"/>
          </a:p>
        </p:txBody>
      </p:sp>
      <p:sp>
        <p:nvSpPr>
          <p:cNvPr id="24" name="Text Placeholder 5">
            <a:extLst>
              <a:ext uri="{FF2B5EF4-FFF2-40B4-BE49-F238E27FC236}">
                <a16:creationId xmlns:a16="http://schemas.microsoft.com/office/drawing/2014/main" id="{E2097300-EFF4-46E7-93A8-BDD6E8946DF6}"/>
              </a:ext>
            </a:extLst>
          </p:cNvPr>
          <p:cNvSpPr>
            <a:spLocks noGrp="1"/>
          </p:cNvSpPr>
          <p:nvPr>
            <p:ph type="body" sz="quarter" idx="37" hasCustomPrompt="1"/>
          </p:nvPr>
        </p:nvSpPr>
        <p:spPr>
          <a:xfrm>
            <a:off x="802262" y="5069987"/>
            <a:ext cx="2835425" cy="291618"/>
          </a:xfrm>
        </p:spPr>
        <p:txBody>
          <a:bodyPr wrap="square" lIns="72000" anchor="t" anchorCtr="1">
            <a:normAutofit/>
          </a:bodyPr>
          <a:lstStyle>
            <a:lvl1pPr marL="228600" indent="-228600" algn="ctr">
              <a:buClr>
                <a:srgbClr val="E0044E"/>
              </a:buClr>
              <a:buSzPct val="120000"/>
              <a:buFont typeface="Calibri" panose="020F0502020204030204" pitchFamily="34" charset="0"/>
              <a:buChar char="●"/>
              <a:defRPr sz="1400" b="0">
                <a:solidFill>
                  <a:schemeClr val="bg1"/>
                </a:solidFill>
                <a:latin typeface="Segoe UI" panose="020B0502040204020203" pitchFamily="34" charset="0"/>
                <a:cs typeface="Segoe UI" panose="020B0502040204020203" pitchFamily="34" charset="0"/>
              </a:defRPr>
            </a:lvl1pPr>
          </a:lstStyle>
          <a:p>
            <a:pPr lvl="0"/>
            <a:r>
              <a:rPr lang="en-US" dirty="0"/>
              <a:t>Name Placeholder</a:t>
            </a:r>
            <a:endParaRPr lang="en-GB" dirty="0"/>
          </a:p>
        </p:txBody>
      </p:sp>
      <p:sp>
        <p:nvSpPr>
          <p:cNvPr id="25" name="Text Placeholder 19">
            <a:extLst>
              <a:ext uri="{FF2B5EF4-FFF2-40B4-BE49-F238E27FC236}">
                <a16:creationId xmlns:a16="http://schemas.microsoft.com/office/drawing/2014/main" id="{D22B7069-9B4F-464E-9F4F-5073F310B809}"/>
              </a:ext>
            </a:extLst>
          </p:cNvPr>
          <p:cNvSpPr>
            <a:spLocks noGrp="1"/>
          </p:cNvSpPr>
          <p:nvPr>
            <p:ph type="body" sz="quarter" idx="16" hasCustomPrompt="1"/>
          </p:nvPr>
        </p:nvSpPr>
        <p:spPr>
          <a:xfrm>
            <a:off x="802263" y="5455265"/>
            <a:ext cx="2835424" cy="291619"/>
          </a:xfrm>
        </p:spPr>
        <p:txBody>
          <a:bodyPr anchor="t" anchorCtr="1">
            <a:normAutofit/>
          </a:bodyPr>
          <a:lstStyle>
            <a:lvl1pPr marL="0" indent="0" algn="ctr">
              <a:buFont typeface="Arial" panose="020B0604020202020204" pitchFamily="34" charset="0"/>
              <a:buChar char="​"/>
              <a:defRPr sz="1200">
                <a:solidFill>
                  <a:schemeClr val="bg1"/>
                </a:solidFill>
                <a:latin typeface="Segoe UI" panose="020B0502040204020203" pitchFamily="34" charset="0"/>
                <a:cs typeface="Segoe UI" panose="020B0502040204020203" pitchFamily="34" charset="0"/>
              </a:defRPr>
            </a:lvl1pPr>
            <a:lvl2pPr>
              <a:buNone/>
              <a:defRPr/>
            </a:lvl2pPr>
          </a:lstStyle>
          <a:p>
            <a:pPr lvl="0"/>
            <a:r>
              <a:rPr lang="en-US" dirty="0"/>
              <a:t>TITLE PLACEHOLDER</a:t>
            </a:r>
          </a:p>
        </p:txBody>
      </p:sp>
      <p:sp>
        <p:nvSpPr>
          <p:cNvPr id="26" name="Picture Placeholder 7">
            <a:extLst>
              <a:ext uri="{FF2B5EF4-FFF2-40B4-BE49-F238E27FC236}">
                <a16:creationId xmlns:a16="http://schemas.microsoft.com/office/drawing/2014/main" id="{D7FCD0FA-349F-453F-A403-A4FA508ECDF1}"/>
              </a:ext>
            </a:extLst>
          </p:cNvPr>
          <p:cNvSpPr>
            <a:spLocks noGrp="1"/>
          </p:cNvSpPr>
          <p:nvPr>
            <p:ph type="pic" sz="quarter" idx="38" hasCustomPrompt="1"/>
          </p:nvPr>
        </p:nvSpPr>
        <p:spPr>
          <a:xfrm>
            <a:off x="9002167" y="2428630"/>
            <a:ext cx="1869866" cy="673680"/>
          </a:xfrm>
        </p:spPr>
        <p:txBody>
          <a:bodyPr anchor="ctr" anchorCtr="0"/>
          <a:lstStyle>
            <a:lvl1pPr marL="0" indent="0" algn="ctr">
              <a:buNone/>
              <a:defRPr>
                <a:solidFill>
                  <a:schemeClr val="bg2">
                    <a:lumMod val="85000"/>
                  </a:schemeClr>
                </a:solidFill>
              </a:defRPr>
            </a:lvl1pPr>
          </a:lstStyle>
          <a:p>
            <a:r>
              <a:rPr lang="en-US" dirty="0"/>
              <a:t>Logo Placeholder</a:t>
            </a:r>
            <a:endParaRPr lang="en-GB" dirty="0"/>
          </a:p>
        </p:txBody>
      </p:sp>
      <p:sp>
        <p:nvSpPr>
          <p:cNvPr id="27" name="Picture Placeholder 7">
            <a:extLst>
              <a:ext uri="{FF2B5EF4-FFF2-40B4-BE49-F238E27FC236}">
                <a16:creationId xmlns:a16="http://schemas.microsoft.com/office/drawing/2014/main" id="{A90C7DD2-968C-41BA-89BA-EC937018509F}"/>
              </a:ext>
            </a:extLst>
          </p:cNvPr>
          <p:cNvSpPr>
            <a:spLocks noGrp="1"/>
          </p:cNvSpPr>
          <p:nvPr>
            <p:ph type="pic" sz="quarter" idx="39" hasCustomPrompt="1"/>
          </p:nvPr>
        </p:nvSpPr>
        <p:spPr>
          <a:xfrm>
            <a:off x="5142811" y="2428630"/>
            <a:ext cx="1869866" cy="673680"/>
          </a:xfrm>
        </p:spPr>
        <p:txBody>
          <a:bodyPr anchor="ctr" anchorCtr="0"/>
          <a:lstStyle>
            <a:lvl1pPr marL="0" indent="0" algn="ctr">
              <a:buNone/>
              <a:defRPr>
                <a:solidFill>
                  <a:schemeClr val="bg2">
                    <a:lumMod val="85000"/>
                  </a:schemeClr>
                </a:solidFill>
              </a:defRPr>
            </a:lvl1pPr>
          </a:lstStyle>
          <a:p>
            <a:r>
              <a:rPr lang="en-US" dirty="0"/>
              <a:t>Logo Placeholder</a:t>
            </a:r>
            <a:endParaRPr lang="en-GB" dirty="0"/>
          </a:p>
        </p:txBody>
      </p:sp>
      <p:sp>
        <p:nvSpPr>
          <p:cNvPr id="28" name="Text Placeholder 5">
            <a:extLst>
              <a:ext uri="{FF2B5EF4-FFF2-40B4-BE49-F238E27FC236}">
                <a16:creationId xmlns:a16="http://schemas.microsoft.com/office/drawing/2014/main" id="{F21BA2A1-2BC4-45CB-A483-BB185D98D364}"/>
              </a:ext>
            </a:extLst>
          </p:cNvPr>
          <p:cNvSpPr>
            <a:spLocks noGrp="1"/>
          </p:cNvSpPr>
          <p:nvPr>
            <p:ph type="body" sz="quarter" idx="40" hasCustomPrompt="1"/>
          </p:nvPr>
        </p:nvSpPr>
        <p:spPr>
          <a:xfrm>
            <a:off x="4660032" y="5069987"/>
            <a:ext cx="2835425" cy="291618"/>
          </a:xfrm>
        </p:spPr>
        <p:txBody>
          <a:bodyPr wrap="square" lIns="72000" anchor="t" anchorCtr="1">
            <a:normAutofit/>
          </a:bodyPr>
          <a:lstStyle>
            <a:lvl1pPr marL="228600" indent="-228600" algn="ctr">
              <a:buClr>
                <a:srgbClr val="E0044E"/>
              </a:buClr>
              <a:buSzPct val="120000"/>
              <a:buFont typeface="Calibri" panose="020F0502020204030204" pitchFamily="34" charset="0"/>
              <a:buChar char="●"/>
              <a:defRPr sz="1400" b="0">
                <a:solidFill>
                  <a:schemeClr val="bg1"/>
                </a:solidFill>
                <a:latin typeface="Segoe UI" panose="020B0502040204020203" pitchFamily="34" charset="0"/>
                <a:cs typeface="Segoe UI" panose="020B0502040204020203" pitchFamily="34" charset="0"/>
              </a:defRPr>
            </a:lvl1pPr>
          </a:lstStyle>
          <a:p>
            <a:pPr lvl="0"/>
            <a:r>
              <a:rPr lang="en-US"/>
              <a:t>Name Placeholder</a:t>
            </a:r>
            <a:endParaRPr lang="en-GB"/>
          </a:p>
        </p:txBody>
      </p:sp>
      <p:sp>
        <p:nvSpPr>
          <p:cNvPr id="30" name="Text Placeholder 19">
            <a:extLst>
              <a:ext uri="{FF2B5EF4-FFF2-40B4-BE49-F238E27FC236}">
                <a16:creationId xmlns:a16="http://schemas.microsoft.com/office/drawing/2014/main" id="{E896DE2F-8D06-4209-9C72-FF6DBAD66636}"/>
              </a:ext>
            </a:extLst>
          </p:cNvPr>
          <p:cNvSpPr>
            <a:spLocks noGrp="1"/>
          </p:cNvSpPr>
          <p:nvPr>
            <p:ph type="body" sz="quarter" idx="41" hasCustomPrompt="1"/>
          </p:nvPr>
        </p:nvSpPr>
        <p:spPr>
          <a:xfrm>
            <a:off x="4660032" y="5455265"/>
            <a:ext cx="2835424" cy="291619"/>
          </a:xfrm>
        </p:spPr>
        <p:txBody>
          <a:bodyPr anchor="t" anchorCtr="1">
            <a:normAutofit/>
          </a:bodyPr>
          <a:lstStyle>
            <a:lvl1pPr marL="0" indent="0" algn="ctr">
              <a:buFont typeface="Arial" panose="020B0604020202020204" pitchFamily="34" charset="0"/>
              <a:buChar char="​"/>
              <a:defRPr sz="1200">
                <a:solidFill>
                  <a:schemeClr val="bg1"/>
                </a:solidFill>
                <a:latin typeface="Segoe UI" panose="020B0502040204020203" pitchFamily="34" charset="0"/>
                <a:cs typeface="Segoe UI" panose="020B0502040204020203" pitchFamily="34" charset="0"/>
              </a:defRPr>
            </a:lvl1pPr>
            <a:lvl2pPr>
              <a:buNone/>
              <a:defRPr/>
            </a:lvl2pPr>
          </a:lstStyle>
          <a:p>
            <a:pPr lvl="0"/>
            <a:r>
              <a:rPr lang="en-US"/>
              <a:t>TITLE PLACEHOLDER</a:t>
            </a:r>
          </a:p>
        </p:txBody>
      </p:sp>
      <p:sp>
        <p:nvSpPr>
          <p:cNvPr id="35" name="Text Placeholder 5">
            <a:extLst>
              <a:ext uri="{FF2B5EF4-FFF2-40B4-BE49-F238E27FC236}">
                <a16:creationId xmlns:a16="http://schemas.microsoft.com/office/drawing/2014/main" id="{6A7DF590-509C-4712-9106-AC2746D095E8}"/>
              </a:ext>
            </a:extLst>
          </p:cNvPr>
          <p:cNvSpPr>
            <a:spLocks noGrp="1"/>
          </p:cNvSpPr>
          <p:nvPr>
            <p:ph type="body" sz="quarter" idx="42" hasCustomPrompt="1"/>
          </p:nvPr>
        </p:nvSpPr>
        <p:spPr>
          <a:xfrm>
            <a:off x="8505495" y="5069987"/>
            <a:ext cx="2835425" cy="291618"/>
          </a:xfrm>
        </p:spPr>
        <p:txBody>
          <a:bodyPr wrap="square" lIns="72000" anchor="t" anchorCtr="1">
            <a:normAutofit/>
          </a:bodyPr>
          <a:lstStyle>
            <a:lvl1pPr marL="228600" indent="-228600" algn="ctr">
              <a:buClr>
                <a:srgbClr val="E0044E"/>
              </a:buClr>
              <a:buSzPct val="120000"/>
              <a:buFont typeface="Calibri" panose="020F0502020204030204" pitchFamily="34" charset="0"/>
              <a:buChar char="●"/>
              <a:defRPr sz="1400" b="0">
                <a:solidFill>
                  <a:schemeClr val="bg1"/>
                </a:solidFill>
                <a:latin typeface="Segoe UI" panose="020B0502040204020203" pitchFamily="34" charset="0"/>
                <a:cs typeface="Segoe UI" panose="020B0502040204020203" pitchFamily="34" charset="0"/>
              </a:defRPr>
            </a:lvl1pPr>
          </a:lstStyle>
          <a:p>
            <a:pPr lvl="0"/>
            <a:r>
              <a:rPr lang="en-US"/>
              <a:t>Name Placeholder</a:t>
            </a:r>
            <a:endParaRPr lang="en-GB"/>
          </a:p>
        </p:txBody>
      </p:sp>
      <p:sp>
        <p:nvSpPr>
          <p:cNvPr id="36" name="Text Placeholder 19">
            <a:extLst>
              <a:ext uri="{FF2B5EF4-FFF2-40B4-BE49-F238E27FC236}">
                <a16:creationId xmlns:a16="http://schemas.microsoft.com/office/drawing/2014/main" id="{DF79A31E-500A-451E-B64E-84EC273FAB32}"/>
              </a:ext>
            </a:extLst>
          </p:cNvPr>
          <p:cNvSpPr>
            <a:spLocks noGrp="1"/>
          </p:cNvSpPr>
          <p:nvPr>
            <p:ph type="body" sz="quarter" idx="43" hasCustomPrompt="1"/>
          </p:nvPr>
        </p:nvSpPr>
        <p:spPr>
          <a:xfrm>
            <a:off x="8505496" y="5455265"/>
            <a:ext cx="2835424" cy="291619"/>
          </a:xfrm>
        </p:spPr>
        <p:txBody>
          <a:bodyPr anchor="t" anchorCtr="1">
            <a:normAutofit/>
          </a:bodyPr>
          <a:lstStyle>
            <a:lvl1pPr marL="0" indent="0" algn="ctr">
              <a:buFont typeface="Arial" panose="020B0604020202020204" pitchFamily="34" charset="0"/>
              <a:buChar char="​"/>
              <a:defRPr sz="1200">
                <a:solidFill>
                  <a:schemeClr val="bg1"/>
                </a:solidFill>
                <a:latin typeface="Segoe UI" panose="020B0502040204020203" pitchFamily="34" charset="0"/>
                <a:cs typeface="Segoe UI" panose="020B0502040204020203" pitchFamily="34" charset="0"/>
              </a:defRPr>
            </a:lvl1pPr>
            <a:lvl2pPr>
              <a:buNone/>
              <a:defRPr/>
            </a:lvl2pPr>
          </a:lstStyle>
          <a:p>
            <a:pPr lvl="0"/>
            <a:r>
              <a:rPr lang="en-US" dirty="0"/>
              <a:t>TITLE PLACEHOLDER</a:t>
            </a:r>
          </a:p>
        </p:txBody>
      </p:sp>
      <p:sp>
        <p:nvSpPr>
          <p:cNvPr id="37" name="Text Placeholder 21">
            <a:extLst>
              <a:ext uri="{FF2B5EF4-FFF2-40B4-BE49-F238E27FC236}">
                <a16:creationId xmlns:a16="http://schemas.microsoft.com/office/drawing/2014/main" id="{20B63261-073E-417F-979D-DFF485A3F9DA}"/>
              </a:ext>
            </a:extLst>
          </p:cNvPr>
          <p:cNvSpPr>
            <a:spLocks noGrp="1"/>
          </p:cNvSpPr>
          <p:nvPr>
            <p:ph type="body" sz="quarter" idx="44" hasCustomPrompt="1"/>
          </p:nvPr>
        </p:nvSpPr>
        <p:spPr>
          <a:xfrm>
            <a:off x="587375" y="1426464"/>
            <a:ext cx="10980738" cy="697056"/>
          </a:xfrm>
        </p:spPr>
        <p:txBody>
          <a:bodyPr/>
          <a:lstStyle>
            <a:lvl1pPr marL="0" indent="0">
              <a:buFont typeface="Arial" panose="020B0604020202020204" pitchFamily="34" charset="0"/>
              <a:buChar char="​"/>
              <a:defRPr>
                <a:solidFill>
                  <a:schemeClr val="bg1"/>
                </a:solidFill>
              </a:defRPr>
            </a:lvl1pPr>
            <a:lvl2pPr>
              <a:buNone/>
              <a:defRPr/>
            </a:lvl2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pPr lvl="0"/>
            <a:endParaRPr lang="en-US" dirty="0"/>
          </a:p>
        </p:txBody>
      </p:sp>
      <p:sp>
        <p:nvSpPr>
          <p:cNvPr id="38" name="Text Placeholder 54">
            <a:extLst>
              <a:ext uri="{FF2B5EF4-FFF2-40B4-BE49-F238E27FC236}">
                <a16:creationId xmlns:a16="http://schemas.microsoft.com/office/drawing/2014/main" id="{7F22DDB9-94C5-430D-9C09-836C59FA41C9}"/>
              </a:ext>
            </a:extLst>
          </p:cNvPr>
          <p:cNvSpPr>
            <a:spLocks noGrp="1"/>
          </p:cNvSpPr>
          <p:nvPr>
            <p:ph type="body" sz="quarter" idx="46" hasCustomPrompt="1"/>
          </p:nvPr>
        </p:nvSpPr>
        <p:spPr>
          <a:xfrm>
            <a:off x="802262" y="3316391"/>
            <a:ext cx="2835424" cy="1666573"/>
          </a:xfrm>
        </p:spPr>
        <p:txBody>
          <a:bodyPr>
            <a:normAutofit/>
          </a:bodyPr>
          <a:lstStyle>
            <a:lvl1pPr marL="0" indent="0" algn="ctr">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endParaRPr lang="en-US" dirty="0"/>
          </a:p>
        </p:txBody>
      </p:sp>
      <p:sp>
        <p:nvSpPr>
          <p:cNvPr id="39" name="Text Placeholder 54">
            <a:extLst>
              <a:ext uri="{FF2B5EF4-FFF2-40B4-BE49-F238E27FC236}">
                <a16:creationId xmlns:a16="http://schemas.microsoft.com/office/drawing/2014/main" id="{6CC5E252-D21A-4CD6-B54B-5FE303D6BECD}"/>
              </a:ext>
            </a:extLst>
          </p:cNvPr>
          <p:cNvSpPr>
            <a:spLocks noGrp="1"/>
          </p:cNvSpPr>
          <p:nvPr>
            <p:ph type="body" sz="quarter" idx="47" hasCustomPrompt="1"/>
          </p:nvPr>
        </p:nvSpPr>
        <p:spPr>
          <a:xfrm>
            <a:off x="4660032" y="3316391"/>
            <a:ext cx="2835424" cy="1666573"/>
          </a:xfrm>
        </p:spPr>
        <p:txBody>
          <a:bodyPr>
            <a:normAutofit/>
          </a:bodyPr>
          <a:lstStyle>
            <a:lvl1pPr marL="0" indent="0" algn="ctr">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40" name="Text Placeholder 54">
            <a:extLst>
              <a:ext uri="{FF2B5EF4-FFF2-40B4-BE49-F238E27FC236}">
                <a16:creationId xmlns:a16="http://schemas.microsoft.com/office/drawing/2014/main" id="{330AC4DC-7FDA-48AA-A129-07F3E2BA0EDE}"/>
              </a:ext>
            </a:extLst>
          </p:cNvPr>
          <p:cNvSpPr>
            <a:spLocks noGrp="1"/>
          </p:cNvSpPr>
          <p:nvPr>
            <p:ph type="body" sz="quarter" idx="48" hasCustomPrompt="1"/>
          </p:nvPr>
        </p:nvSpPr>
        <p:spPr>
          <a:xfrm>
            <a:off x="8519389" y="3316391"/>
            <a:ext cx="2835424" cy="1666573"/>
          </a:xfrm>
        </p:spPr>
        <p:txBody>
          <a:bodyPr>
            <a:normAutofit/>
          </a:bodyPr>
          <a:lstStyle>
            <a:lvl1pPr marL="0" indent="0" algn="ctr">
              <a:buFont typeface="Arial" panose="020B0604020202020204" pitchFamily="34" charset="0"/>
              <a:buChar char="​"/>
              <a:defRPr sz="1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Lorem ipsum dolor sit amet, consectetuer adipiscing elit. Maecenas porttitor congue massa. Fusce posuere, magna sed pulvinar ultricies, purus lectus malesuada libero, sit amet commodo magna eros quis urna.</a:t>
            </a:r>
          </a:p>
          <a:p>
            <a:pPr lvl="0"/>
            <a:endParaRPr lang="en-US"/>
          </a:p>
        </p:txBody>
      </p:sp>
      <p:sp>
        <p:nvSpPr>
          <p:cNvPr id="6" name="Slide Number Placeholder 5">
            <a:extLst>
              <a:ext uri="{FF2B5EF4-FFF2-40B4-BE49-F238E27FC236}">
                <a16:creationId xmlns:a16="http://schemas.microsoft.com/office/drawing/2014/main" id="{021EA6ED-5CB6-4531-9E9A-E640A79A9A7F}"/>
              </a:ext>
            </a:extLst>
          </p:cNvPr>
          <p:cNvSpPr>
            <a:spLocks noGrp="1"/>
          </p:cNvSpPr>
          <p:nvPr>
            <p:ph type="sldNum" sz="quarter" idx="51"/>
          </p:nvPr>
        </p:nvSpPr>
        <p:spPr/>
        <p:txBody>
          <a:bodyPr/>
          <a:lstStyle>
            <a:lvl1pPr>
              <a:defRPr>
                <a:solidFill>
                  <a:srgbClr val="E0044E"/>
                </a:solidFill>
              </a:defRPr>
            </a:lvl1pPr>
          </a:lstStyle>
          <a:p>
            <a:fld id="{2604F1CA-F590-4AD7-82C4-33C5478F726E}" type="slidenum">
              <a:rPr lang="en-GB" smtClean="0"/>
              <a:pPr/>
              <a:t>‹#›</a:t>
            </a:fld>
            <a:endParaRPr lang="en-GB" dirty="0"/>
          </a:p>
        </p:txBody>
      </p:sp>
      <p:sp>
        <p:nvSpPr>
          <p:cNvPr id="42" name="Footer Placeholder 4">
            <a:extLst>
              <a:ext uri="{FF2B5EF4-FFF2-40B4-BE49-F238E27FC236}">
                <a16:creationId xmlns:a16="http://schemas.microsoft.com/office/drawing/2014/main" id="{14647FEA-17B3-4191-923F-ABB43B944C43}"/>
              </a:ext>
            </a:extLst>
          </p:cNvPr>
          <p:cNvSpPr>
            <a:spLocks noGrp="1"/>
          </p:cNvSpPr>
          <p:nvPr>
            <p:ph type="ftr" sz="quarter" idx="50"/>
          </p:nvPr>
        </p:nvSpPr>
        <p:spPr>
          <a:xfrm>
            <a:off x="6424571" y="6479554"/>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43" name="TextBox 42">
            <a:extLst>
              <a:ext uri="{FF2B5EF4-FFF2-40B4-BE49-F238E27FC236}">
                <a16:creationId xmlns:a16="http://schemas.microsoft.com/office/drawing/2014/main" id="{5FD22A92-9147-4772-9F1A-AFFBFD4A3870}"/>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44" name="Graphic 43">
            <a:extLst>
              <a:ext uri="{FF2B5EF4-FFF2-40B4-BE49-F238E27FC236}">
                <a16:creationId xmlns:a16="http://schemas.microsoft.com/office/drawing/2014/main" id="{89B7C754-8351-42B6-82A3-A6372EEAEDE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64076729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Testimonials (Thre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4D39AD-9DD7-41A1-B35B-9BCC42A57F0E}"/>
              </a:ext>
            </a:extLst>
          </p:cNvPr>
          <p:cNvSpPr>
            <a:spLocks noGrp="1"/>
          </p:cNvSpPr>
          <p:nvPr>
            <p:ph type="title" hasCustomPrompt="1"/>
          </p:nvPr>
        </p:nvSpPr>
        <p:spPr>
          <a:xfrm>
            <a:off x="587375" y="222559"/>
            <a:ext cx="10980738" cy="697057"/>
          </a:xfrm>
        </p:spPr>
        <p:txBody>
          <a:bodyPr/>
          <a:lstStyle>
            <a:lvl1pPr>
              <a:defRPr>
                <a:solidFill>
                  <a:schemeClr val="bg1"/>
                </a:solidFill>
              </a:defRPr>
            </a:lvl1pPr>
          </a:lstStyle>
          <a:p>
            <a:r>
              <a:rPr lang="en-US" dirty="0"/>
              <a:t>H1 placeholder.</a:t>
            </a:r>
            <a:endParaRPr lang="en-GB" dirty="0"/>
          </a:p>
        </p:txBody>
      </p:sp>
      <p:sp>
        <p:nvSpPr>
          <p:cNvPr id="6" name="Slide Number Placeholder 5">
            <a:extLst>
              <a:ext uri="{FF2B5EF4-FFF2-40B4-BE49-F238E27FC236}">
                <a16:creationId xmlns:a16="http://schemas.microsoft.com/office/drawing/2014/main" id="{021EA6ED-5CB6-4531-9E9A-E640A79A9A7F}"/>
              </a:ext>
            </a:extLst>
          </p:cNvPr>
          <p:cNvSpPr>
            <a:spLocks noGrp="1"/>
          </p:cNvSpPr>
          <p:nvPr>
            <p:ph type="sldNum" sz="quarter" idx="51"/>
          </p:nvPr>
        </p:nvSpPr>
        <p:spPr>
          <a:xfrm>
            <a:off x="11496674" y="6478138"/>
            <a:ext cx="382601" cy="229083"/>
          </a:xfrm>
        </p:spPr>
        <p:txBody>
          <a:bodyPr tIns="0" anchor="ctr"/>
          <a:lstStyle>
            <a:lvl1pPr>
              <a:defRPr>
                <a:solidFill>
                  <a:srgbClr val="E0044E"/>
                </a:solidFill>
              </a:defRPr>
            </a:lvl1pPr>
          </a:lstStyle>
          <a:p>
            <a:fld id="{2604F1CA-F590-4AD7-82C4-33C5478F726E}" type="slidenum">
              <a:rPr lang="en-GB" smtClean="0"/>
              <a:pPr/>
              <a:t>‹#›</a:t>
            </a:fld>
            <a:endParaRPr lang="en-GB" dirty="0"/>
          </a:p>
        </p:txBody>
      </p:sp>
      <p:sp>
        <p:nvSpPr>
          <p:cNvPr id="7" name="Footer Placeholder 4">
            <a:extLst>
              <a:ext uri="{FF2B5EF4-FFF2-40B4-BE49-F238E27FC236}">
                <a16:creationId xmlns:a16="http://schemas.microsoft.com/office/drawing/2014/main" id="{70803764-72B2-461D-B6E5-7BFAAE9C6C1E}"/>
              </a:ext>
            </a:extLst>
          </p:cNvPr>
          <p:cNvSpPr>
            <a:spLocks noGrp="1"/>
          </p:cNvSpPr>
          <p:nvPr>
            <p:ph type="ftr" sz="quarter" idx="50"/>
          </p:nvPr>
        </p:nvSpPr>
        <p:spPr>
          <a:xfrm>
            <a:off x="6424571" y="6479554"/>
            <a:ext cx="3994309" cy="228600"/>
          </a:xfrm>
          <a:prstGeom prst="rect">
            <a:avLst/>
          </a:prstGeom>
        </p:spPr>
        <p:txBody>
          <a:bodyPr lIns="0" rIns="0" anchor="ctr"/>
          <a:lstStyle>
            <a:lvl1pPr>
              <a:defRPr>
                <a:solidFill>
                  <a:schemeClr val="bg1"/>
                </a:solidFill>
              </a:defRPr>
            </a:lvl1pPr>
          </a:lstStyle>
          <a:p>
            <a:r>
              <a:rPr lang="en-US" dirty="0"/>
              <a:t>Presentation Title</a:t>
            </a:r>
            <a:endParaRPr lang="en-GB" dirty="0"/>
          </a:p>
        </p:txBody>
      </p:sp>
      <p:sp>
        <p:nvSpPr>
          <p:cNvPr id="8" name="TextBox 7">
            <a:extLst>
              <a:ext uri="{FF2B5EF4-FFF2-40B4-BE49-F238E27FC236}">
                <a16:creationId xmlns:a16="http://schemas.microsoft.com/office/drawing/2014/main" id="{20CF9E49-B857-4C0E-AF9E-60CCE32D787F}"/>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pic>
        <p:nvPicPr>
          <p:cNvPr id="9" name="Graphic 8">
            <a:extLst>
              <a:ext uri="{FF2B5EF4-FFF2-40B4-BE49-F238E27FC236}">
                <a16:creationId xmlns:a16="http://schemas.microsoft.com/office/drawing/2014/main" id="{6D0A84A6-BF03-4F6D-AC38-766BEFE6ED10}"/>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0609755" y="6552208"/>
            <a:ext cx="811813" cy="83292"/>
          </a:xfrm>
          <a:prstGeom prst="rect">
            <a:avLst/>
          </a:prstGeom>
        </p:spPr>
      </p:pic>
    </p:spTree>
    <p:custDataLst>
      <p:tags r:id="rId1"/>
    </p:custDataLst>
    <p:extLst>
      <p:ext uri="{BB962C8B-B14F-4D97-AF65-F5344CB8AC3E}">
        <p14:creationId xmlns:p14="http://schemas.microsoft.com/office/powerpoint/2010/main" val="1023544568"/>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solidFill>
          <a:schemeClr val="bg2"/>
        </a:soli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D7EE00A6-488D-4470-B170-CCB74267613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128655" y="2406718"/>
            <a:ext cx="3934690" cy="400494"/>
          </a:xfrm>
          <a:prstGeom prst="rect">
            <a:avLst/>
          </a:prstGeom>
        </p:spPr>
      </p:pic>
      <p:sp>
        <p:nvSpPr>
          <p:cNvPr id="9" name="Text Placeholder 8">
            <a:extLst>
              <a:ext uri="{FF2B5EF4-FFF2-40B4-BE49-F238E27FC236}">
                <a16:creationId xmlns:a16="http://schemas.microsoft.com/office/drawing/2014/main" id="{E8CB07D0-6B55-49A5-96A5-4704462E1D63}"/>
              </a:ext>
            </a:extLst>
          </p:cNvPr>
          <p:cNvSpPr>
            <a:spLocks noGrp="1"/>
          </p:cNvSpPr>
          <p:nvPr>
            <p:ph type="body" sz="quarter" idx="10" hasCustomPrompt="1"/>
          </p:nvPr>
        </p:nvSpPr>
        <p:spPr>
          <a:xfrm>
            <a:off x="1150649" y="5981699"/>
            <a:ext cx="9890702" cy="553027"/>
          </a:xfrm>
        </p:spPr>
        <p:txBody>
          <a:bodyPr>
            <a:normAutofit/>
          </a:bodyPr>
          <a:lstStyle>
            <a:lvl1pPr marL="0" indent="0" algn="ctr">
              <a:buFont typeface="Arial" panose="020B0604020202020204" pitchFamily="34" charset="0"/>
              <a:buChar char="​"/>
              <a:defRPr sz="1200">
                <a:solidFill>
                  <a:schemeClr val="bg1"/>
                </a:solidFill>
              </a:defRPr>
            </a:lvl1pPr>
          </a:lstStyle>
          <a:p>
            <a:pPr lvl="0"/>
            <a:r>
              <a:rPr lang="en-US" dirty="0" err="1"/>
              <a:t>Poremolorror</a:t>
            </a:r>
            <a:r>
              <a:rPr lang="en-US" dirty="0"/>
              <a:t> </a:t>
            </a:r>
            <a:r>
              <a:rPr lang="en-US" dirty="0" err="1"/>
              <a:t>sapis</a:t>
            </a:r>
            <a:r>
              <a:rPr lang="en-US" dirty="0"/>
              <a:t> as </a:t>
            </a:r>
            <a:r>
              <a:rPr lang="en-US" dirty="0" err="1"/>
              <a:t>erfercia</a:t>
            </a:r>
            <a:r>
              <a:rPr lang="en-US" dirty="0"/>
              <a:t> es vid </a:t>
            </a:r>
            <a:r>
              <a:rPr lang="en-US" dirty="0" err="1"/>
              <a:t>molut</a:t>
            </a:r>
            <a:r>
              <a:rPr lang="en-US" dirty="0"/>
              <a:t> </a:t>
            </a:r>
            <a:r>
              <a:rPr lang="en-US" dirty="0" err="1"/>
              <a:t>eos</a:t>
            </a:r>
            <a:r>
              <a:rPr lang="en-US" dirty="0"/>
              <a:t> </a:t>
            </a:r>
            <a:r>
              <a:rPr lang="en-US" dirty="0" err="1"/>
              <a:t>eum</a:t>
            </a:r>
            <a:r>
              <a:rPr lang="en-US" dirty="0"/>
              <a:t> </a:t>
            </a:r>
            <a:r>
              <a:rPr lang="en-US" dirty="0" err="1"/>
              <a:t>endaest</a:t>
            </a:r>
            <a:r>
              <a:rPr lang="en-US" dirty="0"/>
              <a:t>, </a:t>
            </a:r>
            <a:r>
              <a:rPr lang="en-US" dirty="0" err="1"/>
              <a:t>estio</a:t>
            </a:r>
            <a:r>
              <a:rPr lang="en-US" dirty="0"/>
              <a:t> </a:t>
            </a:r>
            <a:r>
              <a:rPr lang="en-US" dirty="0" err="1"/>
              <a:t>quibuscia</a:t>
            </a:r>
            <a:r>
              <a:rPr lang="en-US" dirty="0"/>
              <a:t> sim </a:t>
            </a:r>
            <a:r>
              <a:rPr lang="en-US" dirty="0" err="1"/>
              <a:t>voluptam</a:t>
            </a:r>
            <a:r>
              <a:rPr lang="en-US" dirty="0"/>
              <a:t>, am </a:t>
            </a:r>
            <a:r>
              <a:rPr lang="en-US" dirty="0" err="1"/>
              <a:t>libusciis</a:t>
            </a:r>
            <a:r>
              <a:rPr lang="en-US" dirty="0"/>
              <a:t> </a:t>
            </a:r>
            <a:r>
              <a:rPr lang="en-US" dirty="0" err="1"/>
              <a:t>aut</a:t>
            </a:r>
            <a:r>
              <a:rPr lang="en-US" dirty="0"/>
              <a:t> </a:t>
            </a:r>
            <a:r>
              <a:rPr lang="en-US" dirty="0" err="1"/>
              <a:t>dicipis</a:t>
            </a:r>
            <a:r>
              <a:rPr lang="en-US" dirty="0"/>
              <a:t> </a:t>
            </a:r>
            <a:r>
              <a:rPr lang="en-US" dirty="0" err="1"/>
              <a:t>eventet</a:t>
            </a:r>
            <a:r>
              <a:rPr lang="en-US" dirty="0"/>
              <a:t> qui </a:t>
            </a:r>
            <a:r>
              <a:rPr lang="en-US" dirty="0" err="1"/>
              <a:t>nimolup</a:t>
            </a:r>
            <a:r>
              <a:rPr lang="en-US" dirty="0"/>
              <a:t> </a:t>
            </a:r>
            <a:r>
              <a:rPr lang="en-US" dirty="0" err="1"/>
              <a:t>tatatia</a:t>
            </a:r>
            <a:r>
              <a:rPr lang="en-US" dirty="0"/>
              <a:t> ad </a:t>
            </a:r>
            <a:r>
              <a:rPr lang="en-US" dirty="0" err="1"/>
              <a:t>quiam</a:t>
            </a:r>
            <a:r>
              <a:rPr lang="en-US" dirty="0"/>
              <a:t> sin </a:t>
            </a:r>
            <a:r>
              <a:rPr lang="en-US" dirty="0" err="1"/>
              <a:t>eaqui</a:t>
            </a:r>
            <a:r>
              <a:rPr lang="en-US" dirty="0"/>
              <a:t> de </a:t>
            </a:r>
            <a:r>
              <a:rPr lang="en-US" dirty="0" err="1"/>
              <a:t>parum</a:t>
            </a:r>
            <a:r>
              <a:rPr lang="en-US" dirty="0"/>
              <a:t> rem </a:t>
            </a:r>
            <a:r>
              <a:rPr lang="en-US" dirty="0" err="1"/>
              <a:t>alibus</a:t>
            </a:r>
            <a:r>
              <a:rPr lang="en-US" dirty="0"/>
              <a:t>. Odis et </a:t>
            </a:r>
            <a:r>
              <a:rPr lang="en-US" dirty="0" err="1"/>
              <a:t>aboribusa</a:t>
            </a:r>
            <a:r>
              <a:rPr lang="en-US" dirty="0"/>
              <a:t> qui </a:t>
            </a:r>
            <a:r>
              <a:rPr lang="en-US" dirty="0" err="1"/>
              <a:t>dolo</a:t>
            </a:r>
            <a:r>
              <a:rPr lang="en-US" dirty="0"/>
              <a:t> </a:t>
            </a:r>
            <a:r>
              <a:rPr lang="en-US" dirty="0" err="1"/>
              <a:t>ium</a:t>
            </a:r>
            <a:r>
              <a:rPr lang="en-US" dirty="0"/>
              <a:t> quo que vel et </a:t>
            </a:r>
            <a:r>
              <a:rPr lang="en-US" dirty="0" err="1"/>
              <a:t>atem</a:t>
            </a:r>
            <a:r>
              <a:rPr lang="en-US" dirty="0"/>
              <a:t>.</a:t>
            </a:r>
          </a:p>
        </p:txBody>
      </p:sp>
    </p:spTree>
    <p:custDataLst>
      <p:tags r:id="rId1"/>
    </p:custDataLst>
    <p:extLst>
      <p:ext uri="{BB962C8B-B14F-4D97-AF65-F5344CB8AC3E}">
        <p14:creationId xmlns:p14="http://schemas.microsoft.com/office/powerpoint/2010/main" val="3584601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and Content with subtitle">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C837A8E3-5F5E-4216-B243-65CE50AC3195}"/>
              </a:ext>
            </a:extLst>
          </p:cNvPr>
          <p:cNvSpPr>
            <a:spLocks noGrp="1"/>
          </p:cNvSpPr>
          <p:nvPr>
            <p:ph sz="quarter" idx="18" hasCustomPrompt="1"/>
          </p:nvPr>
        </p:nvSpPr>
        <p:spPr>
          <a:xfrm>
            <a:off x="587375" y="1423348"/>
            <a:ext cx="10980737" cy="4351338"/>
          </a:xfrm>
        </p:spPr>
        <p:txBody>
          <a:bodyPr/>
          <a:lstStyle/>
          <a:p>
            <a:pPr lvl="0"/>
            <a:r>
              <a:rPr lang="en-US" dirty="0"/>
              <a:t>Bullet level 1</a:t>
            </a:r>
          </a:p>
          <a:p>
            <a:pPr lvl="1"/>
            <a:r>
              <a:rPr lang="en-US" dirty="0"/>
              <a:t>Second level</a:t>
            </a:r>
          </a:p>
          <a:p>
            <a:pPr lvl="2"/>
            <a:r>
              <a:rPr lang="en-US" dirty="0"/>
              <a:t>Third level</a:t>
            </a:r>
          </a:p>
          <a:p>
            <a:pPr lvl="3"/>
            <a:endParaRPr lang="en-US" dirty="0"/>
          </a:p>
        </p:txBody>
      </p:sp>
      <p:sp>
        <p:nvSpPr>
          <p:cNvPr id="11" name="Title 1">
            <a:extLst>
              <a:ext uri="{FF2B5EF4-FFF2-40B4-BE49-F238E27FC236}">
                <a16:creationId xmlns:a16="http://schemas.microsoft.com/office/drawing/2014/main" id="{E260285C-69C9-4919-B7F7-165FF89CFDEC}"/>
              </a:ext>
            </a:extLst>
          </p:cNvPr>
          <p:cNvSpPr>
            <a:spLocks noGrp="1"/>
          </p:cNvSpPr>
          <p:nvPr>
            <p:ph type="title" hasCustomPrompt="1"/>
          </p:nvPr>
        </p:nvSpPr>
        <p:spPr>
          <a:xfrm>
            <a:off x="587376" y="393192"/>
            <a:ext cx="10980737" cy="548640"/>
          </a:xfrm>
        </p:spPr>
        <p:txBody>
          <a:bodyPr anchor="ctr">
            <a:noAutofit/>
          </a:bodyPr>
          <a:lstStyle>
            <a:lvl1pPr>
              <a:defRPr/>
            </a:lvl1pPr>
          </a:lstStyle>
          <a:p>
            <a:r>
              <a:rPr lang="en-US" dirty="0"/>
              <a:t>H1 placeholder.</a:t>
            </a:r>
            <a:endParaRPr lang="en-GB" dirty="0"/>
          </a:p>
        </p:txBody>
      </p:sp>
      <p:sp>
        <p:nvSpPr>
          <p:cNvPr id="19" name="Slide Number Placeholder 18">
            <a:extLst>
              <a:ext uri="{FF2B5EF4-FFF2-40B4-BE49-F238E27FC236}">
                <a16:creationId xmlns:a16="http://schemas.microsoft.com/office/drawing/2014/main" id="{EF08BC83-9339-4582-AD1A-C40BADC3E7E1}"/>
              </a:ext>
            </a:extLst>
          </p:cNvPr>
          <p:cNvSpPr>
            <a:spLocks noGrp="1"/>
          </p:cNvSpPr>
          <p:nvPr>
            <p:ph type="sldNum" sz="quarter" idx="17"/>
          </p:nvPr>
        </p:nvSpPr>
        <p:spPr/>
        <p:txBody>
          <a:bodyPr/>
          <a:lstStyle/>
          <a:p>
            <a:fld id="{2604F1CA-F590-4AD7-82C4-33C5478F726E}" type="slidenum">
              <a:rPr lang="en-GB" smtClean="0"/>
              <a:pPr/>
              <a:t>‹#›</a:t>
            </a:fld>
            <a:endParaRPr lang="en-GB" dirty="0"/>
          </a:p>
        </p:txBody>
      </p:sp>
      <p:sp>
        <p:nvSpPr>
          <p:cNvPr id="7" name="Text Placeholder 6">
            <a:extLst>
              <a:ext uri="{FF2B5EF4-FFF2-40B4-BE49-F238E27FC236}">
                <a16:creationId xmlns:a16="http://schemas.microsoft.com/office/drawing/2014/main" id="{D472F869-0857-4E9E-956E-92A74599D8AD}"/>
              </a:ext>
            </a:extLst>
          </p:cNvPr>
          <p:cNvSpPr>
            <a:spLocks noGrp="1"/>
          </p:cNvSpPr>
          <p:nvPr>
            <p:ph type="body" sz="quarter" idx="19" hasCustomPrompt="1"/>
          </p:nvPr>
        </p:nvSpPr>
        <p:spPr>
          <a:xfrm>
            <a:off x="587375" y="950976"/>
            <a:ext cx="10980738" cy="456564"/>
          </a:xfrm>
        </p:spPr>
        <p:txBody>
          <a:bodyPr anchor="t">
            <a:normAutofit/>
          </a:bodyPr>
          <a:lstStyle>
            <a:lvl1pPr marL="0" indent="0">
              <a:buFontTx/>
              <a:buNone/>
              <a:defRPr sz="2000"/>
            </a:lvl1pPr>
          </a:lstStyle>
          <a:p>
            <a:pPr lvl="0"/>
            <a:r>
              <a:rPr lang="en-US" dirty="0"/>
              <a:t>Subtitle goes here</a:t>
            </a:r>
            <a:endParaRPr lang="en-IN" dirty="0"/>
          </a:p>
        </p:txBody>
      </p:sp>
      <p:sp>
        <p:nvSpPr>
          <p:cNvPr id="8" name="Footer Placeholder 11">
            <a:extLst>
              <a:ext uri="{FF2B5EF4-FFF2-40B4-BE49-F238E27FC236}">
                <a16:creationId xmlns:a16="http://schemas.microsoft.com/office/drawing/2014/main" id="{2C5AB1B8-2321-47B1-A233-ADF305CF7209}"/>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Tree>
    <p:custDataLst>
      <p:tags r:id="rId1"/>
    </p:custDataLst>
    <p:extLst>
      <p:ext uri="{BB962C8B-B14F-4D97-AF65-F5344CB8AC3E}">
        <p14:creationId xmlns:p14="http://schemas.microsoft.com/office/powerpoint/2010/main" val="10062156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Purple/Gradient">
    <p:bg>
      <p:bgPr>
        <a:solidFill>
          <a:schemeClr val="bg2"/>
        </a:solidFill>
        <a:effectLst/>
      </p:bgPr>
    </p:bg>
    <p:spTree>
      <p:nvGrpSpPr>
        <p:cNvPr id="1" name=""/>
        <p:cNvGrpSpPr/>
        <p:nvPr/>
      </p:nvGrpSpPr>
      <p:grpSpPr>
        <a:xfrm>
          <a:off x="0" y="0"/>
          <a:ext cx="0" cy="0"/>
          <a:chOff x="0" y="0"/>
          <a:chExt cx="0" cy="0"/>
        </a:xfrm>
      </p:grpSpPr>
      <p:pic>
        <p:nvPicPr>
          <p:cNvPr id="31" name="Picture 30" descr="Background pattern&#10;&#10;Description automatically generated">
            <a:extLst>
              <a:ext uri="{FF2B5EF4-FFF2-40B4-BE49-F238E27FC236}">
                <a16:creationId xmlns:a16="http://schemas.microsoft.com/office/drawing/2014/main" id="{E62B7ECA-4C4E-4864-8977-C917D0D382A2}"/>
              </a:ext>
            </a:extLst>
          </p:cNvPr>
          <p:cNvPicPr>
            <a:picLocks noChangeAspect="1"/>
          </p:cNvPicPr>
          <p:nvPr userDrawn="1"/>
        </p:nvPicPr>
        <p:blipFill>
          <a:blip r:embed="rId3">
            <a:extLst>
              <a:ext uri="{28A0092B-C50C-407E-A947-70E740481C1C}">
                <a14:useLocalDpi xmlns:a14="http://schemas.microsoft.com/office/drawing/2010/main" val="0"/>
              </a:ext>
            </a:extLst>
          </a:blip>
          <a:srcRect l="8503" t="23565" r="50000" b="13951"/>
          <a:stretch>
            <a:fillRect/>
          </a:stretch>
        </p:blipFill>
        <p:spPr>
          <a:xfrm>
            <a:off x="7923254" y="2012965"/>
            <a:ext cx="4268746" cy="4285146"/>
          </a:xfrm>
          <a:custGeom>
            <a:avLst/>
            <a:gdLst>
              <a:gd name="connsiteX0" fmla="*/ 2047529 w 4268746"/>
              <a:gd name="connsiteY0" fmla="*/ 3183018 h 4285146"/>
              <a:gd name="connsiteX1" fmla="*/ 3785884 w 4268746"/>
              <a:gd name="connsiteY1" fmla="*/ 3183018 h 4285146"/>
              <a:gd name="connsiteX2" fmla="*/ 4242833 w 4268746"/>
              <a:gd name="connsiteY2" fmla="*/ 3425978 h 4285146"/>
              <a:gd name="connsiteX3" fmla="*/ 4268746 w 4268746"/>
              <a:gd name="connsiteY3" fmla="*/ 3473719 h 4285146"/>
              <a:gd name="connsiteX4" fmla="*/ 4268746 w 4268746"/>
              <a:gd name="connsiteY4" fmla="*/ 3994445 h 4285146"/>
              <a:gd name="connsiteX5" fmla="*/ 4242833 w 4268746"/>
              <a:gd name="connsiteY5" fmla="*/ 4042186 h 4285146"/>
              <a:gd name="connsiteX6" fmla="*/ 3785884 w 4268746"/>
              <a:gd name="connsiteY6" fmla="*/ 4285146 h 4285146"/>
              <a:gd name="connsiteX7" fmla="*/ 2047529 w 4268746"/>
              <a:gd name="connsiteY7" fmla="*/ 4285146 h 4285146"/>
              <a:gd name="connsiteX8" fmla="*/ 1496467 w 4268746"/>
              <a:gd name="connsiteY8" fmla="*/ 3734018 h 4285146"/>
              <a:gd name="connsiteX9" fmla="*/ 1496467 w 4268746"/>
              <a:gd name="connsiteY9" fmla="*/ 3733955 h 4285146"/>
              <a:gd name="connsiteX10" fmla="*/ 2047529 w 4268746"/>
              <a:gd name="connsiteY10" fmla="*/ 3183018 h 4285146"/>
              <a:gd name="connsiteX11" fmla="*/ 551062 w 4268746"/>
              <a:gd name="connsiteY11" fmla="*/ 3182955 h 4285146"/>
              <a:gd name="connsiteX12" fmla="*/ 551317 w 4268746"/>
              <a:gd name="connsiteY12" fmla="*/ 3182955 h 4285146"/>
              <a:gd name="connsiteX13" fmla="*/ 1102379 w 4268746"/>
              <a:gd name="connsiteY13" fmla="*/ 3734018 h 4285146"/>
              <a:gd name="connsiteX14" fmla="*/ 551317 w 4268746"/>
              <a:gd name="connsiteY14" fmla="*/ 4285082 h 4285146"/>
              <a:gd name="connsiteX15" fmla="*/ 255 w 4268746"/>
              <a:gd name="connsiteY15" fmla="*/ 3734018 h 4285146"/>
              <a:gd name="connsiteX16" fmla="*/ 64 w 4268746"/>
              <a:gd name="connsiteY16" fmla="*/ 3734082 h 4285146"/>
              <a:gd name="connsiteX17" fmla="*/ 64 w 4268746"/>
              <a:gd name="connsiteY17" fmla="*/ 3733955 h 4285146"/>
              <a:gd name="connsiteX18" fmla="*/ 551062 w 4268746"/>
              <a:gd name="connsiteY18" fmla="*/ 3182955 h 4285146"/>
              <a:gd name="connsiteX19" fmla="*/ 3785884 w 4268746"/>
              <a:gd name="connsiteY19" fmla="*/ 1591573 h 4285146"/>
              <a:gd name="connsiteX20" fmla="*/ 4242833 w 4268746"/>
              <a:gd name="connsiteY20" fmla="*/ 1834532 h 4285146"/>
              <a:gd name="connsiteX21" fmla="*/ 4268746 w 4268746"/>
              <a:gd name="connsiteY21" fmla="*/ 1882274 h 4285146"/>
              <a:gd name="connsiteX22" fmla="*/ 4268746 w 4268746"/>
              <a:gd name="connsiteY22" fmla="*/ 2403001 h 4285146"/>
              <a:gd name="connsiteX23" fmla="*/ 4242846 w 4268746"/>
              <a:gd name="connsiteY23" fmla="*/ 2450721 h 4285146"/>
              <a:gd name="connsiteX24" fmla="*/ 3785948 w 4268746"/>
              <a:gd name="connsiteY24" fmla="*/ 2693700 h 4285146"/>
              <a:gd name="connsiteX25" fmla="*/ 3785884 w 4268746"/>
              <a:gd name="connsiteY25" fmla="*/ 2693700 h 4285146"/>
              <a:gd name="connsiteX26" fmla="*/ 3234823 w 4268746"/>
              <a:gd name="connsiteY26" fmla="*/ 2142637 h 4285146"/>
              <a:gd name="connsiteX27" fmla="*/ 3785884 w 4268746"/>
              <a:gd name="connsiteY27" fmla="*/ 1591573 h 4285146"/>
              <a:gd name="connsiteX28" fmla="*/ 551062 w 4268746"/>
              <a:gd name="connsiteY28" fmla="*/ 1591573 h 4285146"/>
              <a:gd name="connsiteX29" fmla="*/ 2289673 w 4268746"/>
              <a:gd name="connsiteY29" fmla="*/ 1591573 h 4285146"/>
              <a:gd name="connsiteX30" fmla="*/ 2840734 w 4268746"/>
              <a:gd name="connsiteY30" fmla="*/ 2142637 h 4285146"/>
              <a:gd name="connsiteX31" fmla="*/ 2289673 w 4268746"/>
              <a:gd name="connsiteY31" fmla="*/ 2693700 h 4285146"/>
              <a:gd name="connsiteX32" fmla="*/ 551062 w 4268746"/>
              <a:gd name="connsiteY32" fmla="*/ 2693700 h 4285146"/>
              <a:gd name="connsiteX33" fmla="*/ 64 w 4268746"/>
              <a:gd name="connsiteY33" fmla="*/ 2142700 h 4285146"/>
              <a:gd name="connsiteX34" fmla="*/ 1 w 4268746"/>
              <a:gd name="connsiteY34" fmla="*/ 2142573 h 4285146"/>
              <a:gd name="connsiteX35" fmla="*/ 1 w 4268746"/>
              <a:gd name="connsiteY35" fmla="*/ 2142509 h 4285146"/>
              <a:gd name="connsiteX36" fmla="*/ 551062 w 4268746"/>
              <a:gd name="connsiteY36" fmla="*/ 1591573 h 4285146"/>
              <a:gd name="connsiteX37" fmla="*/ 551126 w 4268746"/>
              <a:gd name="connsiteY37" fmla="*/ 64 h 4285146"/>
              <a:gd name="connsiteX38" fmla="*/ 1102124 w 4268746"/>
              <a:gd name="connsiteY38" fmla="*/ 551191 h 4285146"/>
              <a:gd name="connsiteX39" fmla="*/ 1102188 w 4268746"/>
              <a:gd name="connsiteY39" fmla="*/ 551064 h 4285146"/>
              <a:gd name="connsiteX40" fmla="*/ 551062 w 4268746"/>
              <a:gd name="connsiteY40" fmla="*/ 1102191 h 4285146"/>
              <a:gd name="connsiteX41" fmla="*/ 550999 w 4268746"/>
              <a:gd name="connsiteY41" fmla="*/ 1102191 h 4285146"/>
              <a:gd name="connsiteX42" fmla="*/ 1 w 4268746"/>
              <a:gd name="connsiteY42" fmla="*/ 551064 h 4285146"/>
              <a:gd name="connsiteX43" fmla="*/ 551126 w 4268746"/>
              <a:gd name="connsiteY43" fmla="*/ 64 h 4285146"/>
              <a:gd name="connsiteX44" fmla="*/ 2047529 w 4268746"/>
              <a:gd name="connsiteY44" fmla="*/ 0 h 4285146"/>
              <a:gd name="connsiteX45" fmla="*/ 3785694 w 4268746"/>
              <a:gd name="connsiteY45" fmla="*/ 0 h 4285146"/>
              <a:gd name="connsiteX46" fmla="*/ 4242642 w 4268746"/>
              <a:gd name="connsiteY46" fmla="*/ 242960 h 4285146"/>
              <a:gd name="connsiteX47" fmla="*/ 4268746 w 4268746"/>
              <a:gd name="connsiteY47" fmla="*/ 291053 h 4285146"/>
              <a:gd name="connsiteX48" fmla="*/ 4268746 w 4268746"/>
              <a:gd name="connsiteY48" fmla="*/ 811427 h 4285146"/>
              <a:gd name="connsiteX49" fmla="*/ 4242833 w 4268746"/>
              <a:gd name="connsiteY49" fmla="*/ 859168 h 4285146"/>
              <a:gd name="connsiteX50" fmla="*/ 3785884 w 4268746"/>
              <a:gd name="connsiteY50" fmla="*/ 1102127 h 4285146"/>
              <a:gd name="connsiteX51" fmla="*/ 2047529 w 4268746"/>
              <a:gd name="connsiteY51" fmla="*/ 1102127 h 4285146"/>
              <a:gd name="connsiteX52" fmla="*/ 1496467 w 4268746"/>
              <a:gd name="connsiteY52" fmla="*/ 551064 h 4285146"/>
              <a:gd name="connsiteX53" fmla="*/ 2047529 w 4268746"/>
              <a:gd name="connsiteY53" fmla="*/ 0 h 4285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268746" h="4285146">
                <a:moveTo>
                  <a:pt x="2047529" y="3183018"/>
                </a:moveTo>
                <a:lnTo>
                  <a:pt x="3785884" y="3183018"/>
                </a:lnTo>
                <a:cubicBezTo>
                  <a:pt x="3976098" y="3183018"/>
                  <a:pt x="4143803" y="3279394"/>
                  <a:pt x="4242833" y="3425978"/>
                </a:cubicBezTo>
                <a:lnTo>
                  <a:pt x="4268746" y="3473719"/>
                </a:lnTo>
                <a:lnTo>
                  <a:pt x="4268746" y="3994445"/>
                </a:lnTo>
                <a:lnTo>
                  <a:pt x="4242833" y="4042186"/>
                </a:lnTo>
                <a:cubicBezTo>
                  <a:pt x="4143803" y="4188770"/>
                  <a:pt x="3976098" y="4285146"/>
                  <a:pt x="3785884" y="4285146"/>
                </a:cubicBezTo>
                <a:lnTo>
                  <a:pt x="2047529" y="4285146"/>
                </a:lnTo>
                <a:cubicBezTo>
                  <a:pt x="1743175" y="4285108"/>
                  <a:pt x="1496467" y="4038373"/>
                  <a:pt x="1496467" y="3734018"/>
                </a:cubicBezTo>
                <a:cubicBezTo>
                  <a:pt x="1496467" y="3733999"/>
                  <a:pt x="1496467" y="3733974"/>
                  <a:pt x="1496467" y="3733955"/>
                </a:cubicBezTo>
                <a:cubicBezTo>
                  <a:pt x="1496505" y="3429645"/>
                  <a:pt x="1743219" y="3182987"/>
                  <a:pt x="2047529" y="3183018"/>
                </a:cubicBezTo>
                <a:close/>
                <a:moveTo>
                  <a:pt x="551062" y="3182955"/>
                </a:moveTo>
                <a:cubicBezTo>
                  <a:pt x="551145" y="3182955"/>
                  <a:pt x="551234" y="3182955"/>
                  <a:pt x="551317" y="3182955"/>
                </a:cubicBezTo>
                <a:cubicBezTo>
                  <a:pt x="855658" y="3182955"/>
                  <a:pt x="1102379" y="3429676"/>
                  <a:pt x="1102379" y="3734018"/>
                </a:cubicBezTo>
                <a:cubicBezTo>
                  <a:pt x="1102379" y="4038361"/>
                  <a:pt x="855658" y="4285082"/>
                  <a:pt x="551317" y="4285082"/>
                </a:cubicBezTo>
                <a:cubicBezTo>
                  <a:pt x="246976" y="4285082"/>
                  <a:pt x="255" y="4038361"/>
                  <a:pt x="255" y="3734018"/>
                </a:cubicBezTo>
                <a:lnTo>
                  <a:pt x="64" y="3734082"/>
                </a:lnTo>
                <a:cubicBezTo>
                  <a:pt x="64" y="3734037"/>
                  <a:pt x="64" y="3733999"/>
                  <a:pt x="64" y="3733955"/>
                </a:cubicBezTo>
                <a:cubicBezTo>
                  <a:pt x="64" y="3429645"/>
                  <a:pt x="246753" y="3182955"/>
                  <a:pt x="551062" y="3182955"/>
                </a:cubicBezTo>
                <a:close/>
                <a:moveTo>
                  <a:pt x="3785884" y="1591573"/>
                </a:moveTo>
                <a:cubicBezTo>
                  <a:pt x="3976098" y="1591573"/>
                  <a:pt x="4143803" y="1687948"/>
                  <a:pt x="4242833" y="1834532"/>
                </a:cubicBezTo>
                <a:lnTo>
                  <a:pt x="4268746" y="1882274"/>
                </a:lnTo>
                <a:lnTo>
                  <a:pt x="4268746" y="2403001"/>
                </a:lnTo>
                <a:lnTo>
                  <a:pt x="4242846" y="2450721"/>
                </a:lnTo>
                <a:cubicBezTo>
                  <a:pt x="4143830" y="2597300"/>
                  <a:pt x="3976145" y="2693680"/>
                  <a:pt x="3785948" y="2693700"/>
                </a:cubicBezTo>
                <a:cubicBezTo>
                  <a:pt x="3785929" y="2693700"/>
                  <a:pt x="3785903" y="2693700"/>
                  <a:pt x="3785884" y="2693700"/>
                </a:cubicBezTo>
                <a:cubicBezTo>
                  <a:pt x="3481543" y="2693700"/>
                  <a:pt x="3234823" y="2446979"/>
                  <a:pt x="3234823" y="2142637"/>
                </a:cubicBezTo>
                <a:cubicBezTo>
                  <a:pt x="3234823" y="1838294"/>
                  <a:pt x="3481543" y="1591573"/>
                  <a:pt x="3785884" y="1591573"/>
                </a:cubicBezTo>
                <a:close/>
                <a:moveTo>
                  <a:pt x="551062" y="1591573"/>
                </a:moveTo>
                <a:lnTo>
                  <a:pt x="2289673" y="1591573"/>
                </a:lnTo>
                <a:cubicBezTo>
                  <a:pt x="2594014" y="1591573"/>
                  <a:pt x="2840734" y="1838294"/>
                  <a:pt x="2840734" y="2142637"/>
                </a:cubicBezTo>
                <a:cubicBezTo>
                  <a:pt x="2840734" y="2446979"/>
                  <a:pt x="2594014" y="2693700"/>
                  <a:pt x="2289673" y="2693700"/>
                </a:cubicBezTo>
                <a:lnTo>
                  <a:pt x="551062" y="2693700"/>
                </a:lnTo>
                <a:cubicBezTo>
                  <a:pt x="246785" y="2693630"/>
                  <a:pt x="134" y="2446979"/>
                  <a:pt x="64" y="2142700"/>
                </a:cubicBezTo>
                <a:lnTo>
                  <a:pt x="1" y="2142573"/>
                </a:lnTo>
                <a:cubicBezTo>
                  <a:pt x="1" y="2142554"/>
                  <a:pt x="1" y="2142528"/>
                  <a:pt x="1" y="2142509"/>
                </a:cubicBezTo>
                <a:cubicBezTo>
                  <a:pt x="36" y="1838199"/>
                  <a:pt x="246753" y="1591535"/>
                  <a:pt x="551062" y="1591573"/>
                </a:cubicBezTo>
                <a:close/>
                <a:moveTo>
                  <a:pt x="551126" y="64"/>
                </a:moveTo>
                <a:cubicBezTo>
                  <a:pt x="855467" y="102"/>
                  <a:pt x="1102162" y="246849"/>
                  <a:pt x="1102124" y="551191"/>
                </a:cubicBezTo>
                <a:lnTo>
                  <a:pt x="1102188" y="551064"/>
                </a:lnTo>
                <a:cubicBezTo>
                  <a:pt x="1102188" y="855444"/>
                  <a:pt x="855442" y="1102191"/>
                  <a:pt x="551062" y="1102191"/>
                </a:cubicBezTo>
                <a:cubicBezTo>
                  <a:pt x="551043" y="1102191"/>
                  <a:pt x="551018" y="1102191"/>
                  <a:pt x="550999" y="1102191"/>
                </a:cubicBezTo>
                <a:cubicBezTo>
                  <a:pt x="246657" y="1102153"/>
                  <a:pt x="-34" y="855406"/>
                  <a:pt x="1" y="551064"/>
                </a:cubicBezTo>
                <a:cubicBezTo>
                  <a:pt x="36" y="246721"/>
                  <a:pt x="246785" y="25"/>
                  <a:pt x="551126" y="64"/>
                </a:cubicBezTo>
                <a:close/>
                <a:moveTo>
                  <a:pt x="2047529" y="0"/>
                </a:moveTo>
                <a:lnTo>
                  <a:pt x="3785694" y="0"/>
                </a:lnTo>
                <a:cubicBezTo>
                  <a:pt x="3975907" y="0"/>
                  <a:pt x="4143612" y="96376"/>
                  <a:pt x="4242642" y="242960"/>
                </a:cubicBezTo>
                <a:lnTo>
                  <a:pt x="4268746" y="291053"/>
                </a:lnTo>
                <a:lnTo>
                  <a:pt x="4268746" y="811427"/>
                </a:lnTo>
                <a:lnTo>
                  <a:pt x="4242833" y="859168"/>
                </a:lnTo>
                <a:cubicBezTo>
                  <a:pt x="4143803" y="1005752"/>
                  <a:pt x="3976098" y="1102127"/>
                  <a:pt x="3785884" y="1102127"/>
                </a:cubicBezTo>
                <a:lnTo>
                  <a:pt x="2047529" y="1102127"/>
                </a:lnTo>
                <a:cubicBezTo>
                  <a:pt x="1743188" y="1102127"/>
                  <a:pt x="1496467" y="855406"/>
                  <a:pt x="1496467" y="551064"/>
                </a:cubicBezTo>
                <a:cubicBezTo>
                  <a:pt x="1496467" y="246721"/>
                  <a:pt x="1743188" y="0"/>
                  <a:pt x="2047529" y="0"/>
                </a:cubicBezTo>
                <a:close/>
              </a:path>
            </a:pathLst>
          </a:custGeom>
        </p:spPr>
      </p:pic>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603272" y="4405744"/>
            <a:ext cx="5140303" cy="1258455"/>
          </a:xfrm>
        </p:spPr>
        <p:txBody>
          <a:bodyPr lIns="0" rIns="0">
            <a:normAutofit/>
          </a:bodyPr>
          <a:lstStyle>
            <a:lvl1pPr marL="0" indent="0" algn="l">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endParaRPr lang="en-GB" dirty="0"/>
          </a:p>
        </p:txBody>
      </p:sp>
      <p:grpSp>
        <p:nvGrpSpPr>
          <p:cNvPr id="22" name="Group 21">
            <a:extLst>
              <a:ext uri="{FF2B5EF4-FFF2-40B4-BE49-F238E27FC236}">
                <a16:creationId xmlns:a16="http://schemas.microsoft.com/office/drawing/2014/main" id="{06D3E6A9-608F-4FEF-9318-50780452D43F}"/>
              </a:ext>
            </a:extLst>
          </p:cNvPr>
          <p:cNvGrpSpPr/>
          <p:nvPr userDrawn="1"/>
        </p:nvGrpSpPr>
        <p:grpSpPr>
          <a:xfrm>
            <a:off x="9848850" y="557074"/>
            <a:ext cx="1904999" cy="195571"/>
            <a:chOff x="9848850" y="557074"/>
            <a:chExt cx="1904999" cy="195571"/>
          </a:xfrm>
          <a:solidFill>
            <a:schemeClr val="bg1"/>
          </a:solidFill>
        </p:grpSpPr>
        <p:sp>
          <p:nvSpPr>
            <p:cNvPr id="4" name="Freeform: Shape 3">
              <a:extLst>
                <a:ext uri="{FF2B5EF4-FFF2-40B4-BE49-F238E27FC236}">
                  <a16:creationId xmlns:a16="http://schemas.microsoft.com/office/drawing/2014/main" id="{982B1A2E-3EC0-4B78-AB9A-10329041127E}"/>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dirty="0"/>
            </a:p>
          </p:txBody>
        </p:sp>
        <p:sp>
          <p:nvSpPr>
            <p:cNvPr id="5" name="Freeform: Shape 4">
              <a:extLst>
                <a:ext uri="{FF2B5EF4-FFF2-40B4-BE49-F238E27FC236}">
                  <a16:creationId xmlns:a16="http://schemas.microsoft.com/office/drawing/2014/main" id="{CDEEB691-8710-4322-806E-E69F81A5E418}"/>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290779BC-95C9-40DF-AA48-4CE05FA0B9EE}"/>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1BA4860F-3F0D-4929-8566-E5959309DE7F}"/>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B12E63F6-4AED-4FCC-B839-0821E5C1D558}"/>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89E35D2B-5F84-4B67-AC50-4C6225985947}"/>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0EF39E0A-23A7-4A8E-BDFE-97F0DF77FD04}"/>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F46E1330-2734-4879-8F37-EB6C19D791BB}"/>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32ED1C32-8954-4DC5-8742-722004C6AC5D}"/>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4D9BA3F8-B706-48D2-84A5-BAF60046424E}"/>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34C49746-C7B2-49F5-9848-5ED10587F0C5}"/>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dirty="0"/>
            </a:p>
          </p:txBody>
        </p:sp>
      </p:gr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587375" y="2153891"/>
            <a:ext cx="5156200" cy="1999009"/>
          </a:xfrm>
        </p:spPr>
        <p:txBody>
          <a:bodyPr lIns="0" tIns="0" rIns="0" bIns="0" anchor="b" anchorCtr="0">
            <a:spAutoFit/>
          </a:bodyPr>
          <a:lstStyle>
            <a:lvl1pPr>
              <a:defRPr sz="3600">
                <a:solidFill>
                  <a:schemeClr val="bg1"/>
                </a:solidFill>
              </a:defRPr>
            </a:lvl1pPr>
          </a:lstStyle>
          <a:p>
            <a:r>
              <a:rPr lang="en-US" dirty="0"/>
              <a:t>Title placeholder </a:t>
            </a:r>
            <a:r>
              <a:rPr lang="en-US" dirty="0" err="1"/>
              <a:t>alitori</a:t>
            </a:r>
            <a:r>
              <a:rPr lang="en-US" dirty="0"/>
              <a:t> </a:t>
            </a:r>
            <a:r>
              <a:rPr lang="en-US" dirty="0" err="1"/>
              <a:t>ut</a:t>
            </a:r>
            <a:r>
              <a:rPr lang="en-US" dirty="0"/>
              <a:t> </a:t>
            </a:r>
            <a:r>
              <a:rPr lang="en-US" dirty="0" err="1"/>
              <a:t>exeri</a:t>
            </a:r>
            <a:r>
              <a:rPr lang="en-US" dirty="0"/>
              <a:t> </a:t>
            </a:r>
            <a:r>
              <a:rPr lang="en-US" dirty="0" err="1"/>
              <a:t>bearitati</a:t>
            </a:r>
            <a:r>
              <a:rPr lang="en-US" dirty="0"/>
              <a:t> </a:t>
            </a:r>
            <a:r>
              <a:rPr lang="en-US" dirty="0" err="1"/>
              <a:t>ut</a:t>
            </a:r>
            <a:r>
              <a:rPr lang="en-US" dirty="0"/>
              <a:t> volent </a:t>
            </a:r>
            <a:r>
              <a:rPr lang="en-US" dirty="0" err="1"/>
              <a:t>lamusdae</a:t>
            </a:r>
            <a:r>
              <a:rPr lang="en-US" dirty="0"/>
              <a:t> es qui.</a:t>
            </a:r>
            <a:endParaRPr lang="en-GB" dirty="0"/>
          </a:p>
        </p:txBody>
      </p:sp>
    </p:spTree>
    <p:custDataLst>
      <p:tags r:id="rId1"/>
    </p:custDataLst>
    <p:extLst>
      <p:ext uri="{BB962C8B-B14F-4D97-AF65-F5344CB8AC3E}">
        <p14:creationId xmlns:p14="http://schemas.microsoft.com/office/powerpoint/2010/main" val="54969254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Purple with Image">
    <p:bg>
      <p:bgPr>
        <a:solidFill>
          <a:schemeClr val="bg2"/>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603272" y="4405744"/>
            <a:ext cx="5140303" cy="1258455"/>
          </a:xfrm>
        </p:spPr>
        <p:txBody>
          <a:bodyPr lIns="0" rIns="0">
            <a:normAutofit/>
          </a:bodyPr>
          <a:lstStyle>
            <a:lvl1pPr marL="0" indent="0" algn="l">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eros </a:t>
            </a:r>
            <a:r>
              <a:rPr lang="en-US" dirty="0" err="1"/>
              <a:t>quis</a:t>
            </a:r>
            <a:r>
              <a:rPr lang="en-US" dirty="0"/>
              <a:t> </a:t>
            </a:r>
            <a:r>
              <a:rPr lang="en-US" dirty="0" err="1"/>
              <a:t>urna</a:t>
            </a:r>
            <a:r>
              <a:rPr lang="en-US" dirty="0"/>
              <a:t>.</a:t>
            </a:r>
          </a:p>
          <a:p>
            <a:endParaRPr lang="en-GB" dirty="0"/>
          </a:p>
        </p:txBody>
      </p:sp>
      <p:grpSp>
        <p:nvGrpSpPr>
          <p:cNvPr id="22" name="Group 21">
            <a:extLst>
              <a:ext uri="{FF2B5EF4-FFF2-40B4-BE49-F238E27FC236}">
                <a16:creationId xmlns:a16="http://schemas.microsoft.com/office/drawing/2014/main" id="{06D3E6A9-608F-4FEF-9318-50780452D43F}"/>
              </a:ext>
            </a:extLst>
          </p:cNvPr>
          <p:cNvGrpSpPr/>
          <p:nvPr userDrawn="1"/>
        </p:nvGrpSpPr>
        <p:grpSpPr>
          <a:xfrm>
            <a:off x="9848850" y="557074"/>
            <a:ext cx="1904999" cy="195571"/>
            <a:chOff x="9848850" y="557074"/>
            <a:chExt cx="1904999" cy="195571"/>
          </a:xfrm>
          <a:solidFill>
            <a:schemeClr val="bg1"/>
          </a:solidFill>
        </p:grpSpPr>
        <p:sp>
          <p:nvSpPr>
            <p:cNvPr id="4" name="Freeform: Shape 3">
              <a:extLst>
                <a:ext uri="{FF2B5EF4-FFF2-40B4-BE49-F238E27FC236}">
                  <a16:creationId xmlns:a16="http://schemas.microsoft.com/office/drawing/2014/main" id="{982B1A2E-3EC0-4B78-AB9A-10329041127E}"/>
                </a:ext>
              </a:extLst>
            </p:cNvPr>
            <p:cNvSpPr/>
            <p:nvPr/>
          </p:nvSpPr>
          <p:spPr>
            <a:xfrm>
              <a:off x="9848850" y="560843"/>
              <a:ext cx="122454" cy="188307"/>
            </a:xfrm>
            <a:custGeom>
              <a:avLst/>
              <a:gdLst>
                <a:gd name="connsiteX0" fmla="*/ 0 w 122454"/>
                <a:gd name="connsiteY0" fmla="*/ 0 h 188307"/>
                <a:gd name="connsiteX1" fmla="*/ 0 w 122454"/>
                <a:gd name="connsiteY1" fmla="*/ 188307 h 188307"/>
                <a:gd name="connsiteX2" fmla="*/ 122455 w 122454"/>
                <a:gd name="connsiteY2" fmla="*/ 188307 h 188307"/>
                <a:gd name="connsiteX3" fmla="*/ 122455 w 122454"/>
                <a:gd name="connsiteY3" fmla="*/ 157813 h 188307"/>
                <a:gd name="connsiteX4" fmla="*/ 33235 w 122454"/>
                <a:gd name="connsiteY4" fmla="*/ 157813 h 188307"/>
                <a:gd name="connsiteX5" fmla="*/ 33235 w 122454"/>
                <a:gd name="connsiteY5" fmla="*/ 112792 h 188307"/>
                <a:gd name="connsiteX6" fmla="*/ 114163 w 122454"/>
                <a:gd name="connsiteY6" fmla="*/ 112792 h 188307"/>
                <a:gd name="connsiteX7" fmla="*/ 114163 w 122454"/>
                <a:gd name="connsiteY7" fmla="*/ 83327 h 188307"/>
                <a:gd name="connsiteX8" fmla="*/ 33235 w 122454"/>
                <a:gd name="connsiteY8" fmla="*/ 83327 h 188307"/>
                <a:gd name="connsiteX9" fmla="*/ 33235 w 122454"/>
                <a:gd name="connsiteY9" fmla="*/ 30562 h 188307"/>
                <a:gd name="connsiteX10" fmla="*/ 122455 w 122454"/>
                <a:gd name="connsiteY10" fmla="*/ 30562 h 188307"/>
                <a:gd name="connsiteX11" fmla="*/ 122455 w 122454"/>
                <a:gd name="connsiteY11" fmla="*/ 0 h 188307"/>
                <a:gd name="connsiteX12" fmla="*/ 0 w 122454"/>
                <a:gd name="connsiteY12"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07">
                  <a:moveTo>
                    <a:pt x="0" y="0"/>
                  </a:moveTo>
                  <a:lnTo>
                    <a:pt x="0" y="188307"/>
                  </a:lnTo>
                  <a:lnTo>
                    <a:pt x="122455" y="188307"/>
                  </a:lnTo>
                  <a:lnTo>
                    <a:pt x="122455" y="157813"/>
                  </a:lnTo>
                  <a:lnTo>
                    <a:pt x="33235" y="157813"/>
                  </a:lnTo>
                  <a:lnTo>
                    <a:pt x="33235" y="112792"/>
                  </a:lnTo>
                  <a:lnTo>
                    <a:pt x="114163" y="112792"/>
                  </a:lnTo>
                  <a:lnTo>
                    <a:pt x="114163" y="83327"/>
                  </a:lnTo>
                  <a:lnTo>
                    <a:pt x="33235" y="83327"/>
                  </a:lnTo>
                  <a:lnTo>
                    <a:pt x="33235" y="30562"/>
                  </a:lnTo>
                  <a:lnTo>
                    <a:pt x="122455" y="30562"/>
                  </a:lnTo>
                  <a:lnTo>
                    <a:pt x="122455" y="0"/>
                  </a:lnTo>
                  <a:lnTo>
                    <a:pt x="0" y="0"/>
                  </a:lnTo>
                  <a:close/>
                </a:path>
              </a:pathLst>
            </a:custGeom>
            <a:grpFill/>
            <a:ln w="6853" cap="flat">
              <a:noFill/>
              <a:prstDash val="solid"/>
              <a:miter/>
            </a:ln>
          </p:spPr>
          <p:txBody>
            <a:bodyPr rtlCol="0" anchor="ctr"/>
            <a:lstStyle/>
            <a:p>
              <a:endParaRPr lang="en-GB" dirty="0"/>
            </a:p>
          </p:txBody>
        </p:sp>
        <p:sp>
          <p:nvSpPr>
            <p:cNvPr id="5" name="Freeform: Shape 4">
              <a:extLst>
                <a:ext uri="{FF2B5EF4-FFF2-40B4-BE49-F238E27FC236}">
                  <a16:creationId xmlns:a16="http://schemas.microsoft.com/office/drawing/2014/main" id="{CDEEB691-8710-4322-806E-E69F81A5E418}"/>
                </a:ext>
              </a:extLst>
            </p:cNvPr>
            <p:cNvSpPr/>
            <p:nvPr/>
          </p:nvSpPr>
          <p:spPr>
            <a:xfrm>
              <a:off x="9998097" y="560843"/>
              <a:ext cx="185908" cy="190705"/>
            </a:xfrm>
            <a:custGeom>
              <a:avLst/>
              <a:gdLst>
                <a:gd name="connsiteX0" fmla="*/ 151098 w 185908"/>
                <a:gd name="connsiteY0" fmla="*/ 0 h 190705"/>
                <a:gd name="connsiteX1" fmla="*/ 93263 w 185908"/>
                <a:gd name="connsiteY1" fmla="*/ 128622 h 190705"/>
                <a:gd name="connsiteX2" fmla="*/ 35633 w 185908"/>
                <a:gd name="connsiteY2" fmla="*/ 0 h 190705"/>
                <a:gd name="connsiteX3" fmla="*/ 0 w 185908"/>
                <a:gd name="connsiteY3" fmla="*/ 0 h 190705"/>
                <a:gd name="connsiteX4" fmla="*/ 87301 w 185908"/>
                <a:gd name="connsiteY4" fmla="*/ 190706 h 190705"/>
                <a:gd name="connsiteX5" fmla="*/ 98608 w 185908"/>
                <a:gd name="connsiteY5" fmla="*/ 190706 h 190705"/>
                <a:gd name="connsiteX6" fmla="*/ 185909 w 185908"/>
                <a:gd name="connsiteY6" fmla="*/ 0 h 190705"/>
                <a:gd name="connsiteX7" fmla="*/ 151098 w 185908"/>
                <a:gd name="connsiteY7" fmla="*/ 0 h 190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08" h="190705">
                  <a:moveTo>
                    <a:pt x="151098" y="0"/>
                  </a:moveTo>
                  <a:lnTo>
                    <a:pt x="93263" y="128622"/>
                  </a:lnTo>
                  <a:lnTo>
                    <a:pt x="35633" y="0"/>
                  </a:lnTo>
                  <a:lnTo>
                    <a:pt x="0" y="0"/>
                  </a:lnTo>
                  <a:lnTo>
                    <a:pt x="87301" y="190706"/>
                  </a:lnTo>
                  <a:lnTo>
                    <a:pt x="98608" y="190706"/>
                  </a:lnTo>
                  <a:lnTo>
                    <a:pt x="185909" y="0"/>
                  </a:lnTo>
                  <a:lnTo>
                    <a:pt x="151098" y="0"/>
                  </a:lnTo>
                  <a:close/>
                </a:path>
              </a:pathLst>
            </a:custGeom>
            <a:grpFill/>
            <a:ln w="6853" cap="flat">
              <a:no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290779BC-95C9-40DF-AA48-4CE05FA0B9EE}"/>
                </a:ext>
              </a:extLst>
            </p:cNvPr>
            <p:cNvSpPr/>
            <p:nvPr/>
          </p:nvSpPr>
          <p:spPr>
            <a:xfrm>
              <a:off x="10165231" y="559199"/>
              <a:ext cx="184606" cy="190020"/>
            </a:xfrm>
            <a:custGeom>
              <a:avLst/>
              <a:gdLst>
                <a:gd name="connsiteX0" fmla="*/ 90701 w 184606"/>
                <a:gd name="connsiteY0" fmla="*/ 60490 h 190020"/>
                <a:gd name="connsiteX1" fmla="*/ 119345 w 184606"/>
                <a:gd name="connsiteY1" fmla="*/ 125314 h 190020"/>
                <a:gd name="connsiteX2" fmla="*/ 61989 w 184606"/>
                <a:gd name="connsiteY2" fmla="*/ 125314 h 190020"/>
                <a:gd name="connsiteX3" fmla="*/ 87481 w 184606"/>
                <a:gd name="connsiteY3" fmla="*/ -635 h 190020"/>
                <a:gd name="connsiteX4" fmla="*/ -985 w 184606"/>
                <a:gd name="connsiteY4" fmla="*/ 189385 h 190020"/>
                <a:gd name="connsiteX5" fmla="*/ 33826 w 184606"/>
                <a:gd name="connsiteY5" fmla="*/ 189385 h 190020"/>
                <a:gd name="connsiteX6" fmla="*/ 50203 w 184606"/>
                <a:gd name="connsiteY6" fmla="*/ 151833 h 190020"/>
                <a:gd name="connsiteX7" fmla="*/ 131131 w 184606"/>
                <a:gd name="connsiteY7" fmla="*/ 151833 h 190020"/>
                <a:gd name="connsiteX8" fmla="*/ 147714 w 184606"/>
                <a:gd name="connsiteY8" fmla="*/ 189385 h 190020"/>
                <a:gd name="connsiteX9" fmla="*/ 183622 w 184606"/>
                <a:gd name="connsiteY9" fmla="*/ 189385 h 190020"/>
                <a:gd name="connsiteX10" fmla="*/ 95155 w 184606"/>
                <a:gd name="connsiteY10" fmla="*/ -635 h 19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4606" h="190020">
                  <a:moveTo>
                    <a:pt x="90701" y="60490"/>
                  </a:moveTo>
                  <a:lnTo>
                    <a:pt x="119345" y="125314"/>
                  </a:lnTo>
                  <a:lnTo>
                    <a:pt x="61989" y="125314"/>
                  </a:lnTo>
                  <a:close/>
                  <a:moveTo>
                    <a:pt x="87481" y="-635"/>
                  </a:moveTo>
                  <a:lnTo>
                    <a:pt x="-985" y="189385"/>
                  </a:lnTo>
                  <a:lnTo>
                    <a:pt x="33826" y="189385"/>
                  </a:lnTo>
                  <a:lnTo>
                    <a:pt x="50203" y="151833"/>
                  </a:lnTo>
                  <a:lnTo>
                    <a:pt x="131131" y="151833"/>
                  </a:lnTo>
                  <a:lnTo>
                    <a:pt x="147714" y="189385"/>
                  </a:lnTo>
                  <a:lnTo>
                    <a:pt x="183622" y="189385"/>
                  </a:lnTo>
                  <a:lnTo>
                    <a:pt x="95155" y="-635"/>
                  </a:lnTo>
                  <a:close/>
                </a:path>
              </a:pathLst>
            </a:custGeom>
            <a:grpFill/>
            <a:ln w="6853" cap="flat">
              <a:no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1BA4860F-3F0D-4929-8566-E5959309DE7F}"/>
                </a:ext>
              </a:extLst>
            </p:cNvPr>
            <p:cNvSpPr/>
            <p:nvPr/>
          </p:nvSpPr>
          <p:spPr>
            <a:xfrm>
              <a:off x="10381222" y="560843"/>
              <a:ext cx="122385" cy="188307"/>
            </a:xfrm>
            <a:custGeom>
              <a:avLst/>
              <a:gdLst>
                <a:gd name="connsiteX0" fmla="*/ 0 w 122385"/>
                <a:gd name="connsiteY0" fmla="*/ 0 h 188307"/>
                <a:gd name="connsiteX1" fmla="*/ 0 w 122385"/>
                <a:gd name="connsiteY1" fmla="*/ 188307 h 188307"/>
                <a:gd name="connsiteX2" fmla="*/ 122386 w 122385"/>
                <a:gd name="connsiteY2" fmla="*/ 188307 h 188307"/>
                <a:gd name="connsiteX3" fmla="*/ 122386 w 122385"/>
                <a:gd name="connsiteY3" fmla="*/ 157813 h 188307"/>
                <a:gd name="connsiteX4" fmla="*/ 33166 w 122385"/>
                <a:gd name="connsiteY4" fmla="*/ 157813 h 188307"/>
                <a:gd name="connsiteX5" fmla="*/ 33166 w 122385"/>
                <a:gd name="connsiteY5" fmla="*/ 0 h 188307"/>
                <a:gd name="connsiteX6" fmla="*/ 0 w 122385"/>
                <a:gd name="connsiteY6" fmla="*/ 0 h 188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385" h="188307">
                  <a:moveTo>
                    <a:pt x="0" y="0"/>
                  </a:moveTo>
                  <a:lnTo>
                    <a:pt x="0" y="188307"/>
                  </a:lnTo>
                  <a:lnTo>
                    <a:pt x="122386" y="188307"/>
                  </a:lnTo>
                  <a:lnTo>
                    <a:pt x="122386" y="157813"/>
                  </a:lnTo>
                  <a:lnTo>
                    <a:pt x="33166" y="157813"/>
                  </a:lnTo>
                  <a:lnTo>
                    <a:pt x="33166" y="0"/>
                  </a:lnTo>
                  <a:lnTo>
                    <a:pt x="0" y="0"/>
                  </a:lnTo>
                  <a:close/>
                </a:path>
              </a:pathLst>
            </a:custGeom>
            <a:grpFill/>
            <a:ln w="6853" cap="flat">
              <a:no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B12E63F6-4AED-4FCC-B839-0821E5C1D558}"/>
                </a:ext>
              </a:extLst>
            </p:cNvPr>
            <p:cNvSpPr/>
            <p:nvPr/>
          </p:nvSpPr>
          <p:spPr>
            <a:xfrm>
              <a:off x="10530744" y="560844"/>
              <a:ext cx="157059" cy="191801"/>
            </a:xfrm>
            <a:custGeom>
              <a:avLst/>
              <a:gdLst>
                <a:gd name="connsiteX0" fmla="*/ -985 w 157059"/>
                <a:gd name="connsiteY0" fmla="*/ -635 h 191801"/>
                <a:gd name="connsiteX1" fmla="*/ 32250 w 157059"/>
                <a:gd name="connsiteY1" fmla="*/ -635 h 191801"/>
                <a:gd name="connsiteX2" fmla="*/ 32250 w 157059"/>
                <a:gd name="connsiteY2" fmla="*/ 109759 h 191801"/>
                <a:gd name="connsiteX3" fmla="*/ 76997 w 157059"/>
                <a:gd name="connsiteY3" fmla="*/ 160673 h 191801"/>
                <a:gd name="connsiteX4" fmla="*/ 122840 w 157059"/>
                <a:gd name="connsiteY4" fmla="*/ 109484 h 191801"/>
                <a:gd name="connsiteX5" fmla="*/ 122840 w 157059"/>
                <a:gd name="connsiteY5" fmla="*/ -635 h 191801"/>
                <a:gd name="connsiteX6" fmla="*/ 156074 w 157059"/>
                <a:gd name="connsiteY6" fmla="*/ -635 h 191801"/>
                <a:gd name="connsiteX7" fmla="*/ 156074 w 157059"/>
                <a:gd name="connsiteY7" fmla="*/ 109759 h 191801"/>
                <a:gd name="connsiteX8" fmla="*/ 76997 w 157059"/>
                <a:gd name="connsiteY8" fmla="*/ 191167 h 191801"/>
                <a:gd name="connsiteX9" fmla="*/ -985 w 157059"/>
                <a:gd name="connsiteY9" fmla="*/ 109759 h 191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7059" h="191801">
                  <a:moveTo>
                    <a:pt x="-985" y="-635"/>
                  </a:moveTo>
                  <a:lnTo>
                    <a:pt x="32250" y="-635"/>
                  </a:lnTo>
                  <a:lnTo>
                    <a:pt x="32250" y="109759"/>
                  </a:lnTo>
                  <a:cubicBezTo>
                    <a:pt x="32250" y="145666"/>
                    <a:pt x="48627" y="160673"/>
                    <a:pt x="76997" y="160673"/>
                  </a:cubicBezTo>
                  <a:cubicBezTo>
                    <a:pt x="105366" y="160673"/>
                    <a:pt x="122840" y="145666"/>
                    <a:pt x="122840" y="109484"/>
                  </a:cubicBezTo>
                  <a:lnTo>
                    <a:pt x="122840" y="-635"/>
                  </a:lnTo>
                  <a:lnTo>
                    <a:pt x="156074" y="-635"/>
                  </a:lnTo>
                  <a:lnTo>
                    <a:pt x="156074" y="109759"/>
                  </a:lnTo>
                  <a:cubicBezTo>
                    <a:pt x="156074" y="166018"/>
                    <a:pt x="124142" y="191167"/>
                    <a:pt x="76997" y="191167"/>
                  </a:cubicBezTo>
                  <a:cubicBezTo>
                    <a:pt x="29851" y="191167"/>
                    <a:pt x="-985" y="166018"/>
                    <a:pt x="-985" y="109759"/>
                  </a:cubicBezTo>
                  <a:close/>
                </a:path>
              </a:pathLst>
            </a:custGeom>
            <a:grpFill/>
            <a:ln w="6853" cap="flat">
              <a:noFill/>
              <a:prstDash val="solid"/>
              <a:miter/>
            </a:ln>
          </p:spPr>
          <p:txBody>
            <a:bodyPr rtlCol="0" anchor="ctr"/>
            <a:lstStyle/>
            <a:p>
              <a:endParaRPr lang="en-GB" dirty="0"/>
            </a:p>
          </p:txBody>
        </p:sp>
        <p:sp>
          <p:nvSpPr>
            <p:cNvPr id="16" name="Freeform: Shape 15">
              <a:extLst>
                <a:ext uri="{FF2B5EF4-FFF2-40B4-BE49-F238E27FC236}">
                  <a16:creationId xmlns:a16="http://schemas.microsoft.com/office/drawing/2014/main" id="{89E35D2B-5F84-4B67-AC50-4C6225985947}"/>
                </a:ext>
              </a:extLst>
            </p:cNvPr>
            <p:cNvSpPr/>
            <p:nvPr/>
          </p:nvSpPr>
          <p:spPr>
            <a:xfrm>
              <a:off x="10738717"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094 w 122454"/>
                <a:gd name="connsiteY6" fmla="*/ 112792 h 188375"/>
                <a:gd name="connsiteX7" fmla="*/ 114094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094" y="112792"/>
                  </a:lnTo>
                  <a:lnTo>
                    <a:pt x="114094"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dirty="0"/>
            </a:p>
          </p:txBody>
        </p:sp>
        <p:sp>
          <p:nvSpPr>
            <p:cNvPr id="17" name="Freeform: Shape 16">
              <a:extLst>
                <a:ext uri="{FF2B5EF4-FFF2-40B4-BE49-F238E27FC236}">
                  <a16:creationId xmlns:a16="http://schemas.microsoft.com/office/drawing/2014/main" id="{0EF39E0A-23A7-4A8E-BDFE-97F0DF77FD04}"/>
                </a:ext>
              </a:extLst>
            </p:cNvPr>
            <p:cNvSpPr/>
            <p:nvPr/>
          </p:nvSpPr>
          <p:spPr>
            <a:xfrm>
              <a:off x="10903178" y="557074"/>
              <a:ext cx="128896" cy="194954"/>
            </a:xfrm>
            <a:custGeom>
              <a:avLst/>
              <a:gdLst>
                <a:gd name="connsiteX0" fmla="*/ 60688 w 128896"/>
                <a:gd name="connsiteY0" fmla="*/ 194319 h 194954"/>
                <a:gd name="connsiteX1" fmla="*/ -985 w 128896"/>
                <a:gd name="connsiteY1" fmla="*/ 176366 h 194954"/>
                <a:gd name="connsiteX2" fmla="*/ 10528 w 128896"/>
                <a:gd name="connsiteY2" fmla="*/ 146352 h 194954"/>
                <a:gd name="connsiteX3" fmla="*/ 61716 w 128896"/>
                <a:gd name="connsiteY3" fmla="*/ 163209 h 194954"/>
                <a:gd name="connsiteX4" fmla="*/ 94060 w 128896"/>
                <a:gd name="connsiteY4" fmla="*/ 140185 h 194954"/>
                <a:gd name="connsiteX5" fmla="*/ 52944 w 128896"/>
                <a:gd name="connsiteY5" fmla="*/ 107498 h 194954"/>
                <a:gd name="connsiteX6" fmla="*/ 3607 w 128896"/>
                <a:gd name="connsiteY6" fmla="*/ 54185 h 194954"/>
                <a:gd name="connsiteX7" fmla="*/ 66855 w 128896"/>
                <a:gd name="connsiteY7" fmla="*/ -635 h 194954"/>
                <a:gd name="connsiteX8" fmla="*/ 118797 w 128896"/>
                <a:gd name="connsiteY8" fmla="*/ 12248 h 194954"/>
                <a:gd name="connsiteX9" fmla="*/ 108108 w 128896"/>
                <a:gd name="connsiteY9" fmla="*/ 41713 h 194954"/>
                <a:gd name="connsiteX10" fmla="*/ 66033 w 128896"/>
                <a:gd name="connsiteY10" fmla="*/ 29105 h 194954"/>
                <a:gd name="connsiteX11" fmla="*/ 37116 w 128896"/>
                <a:gd name="connsiteY11" fmla="*/ 53226 h 194954"/>
                <a:gd name="connsiteX12" fmla="*/ 73776 w 128896"/>
                <a:gd name="connsiteY12" fmla="*/ 82417 h 194954"/>
                <a:gd name="connsiteX13" fmla="*/ 127911 w 128896"/>
                <a:gd name="connsiteY13" fmla="*/ 140047 h 194954"/>
                <a:gd name="connsiteX14" fmla="*/ 60413 w 128896"/>
                <a:gd name="connsiteY14" fmla="*/ 194182 h 194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896" h="194954">
                  <a:moveTo>
                    <a:pt x="60688" y="194319"/>
                  </a:moveTo>
                  <a:cubicBezTo>
                    <a:pt x="38896" y="193949"/>
                    <a:pt x="17585" y="187748"/>
                    <a:pt x="-985" y="176366"/>
                  </a:cubicBezTo>
                  <a:lnTo>
                    <a:pt x="10528" y="146352"/>
                  </a:lnTo>
                  <a:cubicBezTo>
                    <a:pt x="25603" y="156747"/>
                    <a:pt x="43419" y="162599"/>
                    <a:pt x="61716" y="163209"/>
                  </a:cubicBezTo>
                  <a:cubicBezTo>
                    <a:pt x="83918" y="163209"/>
                    <a:pt x="94060" y="152245"/>
                    <a:pt x="94060" y="140185"/>
                  </a:cubicBezTo>
                  <a:cubicBezTo>
                    <a:pt x="94060" y="128124"/>
                    <a:pt x="87207" y="120038"/>
                    <a:pt x="52944" y="107498"/>
                  </a:cubicBezTo>
                  <a:cubicBezTo>
                    <a:pt x="16215" y="93793"/>
                    <a:pt x="3607" y="76662"/>
                    <a:pt x="3607" y="54185"/>
                  </a:cubicBezTo>
                  <a:cubicBezTo>
                    <a:pt x="3607" y="25747"/>
                    <a:pt x="26631" y="-635"/>
                    <a:pt x="66855" y="-635"/>
                  </a:cubicBezTo>
                  <a:cubicBezTo>
                    <a:pt x="84946" y="-669"/>
                    <a:pt x="102831" y="3757"/>
                    <a:pt x="118797" y="12248"/>
                  </a:cubicBezTo>
                  <a:lnTo>
                    <a:pt x="108108" y="41713"/>
                  </a:lnTo>
                  <a:cubicBezTo>
                    <a:pt x="95293" y="34265"/>
                    <a:pt x="80834" y="29948"/>
                    <a:pt x="66033" y="29105"/>
                  </a:cubicBezTo>
                  <a:cubicBezTo>
                    <a:pt x="46229" y="29105"/>
                    <a:pt x="37116" y="40138"/>
                    <a:pt x="37116" y="53226"/>
                  </a:cubicBezTo>
                  <a:cubicBezTo>
                    <a:pt x="37116" y="66314"/>
                    <a:pt x="47257" y="72824"/>
                    <a:pt x="73776" y="82417"/>
                  </a:cubicBezTo>
                  <a:cubicBezTo>
                    <a:pt x="115851" y="98795"/>
                    <a:pt x="127911" y="115378"/>
                    <a:pt x="127911" y="140047"/>
                  </a:cubicBezTo>
                  <a:cubicBezTo>
                    <a:pt x="127911" y="173556"/>
                    <a:pt x="102488" y="194182"/>
                    <a:pt x="60413" y="194182"/>
                  </a:cubicBezTo>
                </a:path>
              </a:pathLst>
            </a:custGeom>
            <a:grpFill/>
            <a:ln w="6853" cap="flat">
              <a:noFill/>
              <a:prstDash val="solid"/>
              <a:miter/>
            </a:ln>
          </p:spPr>
          <p:txBody>
            <a:bodyPr rtlCol="0" anchor="ctr"/>
            <a:lstStyle/>
            <a:p>
              <a:endParaRPr lang="en-GB" dirty="0"/>
            </a:p>
          </p:txBody>
        </p:sp>
        <p:sp>
          <p:nvSpPr>
            <p:cNvPr id="18" name="Freeform: Shape 17">
              <a:extLst>
                <a:ext uri="{FF2B5EF4-FFF2-40B4-BE49-F238E27FC236}">
                  <a16:creationId xmlns:a16="http://schemas.microsoft.com/office/drawing/2014/main" id="{F46E1330-2734-4879-8F37-EB6C19D791BB}"/>
                </a:ext>
              </a:extLst>
            </p:cNvPr>
            <p:cNvSpPr/>
            <p:nvPr/>
          </p:nvSpPr>
          <p:spPr>
            <a:xfrm>
              <a:off x="11078876" y="560432"/>
              <a:ext cx="122523" cy="188375"/>
            </a:xfrm>
            <a:custGeom>
              <a:avLst/>
              <a:gdLst>
                <a:gd name="connsiteX0" fmla="*/ 0 w 122523"/>
                <a:gd name="connsiteY0" fmla="*/ 0 h 188375"/>
                <a:gd name="connsiteX1" fmla="*/ 0 w 122523"/>
                <a:gd name="connsiteY1" fmla="*/ 188376 h 188375"/>
                <a:gd name="connsiteX2" fmla="*/ 122523 w 122523"/>
                <a:gd name="connsiteY2" fmla="*/ 188376 h 188375"/>
                <a:gd name="connsiteX3" fmla="*/ 122523 w 122523"/>
                <a:gd name="connsiteY3" fmla="*/ 157813 h 188375"/>
                <a:gd name="connsiteX4" fmla="*/ 33303 w 122523"/>
                <a:gd name="connsiteY4" fmla="*/ 157813 h 188375"/>
                <a:gd name="connsiteX5" fmla="*/ 33303 w 122523"/>
                <a:gd name="connsiteY5" fmla="*/ 112792 h 188375"/>
                <a:gd name="connsiteX6" fmla="*/ 114163 w 122523"/>
                <a:gd name="connsiteY6" fmla="*/ 112792 h 188375"/>
                <a:gd name="connsiteX7" fmla="*/ 114163 w 122523"/>
                <a:gd name="connsiteY7" fmla="*/ 83327 h 188375"/>
                <a:gd name="connsiteX8" fmla="*/ 33303 w 122523"/>
                <a:gd name="connsiteY8" fmla="*/ 83327 h 188375"/>
                <a:gd name="connsiteX9" fmla="*/ 33303 w 122523"/>
                <a:gd name="connsiteY9" fmla="*/ 30562 h 188375"/>
                <a:gd name="connsiteX10" fmla="*/ 122523 w 122523"/>
                <a:gd name="connsiteY10" fmla="*/ 30562 h 188375"/>
                <a:gd name="connsiteX11" fmla="*/ 122523 w 122523"/>
                <a:gd name="connsiteY11" fmla="*/ 0 h 188375"/>
                <a:gd name="connsiteX12" fmla="*/ 0 w 122523"/>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523" h="188375">
                  <a:moveTo>
                    <a:pt x="0" y="0"/>
                  </a:moveTo>
                  <a:lnTo>
                    <a:pt x="0" y="188376"/>
                  </a:lnTo>
                  <a:lnTo>
                    <a:pt x="122523" y="188376"/>
                  </a:lnTo>
                  <a:lnTo>
                    <a:pt x="122523" y="157813"/>
                  </a:lnTo>
                  <a:lnTo>
                    <a:pt x="33303" y="157813"/>
                  </a:lnTo>
                  <a:lnTo>
                    <a:pt x="33303" y="112792"/>
                  </a:lnTo>
                  <a:lnTo>
                    <a:pt x="114163" y="112792"/>
                  </a:lnTo>
                  <a:lnTo>
                    <a:pt x="114163" y="83327"/>
                  </a:lnTo>
                  <a:lnTo>
                    <a:pt x="33303" y="83327"/>
                  </a:lnTo>
                  <a:lnTo>
                    <a:pt x="33303" y="30562"/>
                  </a:lnTo>
                  <a:lnTo>
                    <a:pt x="122523" y="30562"/>
                  </a:lnTo>
                  <a:lnTo>
                    <a:pt x="122523" y="0"/>
                  </a:lnTo>
                  <a:lnTo>
                    <a:pt x="0" y="0"/>
                  </a:lnTo>
                  <a:close/>
                </a:path>
              </a:pathLst>
            </a:custGeom>
            <a:grpFill/>
            <a:ln w="6853"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32ED1C32-8954-4DC5-8742-722004C6AC5D}"/>
                </a:ext>
              </a:extLst>
            </p:cNvPr>
            <p:cNvSpPr/>
            <p:nvPr/>
          </p:nvSpPr>
          <p:spPr>
            <a:xfrm>
              <a:off x="11251971" y="560432"/>
              <a:ext cx="148767" cy="189412"/>
            </a:xfrm>
            <a:custGeom>
              <a:avLst/>
              <a:gdLst>
                <a:gd name="connsiteX0" fmla="*/ 32250 w 148767"/>
                <a:gd name="connsiteY0" fmla="*/ 29927 h 189412"/>
                <a:gd name="connsiteX1" fmla="*/ 32250 w 148767"/>
                <a:gd name="connsiteY1" fmla="*/ 103592 h 189412"/>
                <a:gd name="connsiteX2" fmla="*/ 56919 w 148767"/>
                <a:gd name="connsiteY2" fmla="*/ 103592 h 189412"/>
                <a:gd name="connsiteX3" fmla="*/ 98719 w 148767"/>
                <a:gd name="connsiteY3" fmla="*/ 66383 h 189412"/>
                <a:gd name="connsiteX4" fmla="*/ 56919 w 148767"/>
                <a:gd name="connsiteY4" fmla="*/ 29927 h 189412"/>
                <a:gd name="connsiteX5" fmla="*/ -985 w 148767"/>
                <a:gd name="connsiteY5" fmla="*/ -635 h 189412"/>
                <a:gd name="connsiteX6" fmla="*/ 59317 w 148767"/>
                <a:gd name="connsiteY6" fmla="*/ -635 h 189412"/>
                <a:gd name="connsiteX7" fmla="*/ 134694 w 148767"/>
                <a:gd name="connsiteY7" fmla="*/ 66383 h 189412"/>
                <a:gd name="connsiteX8" fmla="*/ 99610 w 148767"/>
                <a:gd name="connsiteY8" fmla="*/ 125862 h 189412"/>
                <a:gd name="connsiteX9" fmla="*/ 140314 w 148767"/>
                <a:gd name="connsiteY9" fmla="*/ 157727 h 189412"/>
                <a:gd name="connsiteX10" fmla="*/ 147783 w 148767"/>
                <a:gd name="connsiteY10" fmla="*/ 157727 h 189412"/>
                <a:gd name="connsiteX11" fmla="*/ 147783 w 148767"/>
                <a:gd name="connsiteY11" fmla="*/ 187192 h 189412"/>
                <a:gd name="connsiteX12" fmla="*/ 129829 w 148767"/>
                <a:gd name="connsiteY12" fmla="*/ 188768 h 189412"/>
                <a:gd name="connsiteX13" fmla="*/ 62880 w 148767"/>
                <a:gd name="connsiteY13" fmla="*/ 132783 h 189412"/>
                <a:gd name="connsiteX14" fmla="*/ 52944 w 148767"/>
                <a:gd name="connsiteY14" fmla="*/ 132783 h 189412"/>
                <a:gd name="connsiteX15" fmla="*/ 32387 w 148767"/>
                <a:gd name="connsiteY15" fmla="*/ 132783 h 189412"/>
                <a:gd name="connsiteX16" fmla="*/ 32387 w 148767"/>
                <a:gd name="connsiteY16" fmla="*/ 187604 h 189412"/>
                <a:gd name="connsiteX17" fmla="*/ -848 w 148767"/>
                <a:gd name="connsiteY17" fmla="*/ 187604 h 189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8767" h="189412">
                  <a:moveTo>
                    <a:pt x="32250" y="29927"/>
                  </a:moveTo>
                  <a:lnTo>
                    <a:pt x="32250" y="103592"/>
                  </a:lnTo>
                  <a:lnTo>
                    <a:pt x="56919" y="103592"/>
                  </a:lnTo>
                  <a:cubicBezTo>
                    <a:pt x="87961" y="103592"/>
                    <a:pt x="98719" y="87009"/>
                    <a:pt x="98719" y="66383"/>
                  </a:cubicBezTo>
                  <a:cubicBezTo>
                    <a:pt x="98719" y="45756"/>
                    <a:pt x="88235" y="29927"/>
                    <a:pt x="56919" y="29927"/>
                  </a:cubicBezTo>
                  <a:close/>
                  <a:moveTo>
                    <a:pt x="-985" y="-635"/>
                  </a:moveTo>
                  <a:lnTo>
                    <a:pt x="59317" y="-635"/>
                  </a:lnTo>
                  <a:cubicBezTo>
                    <a:pt x="109409" y="-635"/>
                    <a:pt x="134694" y="26775"/>
                    <a:pt x="134694" y="66383"/>
                  </a:cubicBezTo>
                  <a:cubicBezTo>
                    <a:pt x="134832" y="91154"/>
                    <a:pt x="121332" y="113994"/>
                    <a:pt x="99610" y="125862"/>
                  </a:cubicBezTo>
                  <a:cubicBezTo>
                    <a:pt x="113795" y="138128"/>
                    <a:pt x="117769" y="157727"/>
                    <a:pt x="140314" y="157727"/>
                  </a:cubicBezTo>
                  <a:lnTo>
                    <a:pt x="147783" y="157727"/>
                  </a:lnTo>
                  <a:lnTo>
                    <a:pt x="147783" y="187192"/>
                  </a:lnTo>
                  <a:cubicBezTo>
                    <a:pt x="141890" y="188323"/>
                    <a:pt x="135860" y="188851"/>
                    <a:pt x="129829" y="188768"/>
                  </a:cubicBezTo>
                  <a:cubicBezTo>
                    <a:pt x="82958" y="188768"/>
                    <a:pt x="85631" y="145666"/>
                    <a:pt x="62880" y="132783"/>
                  </a:cubicBezTo>
                  <a:cubicBezTo>
                    <a:pt x="59660" y="132783"/>
                    <a:pt x="56439" y="132783"/>
                    <a:pt x="52944" y="132783"/>
                  </a:cubicBezTo>
                  <a:lnTo>
                    <a:pt x="32387" y="132783"/>
                  </a:lnTo>
                  <a:lnTo>
                    <a:pt x="32387" y="187604"/>
                  </a:lnTo>
                  <a:lnTo>
                    <a:pt x="-848" y="187604"/>
                  </a:lnTo>
                  <a:close/>
                </a:path>
              </a:pathLst>
            </a:custGeom>
            <a:grpFill/>
            <a:ln w="6853" cap="flat">
              <a:noFill/>
              <a:prstDash val="solid"/>
              <a:miter/>
            </a:ln>
          </p:spPr>
          <p:txBody>
            <a:bodyPr rtlCol="0" anchor="ctr"/>
            <a:lstStyle/>
            <a:p>
              <a:endParaRPr lang="en-GB" dirty="0"/>
            </a:p>
          </p:txBody>
        </p:sp>
        <p:sp>
          <p:nvSpPr>
            <p:cNvPr id="20" name="Freeform: Shape 19">
              <a:extLst>
                <a:ext uri="{FF2B5EF4-FFF2-40B4-BE49-F238E27FC236}">
                  <a16:creationId xmlns:a16="http://schemas.microsoft.com/office/drawing/2014/main" id="{4D9BA3F8-B706-48D2-84A5-BAF60046424E}"/>
                </a:ext>
              </a:extLst>
            </p:cNvPr>
            <p:cNvSpPr/>
            <p:nvPr/>
          </p:nvSpPr>
          <p:spPr>
            <a:xfrm>
              <a:off x="11411155" y="560432"/>
              <a:ext cx="185977" cy="190774"/>
            </a:xfrm>
            <a:custGeom>
              <a:avLst/>
              <a:gdLst>
                <a:gd name="connsiteX0" fmla="*/ 151098 w 185977"/>
                <a:gd name="connsiteY0" fmla="*/ 0 h 190774"/>
                <a:gd name="connsiteX1" fmla="*/ 93263 w 185977"/>
                <a:gd name="connsiteY1" fmla="*/ 128622 h 190774"/>
                <a:gd name="connsiteX2" fmla="*/ 35633 w 185977"/>
                <a:gd name="connsiteY2" fmla="*/ 0 h 190774"/>
                <a:gd name="connsiteX3" fmla="*/ 0 w 185977"/>
                <a:gd name="connsiteY3" fmla="*/ 0 h 190774"/>
                <a:gd name="connsiteX4" fmla="*/ 87370 w 185977"/>
                <a:gd name="connsiteY4" fmla="*/ 190774 h 190774"/>
                <a:gd name="connsiteX5" fmla="*/ 98608 w 185977"/>
                <a:gd name="connsiteY5" fmla="*/ 190774 h 190774"/>
                <a:gd name="connsiteX6" fmla="*/ 185977 w 185977"/>
                <a:gd name="connsiteY6" fmla="*/ 0 h 190774"/>
                <a:gd name="connsiteX7" fmla="*/ 151098 w 185977"/>
                <a:gd name="connsiteY7" fmla="*/ 0 h 190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5977" h="190774">
                  <a:moveTo>
                    <a:pt x="151098" y="0"/>
                  </a:moveTo>
                  <a:lnTo>
                    <a:pt x="93263" y="128622"/>
                  </a:lnTo>
                  <a:lnTo>
                    <a:pt x="35633" y="0"/>
                  </a:lnTo>
                  <a:lnTo>
                    <a:pt x="0" y="0"/>
                  </a:lnTo>
                  <a:lnTo>
                    <a:pt x="87370" y="190774"/>
                  </a:lnTo>
                  <a:lnTo>
                    <a:pt x="98608" y="190774"/>
                  </a:lnTo>
                  <a:lnTo>
                    <a:pt x="185977" y="0"/>
                  </a:lnTo>
                  <a:lnTo>
                    <a:pt x="151098" y="0"/>
                  </a:lnTo>
                  <a:close/>
                </a:path>
              </a:pathLst>
            </a:custGeom>
            <a:grpFill/>
            <a:ln w="6853"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34C49746-C7B2-49F5-9848-5ED10587F0C5}"/>
                </a:ext>
              </a:extLst>
            </p:cNvPr>
            <p:cNvSpPr/>
            <p:nvPr/>
          </p:nvSpPr>
          <p:spPr>
            <a:xfrm>
              <a:off x="11631395" y="560432"/>
              <a:ext cx="122454" cy="188375"/>
            </a:xfrm>
            <a:custGeom>
              <a:avLst/>
              <a:gdLst>
                <a:gd name="connsiteX0" fmla="*/ 0 w 122454"/>
                <a:gd name="connsiteY0" fmla="*/ 0 h 188375"/>
                <a:gd name="connsiteX1" fmla="*/ 0 w 122454"/>
                <a:gd name="connsiteY1" fmla="*/ 188376 h 188375"/>
                <a:gd name="connsiteX2" fmla="*/ 122454 w 122454"/>
                <a:gd name="connsiteY2" fmla="*/ 188376 h 188375"/>
                <a:gd name="connsiteX3" fmla="*/ 122454 w 122454"/>
                <a:gd name="connsiteY3" fmla="*/ 157813 h 188375"/>
                <a:gd name="connsiteX4" fmla="*/ 33235 w 122454"/>
                <a:gd name="connsiteY4" fmla="*/ 157813 h 188375"/>
                <a:gd name="connsiteX5" fmla="*/ 33235 w 122454"/>
                <a:gd name="connsiteY5" fmla="*/ 112792 h 188375"/>
                <a:gd name="connsiteX6" fmla="*/ 114163 w 122454"/>
                <a:gd name="connsiteY6" fmla="*/ 112792 h 188375"/>
                <a:gd name="connsiteX7" fmla="*/ 114163 w 122454"/>
                <a:gd name="connsiteY7" fmla="*/ 83327 h 188375"/>
                <a:gd name="connsiteX8" fmla="*/ 33235 w 122454"/>
                <a:gd name="connsiteY8" fmla="*/ 83327 h 188375"/>
                <a:gd name="connsiteX9" fmla="*/ 33235 w 122454"/>
                <a:gd name="connsiteY9" fmla="*/ 30562 h 188375"/>
                <a:gd name="connsiteX10" fmla="*/ 122454 w 122454"/>
                <a:gd name="connsiteY10" fmla="*/ 30562 h 188375"/>
                <a:gd name="connsiteX11" fmla="*/ 122454 w 122454"/>
                <a:gd name="connsiteY11" fmla="*/ 0 h 188375"/>
                <a:gd name="connsiteX12" fmla="*/ 0 w 122454"/>
                <a:gd name="connsiteY12" fmla="*/ 0 h 188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22454" h="188375">
                  <a:moveTo>
                    <a:pt x="0" y="0"/>
                  </a:moveTo>
                  <a:lnTo>
                    <a:pt x="0" y="188376"/>
                  </a:lnTo>
                  <a:lnTo>
                    <a:pt x="122454" y="188376"/>
                  </a:lnTo>
                  <a:lnTo>
                    <a:pt x="122454" y="157813"/>
                  </a:lnTo>
                  <a:lnTo>
                    <a:pt x="33235" y="157813"/>
                  </a:lnTo>
                  <a:lnTo>
                    <a:pt x="33235" y="112792"/>
                  </a:lnTo>
                  <a:lnTo>
                    <a:pt x="114163" y="112792"/>
                  </a:lnTo>
                  <a:lnTo>
                    <a:pt x="114163" y="83327"/>
                  </a:lnTo>
                  <a:lnTo>
                    <a:pt x="33235" y="83327"/>
                  </a:lnTo>
                  <a:lnTo>
                    <a:pt x="33235" y="30562"/>
                  </a:lnTo>
                  <a:lnTo>
                    <a:pt x="122454" y="30562"/>
                  </a:lnTo>
                  <a:lnTo>
                    <a:pt x="122454" y="0"/>
                  </a:lnTo>
                  <a:lnTo>
                    <a:pt x="0" y="0"/>
                  </a:lnTo>
                  <a:close/>
                </a:path>
              </a:pathLst>
            </a:custGeom>
            <a:grpFill/>
            <a:ln w="6853" cap="flat">
              <a:noFill/>
              <a:prstDash val="solid"/>
              <a:miter/>
            </a:ln>
          </p:spPr>
          <p:txBody>
            <a:bodyPr rtlCol="0" anchor="ctr"/>
            <a:lstStyle/>
            <a:p>
              <a:endParaRPr lang="en-GB" dirty="0"/>
            </a:p>
          </p:txBody>
        </p:sp>
      </p:gr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587375" y="2153891"/>
            <a:ext cx="5156200" cy="1999009"/>
          </a:xfrm>
        </p:spPr>
        <p:txBody>
          <a:bodyPr lIns="0" tIns="0" rIns="0" bIns="0" anchor="b" anchorCtr="0">
            <a:spAutoFit/>
          </a:bodyPr>
          <a:lstStyle>
            <a:lvl1pPr>
              <a:defRPr sz="3600">
                <a:solidFill>
                  <a:schemeClr val="bg1"/>
                </a:solidFill>
              </a:defRPr>
            </a:lvl1pPr>
          </a:lstStyle>
          <a:p>
            <a:r>
              <a:rPr lang="en-US" dirty="0"/>
              <a:t>Title placeholder </a:t>
            </a:r>
            <a:r>
              <a:rPr lang="en-US" dirty="0" err="1"/>
              <a:t>alitori</a:t>
            </a:r>
            <a:r>
              <a:rPr lang="en-US" dirty="0"/>
              <a:t> </a:t>
            </a:r>
            <a:r>
              <a:rPr lang="en-US" dirty="0" err="1"/>
              <a:t>ut</a:t>
            </a:r>
            <a:r>
              <a:rPr lang="en-US" dirty="0"/>
              <a:t> </a:t>
            </a:r>
            <a:r>
              <a:rPr lang="en-US" dirty="0" err="1"/>
              <a:t>exeri</a:t>
            </a:r>
            <a:r>
              <a:rPr lang="en-US" dirty="0"/>
              <a:t> </a:t>
            </a:r>
            <a:r>
              <a:rPr lang="en-US" dirty="0" err="1"/>
              <a:t>bearitati</a:t>
            </a:r>
            <a:r>
              <a:rPr lang="en-US" dirty="0"/>
              <a:t> </a:t>
            </a:r>
            <a:r>
              <a:rPr lang="en-US" dirty="0" err="1"/>
              <a:t>ut</a:t>
            </a:r>
            <a:r>
              <a:rPr lang="en-US" dirty="0"/>
              <a:t> volent </a:t>
            </a:r>
            <a:r>
              <a:rPr lang="en-US" dirty="0" err="1"/>
              <a:t>lamusdae</a:t>
            </a:r>
            <a:r>
              <a:rPr lang="en-US" dirty="0"/>
              <a:t> es qui.</a:t>
            </a:r>
            <a:endParaRPr lang="en-GB" dirty="0"/>
          </a:p>
        </p:txBody>
      </p:sp>
      <p:sp>
        <p:nvSpPr>
          <p:cNvPr id="25" name="Picture Placeholder 24">
            <a:extLst>
              <a:ext uri="{FF2B5EF4-FFF2-40B4-BE49-F238E27FC236}">
                <a16:creationId xmlns:a16="http://schemas.microsoft.com/office/drawing/2014/main" id="{B3014224-1045-4EDC-AAD4-40B561B44A04}"/>
              </a:ext>
            </a:extLst>
          </p:cNvPr>
          <p:cNvSpPr>
            <a:spLocks noGrp="1"/>
          </p:cNvSpPr>
          <p:nvPr>
            <p:ph type="pic" sz="quarter" idx="15"/>
          </p:nvPr>
        </p:nvSpPr>
        <p:spPr>
          <a:xfrm>
            <a:off x="7923254" y="2012965"/>
            <a:ext cx="4268746" cy="4284648"/>
          </a:xfrm>
          <a:custGeom>
            <a:avLst/>
            <a:gdLst>
              <a:gd name="connsiteX0" fmla="*/ 2047529 w 4268746"/>
              <a:gd name="connsiteY0" fmla="*/ 3183018 h 4284648"/>
              <a:gd name="connsiteX1" fmla="*/ 3785884 w 4268746"/>
              <a:gd name="connsiteY1" fmla="*/ 3183018 h 4284648"/>
              <a:gd name="connsiteX2" fmla="*/ 4242833 w 4268746"/>
              <a:gd name="connsiteY2" fmla="*/ 3425978 h 4284648"/>
              <a:gd name="connsiteX3" fmla="*/ 4268746 w 4268746"/>
              <a:gd name="connsiteY3" fmla="*/ 3473719 h 4284648"/>
              <a:gd name="connsiteX4" fmla="*/ 4268746 w 4268746"/>
              <a:gd name="connsiteY4" fmla="*/ 3994445 h 4284648"/>
              <a:gd name="connsiteX5" fmla="*/ 4242833 w 4268746"/>
              <a:gd name="connsiteY5" fmla="*/ 4042186 h 4284648"/>
              <a:gd name="connsiteX6" fmla="*/ 3856069 w 4268746"/>
              <a:gd name="connsiteY6" fmla="*/ 4280719 h 4284648"/>
              <a:gd name="connsiteX7" fmla="*/ 3793778 w 4268746"/>
              <a:gd name="connsiteY7" fmla="*/ 4284648 h 4284648"/>
              <a:gd name="connsiteX8" fmla="*/ 2042595 w 4268746"/>
              <a:gd name="connsiteY8" fmla="*/ 4284648 h 4284648"/>
              <a:gd name="connsiteX9" fmla="*/ 1936468 w 4268746"/>
              <a:gd name="connsiteY9" fmla="*/ 4273937 h 4284648"/>
              <a:gd name="connsiteX10" fmla="*/ 1496467 w 4268746"/>
              <a:gd name="connsiteY10" fmla="*/ 3734018 h 4284648"/>
              <a:gd name="connsiteX11" fmla="*/ 1496467 w 4268746"/>
              <a:gd name="connsiteY11" fmla="*/ 3733955 h 4284648"/>
              <a:gd name="connsiteX12" fmla="*/ 2047529 w 4268746"/>
              <a:gd name="connsiteY12" fmla="*/ 3183018 h 4284648"/>
              <a:gd name="connsiteX13" fmla="*/ 551062 w 4268746"/>
              <a:gd name="connsiteY13" fmla="*/ 3182955 h 4284648"/>
              <a:gd name="connsiteX14" fmla="*/ 551317 w 4268746"/>
              <a:gd name="connsiteY14" fmla="*/ 3182955 h 4284648"/>
              <a:gd name="connsiteX15" fmla="*/ 1102379 w 4268746"/>
              <a:gd name="connsiteY15" fmla="*/ 3734018 h 4284648"/>
              <a:gd name="connsiteX16" fmla="*/ 662375 w 4268746"/>
              <a:gd name="connsiteY16" fmla="*/ 4273887 h 4284648"/>
              <a:gd name="connsiteX17" fmla="*/ 555622 w 4268746"/>
              <a:gd name="connsiteY17" fmla="*/ 4284648 h 4284648"/>
              <a:gd name="connsiteX18" fmla="*/ 547012 w 4268746"/>
              <a:gd name="connsiteY18" fmla="*/ 4284648 h 4284648"/>
              <a:gd name="connsiteX19" fmla="*/ 440260 w 4268746"/>
              <a:gd name="connsiteY19" fmla="*/ 4273887 h 4284648"/>
              <a:gd name="connsiteX20" fmla="*/ 255 w 4268746"/>
              <a:gd name="connsiteY20" fmla="*/ 3734018 h 4284648"/>
              <a:gd name="connsiteX21" fmla="*/ 64 w 4268746"/>
              <a:gd name="connsiteY21" fmla="*/ 3734082 h 4284648"/>
              <a:gd name="connsiteX22" fmla="*/ 64 w 4268746"/>
              <a:gd name="connsiteY22" fmla="*/ 3733955 h 4284648"/>
              <a:gd name="connsiteX23" fmla="*/ 551062 w 4268746"/>
              <a:gd name="connsiteY23" fmla="*/ 3182955 h 4284648"/>
              <a:gd name="connsiteX24" fmla="*/ 3785884 w 4268746"/>
              <a:gd name="connsiteY24" fmla="*/ 1591573 h 4284648"/>
              <a:gd name="connsiteX25" fmla="*/ 4242833 w 4268746"/>
              <a:gd name="connsiteY25" fmla="*/ 1834532 h 4284648"/>
              <a:gd name="connsiteX26" fmla="*/ 4268746 w 4268746"/>
              <a:gd name="connsiteY26" fmla="*/ 1882274 h 4284648"/>
              <a:gd name="connsiteX27" fmla="*/ 4268746 w 4268746"/>
              <a:gd name="connsiteY27" fmla="*/ 2403001 h 4284648"/>
              <a:gd name="connsiteX28" fmla="*/ 4242846 w 4268746"/>
              <a:gd name="connsiteY28" fmla="*/ 2450721 h 4284648"/>
              <a:gd name="connsiteX29" fmla="*/ 3785948 w 4268746"/>
              <a:gd name="connsiteY29" fmla="*/ 2693700 h 4284648"/>
              <a:gd name="connsiteX30" fmla="*/ 3785884 w 4268746"/>
              <a:gd name="connsiteY30" fmla="*/ 2693700 h 4284648"/>
              <a:gd name="connsiteX31" fmla="*/ 3234823 w 4268746"/>
              <a:gd name="connsiteY31" fmla="*/ 2142637 h 4284648"/>
              <a:gd name="connsiteX32" fmla="*/ 3785884 w 4268746"/>
              <a:gd name="connsiteY32" fmla="*/ 1591573 h 4284648"/>
              <a:gd name="connsiteX33" fmla="*/ 551062 w 4268746"/>
              <a:gd name="connsiteY33" fmla="*/ 1591573 h 4284648"/>
              <a:gd name="connsiteX34" fmla="*/ 2289673 w 4268746"/>
              <a:gd name="connsiteY34" fmla="*/ 1591573 h 4284648"/>
              <a:gd name="connsiteX35" fmla="*/ 2840734 w 4268746"/>
              <a:gd name="connsiteY35" fmla="*/ 2142637 h 4284648"/>
              <a:gd name="connsiteX36" fmla="*/ 2289673 w 4268746"/>
              <a:gd name="connsiteY36" fmla="*/ 2693700 h 4284648"/>
              <a:gd name="connsiteX37" fmla="*/ 551062 w 4268746"/>
              <a:gd name="connsiteY37" fmla="*/ 2693700 h 4284648"/>
              <a:gd name="connsiteX38" fmla="*/ 64 w 4268746"/>
              <a:gd name="connsiteY38" fmla="*/ 2142700 h 4284648"/>
              <a:gd name="connsiteX39" fmla="*/ 1 w 4268746"/>
              <a:gd name="connsiteY39" fmla="*/ 2142573 h 4284648"/>
              <a:gd name="connsiteX40" fmla="*/ 1 w 4268746"/>
              <a:gd name="connsiteY40" fmla="*/ 2142509 h 4284648"/>
              <a:gd name="connsiteX41" fmla="*/ 551062 w 4268746"/>
              <a:gd name="connsiteY41" fmla="*/ 1591573 h 4284648"/>
              <a:gd name="connsiteX42" fmla="*/ 551126 w 4268746"/>
              <a:gd name="connsiteY42" fmla="*/ 64 h 4284648"/>
              <a:gd name="connsiteX43" fmla="*/ 1102124 w 4268746"/>
              <a:gd name="connsiteY43" fmla="*/ 551191 h 4284648"/>
              <a:gd name="connsiteX44" fmla="*/ 1102188 w 4268746"/>
              <a:gd name="connsiteY44" fmla="*/ 551064 h 4284648"/>
              <a:gd name="connsiteX45" fmla="*/ 551062 w 4268746"/>
              <a:gd name="connsiteY45" fmla="*/ 1102191 h 4284648"/>
              <a:gd name="connsiteX46" fmla="*/ 550999 w 4268746"/>
              <a:gd name="connsiteY46" fmla="*/ 1102191 h 4284648"/>
              <a:gd name="connsiteX47" fmla="*/ 1 w 4268746"/>
              <a:gd name="connsiteY47" fmla="*/ 551064 h 4284648"/>
              <a:gd name="connsiteX48" fmla="*/ 551126 w 4268746"/>
              <a:gd name="connsiteY48" fmla="*/ 64 h 4284648"/>
              <a:gd name="connsiteX49" fmla="*/ 2047529 w 4268746"/>
              <a:gd name="connsiteY49" fmla="*/ 0 h 4284648"/>
              <a:gd name="connsiteX50" fmla="*/ 3785694 w 4268746"/>
              <a:gd name="connsiteY50" fmla="*/ 0 h 4284648"/>
              <a:gd name="connsiteX51" fmla="*/ 4242642 w 4268746"/>
              <a:gd name="connsiteY51" fmla="*/ 242960 h 4284648"/>
              <a:gd name="connsiteX52" fmla="*/ 4268746 w 4268746"/>
              <a:gd name="connsiteY52" fmla="*/ 291053 h 4284648"/>
              <a:gd name="connsiteX53" fmla="*/ 4268746 w 4268746"/>
              <a:gd name="connsiteY53" fmla="*/ 811427 h 4284648"/>
              <a:gd name="connsiteX54" fmla="*/ 4242833 w 4268746"/>
              <a:gd name="connsiteY54" fmla="*/ 859168 h 4284648"/>
              <a:gd name="connsiteX55" fmla="*/ 3785884 w 4268746"/>
              <a:gd name="connsiteY55" fmla="*/ 1102127 h 4284648"/>
              <a:gd name="connsiteX56" fmla="*/ 2047529 w 4268746"/>
              <a:gd name="connsiteY56" fmla="*/ 1102127 h 4284648"/>
              <a:gd name="connsiteX57" fmla="*/ 1496467 w 4268746"/>
              <a:gd name="connsiteY57" fmla="*/ 551064 h 4284648"/>
              <a:gd name="connsiteX58" fmla="*/ 2047529 w 4268746"/>
              <a:gd name="connsiteY58" fmla="*/ 0 h 42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4268746" h="4284648">
                <a:moveTo>
                  <a:pt x="2047529" y="3183018"/>
                </a:moveTo>
                <a:lnTo>
                  <a:pt x="3785884" y="3183018"/>
                </a:lnTo>
                <a:cubicBezTo>
                  <a:pt x="3976098" y="3183018"/>
                  <a:pt x="4143803" y="3279394"/>
                  <a:pt x="4242833" y="3425978"/>
                </a:cubicBezTo>
                <a:lnTo>
                  <a:pt x="4268746" y="3473719"/>
                </a:lnTo>
                <a:lnTo>
                  <a:pt x="4268746" y="3994445"/>
                </a:lnTo>
                <a:lnTo>
                  <a:pt x="4242833" y="4042186"/>
                </a:lnTo>
                <a:cubicBezTo>
                  <a:pt x="4156182" y="4170447"/>
                  <a:pt x="4016951" y="4260268"/>
                  <a:pt x="3856069" y="4280719"/>
                </a:cubicBezTo>
                <a:lnTo>
                  <a:pt x="3793778" y="4284648"/>
                </a:lnTo>
                <a:lnTo>
                  <a:pt x="2042595" y="4284648"/>
                </a:lnTo>
                <a:lnTo>
                  <a:pt x="1936468" y="4273937"/>
                </a:lnTo>
                <a:cubicBezTo>
                  <a:pt x="1685353" y="4222524"/>
                  <a:pt x="1496467" y="4000329"/>
                  <a:pt x="1496467" y="3734018"/>
                </a:cubicBezTo>
                <a:cubicBezTo>
                  <a:pt x="1496467" y="3733999"/>
                  <a:pt x="1496467" y="3733974"/>
                  <a:pt x="1496467" y="3733955"/>
                </a:cubicBezTo>
                <a:cubicBezTo>
                  <a:pt x="1496505" y="3429645"/>
                  <a:pt x="1743219" y="3182987"/>
                  <a:pt x="2047529" y="3183018"/>
                </a:cubicBezTo>
                <a:close/>
                <a:moveTo>
                  <a:pt x="551062" y="3182955"/>
                </a:moveTo>
                <a:cubicBezTo>
                  <a:pt x="551145" y="3182955"/>
                  <a:pt x="551234" y="3182955"/>
                  <a:pt x="551317" y="3182955"/>
                </a:cubicBezTo>
                <a:cubicBezTo>
                  <a:pt x="855658" y="3182955"/>
                  <a:pt x="1102379" y="3429676"/>
                  <a:pt x="1102379" y="3734018"/>
                </a:cubicBezTo>
                <a:cubicBezTo>
                  <a:pt x="1102379" y="4000318"/>
                  <a:pt x="913483" y="4222502"/>
                  <a:pt x="662375" y="4273887"/>
                </a:cubicBezTo>
                <a:lnTo>
                  <a:pt x="555622" y="4284648"/>
                </a:lnTo>
                <a:lnTo>
                  <a:pt x="547012" y="4284648"/>
                </a:lnTo>
                <a:lnTo>
                  <a:pt x="440260" y="4273887"/>
                </a:lnTo>
                <a:cubicBezTo>
                  <a:pt x="189151" y="4222502"/>
                  <a:pt x="255" y="4000318"/>
                  <a:pt x="255" y="3734018"/>
                </a:cubicBezTo>
                <a:lnTo>
                  <a:pt x="64" y="3734082"/>
                </a:lnTo>
                <a:cubicBezTo>
                  <a:pt x="64" y="3734037"/>
                  <a:pt x="64" y="3733999"/>
                  <a:pt x="64" y="3733955"/>
                </a:cubicBezTo>
                <a:cubicBezTo>
                  <a:pt x="64" y="3429645"/>
                  <a:pt x="246753" y="3182955"/>
                  <a:pt x="551062" y="3182955"/>
                </a:cubicBezTo>
                <a:close/>
                <a:moveTo>
                  <a:pt x="3785884" y="1591573"/>
                </a:moveTo>
                <a:cubicBezTo>
                  <a:pt x="3976098" y="1591573"/>
                  <a:pt x="4143803" y="1687948"/>
                  <a:pt x="4242833" y="1834532"/>
                </a:cubicBezTo>
                <a:lnTo>
                  <a:pt x="4268746" y="1882274"/>
                </a:lnTo>
                <a:lnTo>
                  <a:pt x="4268746" y="2403001"/>
                </a:lnTo>
                <a:lnTo>
                  <a:pt x="4242846" y="2450721"/>
                </a:lnTo>
                <a:cubicBezTo>
                  <a:pt x="4143830" y="2597300"/>
                  <a:pt x="3976145" y="2693680"/>
                  <a:pt x="3785948" y="2693700"/>
                </a:cubicBezTo>
                <a:cubicBezTo>
                  <a:pt x="3785929" y="2693700"/>
                  <a:pt x="3785903" y="2693700"/>
                  <a:pt x="3785884" y="2693700"/>
                </a:cubicBezTo>
                <a:cubicBezTo>
                  <a:pt x="3481543" y="2693700"/>
                  <a:pt x="3234823" y="2446979"/>
                  <a:pt x="3234823" y="2142637"/>
                </a:cubicBezTo>
                <a:cubicBezTo>
                  <a:pt x="3234823" y="1838294"/>
                  <a:pt x="3481543" y="1591573"/>
                  <a:pt x="3785884" y="1591573"/>
                </a:cubicBezTo>
                <a:close/>
                <a:moveTo>
                  <a:pt x="551062" y="1591573"/>
                </a:moveTo>
                <a:lnTo>
                  <a:pt x="2289673" y="1591573"/>
                </a:lnTo>
                <a:cubicBezTo>
                  <a:pt x="2594014" y="1591573"/>
                  <a:pt x="2840734" y="1838294"/>
                  <a:pt x="2840734" y="2142637"/>
                </a:cubicBezTo>
                <a:cubicBezTo>
                  <a:pt x="2840734" y="2446979"/>
                  <a:pt x="2594014" y="2693700"/>
                  <a:pt x="2289673" y="2693700"/>
                </a:cubicBezTo>
                <a:lnTo>
                  <a:pt x="551062" y="2693700"/>
                </a:lnTo>
                <a:cubicBezTo>
                  <a:pt x="246785" y="2693630"/>
                  <a:pt x="134" y="2446979"/>
                  <a:pt x="64" y="2142700"/>
                </a:cubicBezTo>
                <a:lnTo>
                  <a:pt x="1" y="2142573"/>
                </a:lnTo>
                <a:cubicBezTo>
                  <a:pt x="1" y="2142554"/>
                  <a:pt x="1" y="2142528"/>
                  <a:pt x="1" y="2142509"/>
                </a:cubicBezTo>
                <a:cubicBezTo>
                  <a:pt x="36" y="1838199"/>
                  <a:pt x="246753" y="1591535"/>
                  <a:pt x="551062" y="1591573"/>
                </a:cubicBezTo>
                <a:close/>
                <a:moveTo>
                  <a:pt x="551126" y="64"/>
                </a:moveTo>
                <a:cubicBezTo>
                  <a:pt x="855467" y="102"/>
                  <a:pt x="1102162" y="246849"/>
                  <a:pt x="1102124" y="551191"/>
                </a:cubicBezTo>
                <a:lnTo>
                  <a:pt x="1102188" y="551064"/>
                </a:lnTo>
                <a:cubicBezTo>
                  <a:pt x="1102188" y="855444"/>
                  <a:pt x="855442" y="1102191"/>
                  <a:pt x="551062" y="1102191"/>
                </a:cubicBezTo>
                <a:cubicBezTo>
                  <a:pt x="551043" y="1102191"/>
                  <a:pt x="551018" y="1102191"/>
                  <a:pt x="550999" y="1102191"/>
                </a:cubicBezTo>
                <a:cubicBezTo>
                  <a:pt x="246657" y="1102153"/>
                  <a:pt x="-34" y="855406"/>
                  <a:pt x="1" y="551064"/>
                </a:cubicBezTo>
                <a:cubicBezTo>
                  <a:pt x="36" y="246721"/>
                  <a:pt x="246785" y="25"/>
                  <a:pt x="551126" y="64"/>
                </a:cubicBezTo>
                <a:close/>
                <a:moveTo>
                  <a:pt x="2047529" y="0"/>
                </a:moveTo>
                <a:lnTo>
                  <a:pt x="3785694" y="0"/>
                </a:lnTo>
                <a:cubicBezTo>
                  <a:pt x="3975907" y="0"/>
                  <a:pt x="4143612" y="96376"/>
                  <a:pt x="4242642" y="242960"/>
                </a:cubicBezTo>
                <a:lnTo>
                  <a:pt x="4268746" y="291053"/>
                </a:lnTo>
                <a:lnTo>
                  <a:pt x="4268746" y="811427"/>
                </a:lnTo>
                <a:lnTo>
                  <a:pt x="4242833" y="859168"/>
                </a:lnTo>
                <a:cubicBezTo>
                  <a:pt x="4143803" y="1005752"/>
                  <a:pt x="3976098" y="1102127"/>
                  <a:pt x="3785884" y="1102127"/>
                </a:cubicBezTo>
                <a:lnTo>
                  <a:pt x="2047529" y="1102127"/>
                </a:lnTo>
                <a:cubicBezTo>
                  <a:pt x="1743188" y="1102127"/>
                  <a:pt x="1496467" y="855406"/>
                  <a:pt x="1496467" y="551064"/>
                </a:cubicBezTo>
                <a:cubicBezTo>
                  <a:pt x="1496467" y="246721"/>
                  <a:pt x="1743188" y="0"/>
                  <a:pt x="2047529" y="0"/>
                </a:cubicBezTo>
                <a:close/>
              </a:path>
            </a:pathLst>
          </a:custGeom>
          <a:solidFill>
            <a:srgbClr val="E6E7E8"/>
          </a:solidFill>
        </p:spPr>
        <p:txBody>
          <a:bodyPr wrap="square" anchor="ctr" anchorCtr="0">
            <a:noAutofit/>
          </a:bodyPr>
          <a:lstStyle>
            <a:lvl1pPr marL="0" indent="0">
              <a:spcBef>
                <a:spcPts val="1200"/>
              </a:spcBef>
              <a:buNone/>
              <a:defRPr sz="1400"/>
            </a:lvl1p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59056819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Purple">
    <p:bg>
      <p:bgPr>
        <a:solidFill>
          <a:schemeClr val="bg2"/>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603272" y="4405744"/>
            <a:ext cx="5140303" cy="1258455"/>
          </a:xfrm>
        </p:spPr>
        <p:txBody>
          <a:bodyPr lIns="0" rIns="0">
            <a:normAutofit/>
          </a:bodyPr>
          <a:lstStyle>
            <a:lvl1pPr marL="0" indent="0" algn="l">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endParaRPr lang="en-GB" dirty="0"/>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587375" y="2153891"/>
            <a:ext cx="5156200" cy="1999009"/>
          </a:xfrm>
        </p:spPr>
        <p:txBody>
          <a:bodyPr lIns="0" tIns="0" rIns="0" bIns="0" anchor="b" anchorCtr="0">
            <a:spAutoFit/>
          </a:bodyPr>
          <a:lstStyle>
            <a:lvl1pPr>
              <a:defRPr sz="3600">
                <a:solidFill>
                  <a:schemeClr val="bg1"/>
                </a:solidFill>
              </a:defRPr>
            </a:lvl1pPr>
          </a:lstStyle>
          <a:p>
            <a:r>
              <a:rPr lang="en-US" dirty="0"/>
              <a:t>Divider placeholder bit </a:t>
            </a:r>
            <a:r>
              <a:rPr lang="en-US" dirty="0" err="1"/>
              <a:t>odis</a:t>
            </a:r>
            <a:r>
              <a:rPr lang="en-US" dirty="0"/>
              <a:t> re </a:t>
            </a:r>
            <a:r>
              <a:rPr lang="en-US" dirty="0" err="1"/>
              <a:t>pernatiis</a:t>
            </a:r>
            <a:r>
              <a:rPr lang="en-US" dirty="0"/>
              <a:t> </a:t>
            </a:r>
            <a:r>
              <a:rPr lang="en-US" dirty="0" err="1"/>
              <a:t>dundel</a:t>
            </a:r>
            <a:r>
              <a:rPr lang="en-US" dirty="0"/>
              <a:t> </a:t>
            </a:r>
            <a:r>
              <a:rPr lang="en-US" dirty="0" err="1"/>
              <a:t>eatem</a:t>
            </a:r>
            <a:r>
              <a:rPr lang="en-US" dirty="0"/>
              <a:t> </a:t>
            </a:r>
            <a:r>
              <a:rPr lang="en-US" dirty="0" err="1"/>
              <a:t>videntor</a:t>
            </a:r>
            <a:r>
              <a:rPr lang="en-US" dirty="0"/>
              <a:t>.</a:t>
            </a:r>
            <a:endParaRPr lang="en-GB" dirty="0"/>
          </a:p>
        </p:txBody>
      </p:sp>
      <p:sp>
        <p:nvSpPr>
          <p:cNvPr id="25" name="Freeform: Shape 24">
            <a:extLst>
              <a:ext uri="{FF2B5EF4-FFF2-40B4-BE49-F238E27FC236}">
                <a16:creationId xmlns:a16="http://schemas.microsoft.com/office/drawing/2014/main" id="{CF54FF5F-2672-463F-80F7-5FD1006ABE67}"/>
              </a:ext>
            </a:extLst>
          </p:cNvPr>
          <p:cNvSpPr/>
          <p:nvPr/>
        </p:nvSpPr>
        <p:spPr>
          <a:xfrm>
            <a:off x="11163300" y="5233935"/>
            <a:ext cx="1028700" cy="1069922"/>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0044E"/>
          </a:solidFill>
          <a:ln w="9525" cap="flat">
            <a:noFill/>
            <a:prstDash val="solid"/>
            <a:miter/>
          </a:ln>
        </p:spPr>
        <p:txBody>
          <a:bodyPr rtlCol="0" anchor="ctr"/>
          <a:lstStyle/>
          <a:p>
            <a:endParaRPr lang="en-GB" dirty="0"/>
          </a:p>
        </p:txBody>
      </p:sp>
    </p:spTree>
    <p:custDataLst>
      <p:tags r:id="rId1"/>
    </p:custDataLst>
    <p:extLst>
      <p:ext uri="{BB962C8B-B14F-4D97-AF65-F5344CB8AC3E}">
        <p14:creationId xmlns:p14="http://schemas.microsoft.com/office/powerpoint/2010/main" val="4022594497"/>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White">
    <p:bg>
      <p:bgPr>
        <a:solidFill>
          <a:schemeClr val="bg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603272" y="4405744"/>
            <a:ext cx="5140303" cy="1258455"/>
          </a:xfrm>
        </p:spPr>
        <p:txBody>
          <a:bodyPr lIns="0" rIns="0">
            <a:normAutofit/>
          </a:bodyPr>
          <a:lstStyle>
            <a:lvl1pPr marL="0" indent="0" algn="l">
              <a:buNone/>
              <a:defRPr sz="1400" b="0">
                <a:solidFill>
                  <a:schemeClr val="tx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endParaRPr lang="en-GB" dirty="0"/>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587375" y="2657106"/>
            <a:ext cx="5156200" cy="1495794"/>
          </a:xfrm>
        </p:spPr>
        <p:txBody>
          <a:bodyPr lIns="0" tIns="0" rIns="0" bIns="0" anchor="b" anchorCtr="0">
            <a:spAutoFit/>
          </a:bodyPr>
          <a:lstStyle>
            <a:lvl1pPr>
              <a:defRPr sz="3600">
                <a:solidFill>
                  <a:schemeClr val="bg2"/>
                </a:solidFill>
              </a:defRPr>
            </a:lvl1pPr>
          </a:lstStyle>
          <a:p>
            <a:r>
              <a:rPr lang="en-US" dirty="0"/>
              <a:t>Divider placeholder bit </a:t>
            </a:r>
            <a:r>
              <a:rPr lang="en-US" dirty="0" err="1"/>
              <a:t>odis</a:t>
            </a:r>
            <a:r>
              <a:rPr lang="en-US" dirty="0"/>
              <a:t> re </a:t>
            </a:r>
            <a:r>
              <a:rPr lang="en-US" dirty="0" err="1"/>
              <a:t>pernatiis</a:t>
            </a:r>
            <a:r>
              <a:rPr lang="en-US" dirty="0"/>
              <a:t> </a:t>
            </a:r>
            <a:r>
              <a:rPr lang="en-US" dirty="0" err="1"/>
              <a:t>dundel</a:t>
            </a:r>
            <a:r>
              <a:rPr lang="en-US" dirty="0"/>
              <a:t> </a:t>
            </a:r>
            <a:r>
              <a:rPr lang="en-US" dirty="0" err="1"/>
              <a:t>eatem</a:t>
            </a:r>
            <a:r>
              <a:rPr lang="en-US" dirty="0"/>
              <a:t> </a:t>
            </a:r>
            <a:r>
              <a:rPr lang="en-US" dirty="0" err="1"/>
              <a:t>videntor</a:t>
            </a:r>
            <a:r>
              <a:rPr lang="en-US" dirty="0"/>
              <a:t>.</a:t>
            </a:r>
            <a:endParaRPr lang="en-GB" dirty="0"/>
          </a:p>
        </p:txBody>
      </p:sp>
      <p:sp>
        <p:nvSpPr>
          <p:cNvPr id="6" name="Freeform: Shape 5">
            <a:extLst>
              <a:ext uri="{FF2B5EF4-FFF2-40B4-BE49-F238E27FC236}">
                <a16:creationId xmlns:a16="http://schemas.microsoft.com/office/drawing/2014/main" id="{962DFFF7-E690-41FB-8F6D-808BF05EF11D}"/>
              </a:ext>
            </a:extLst>
          </p:cNvPr>
          <p:cNvSpPr/>
          <p:nvPr userDrawn="1"/>
        </p:nvSpPr>
        <p:spPr>
          <a:xfrm>
            <a:off x="11163300" y="5233935"/>
            <a:ext cx="1028700" cy="1069922"/>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0044E"/>
          </a:solidFill>
          <a:ln w="9525" cap="flat">
            <a:noFill/>
            <a:prstDash val="solid"/>
            <a:miter/>
          </a:ln>
        </p:spPr>
        <p:txBody>
          <a:bodyPr rtlCol="0" anchor="ctr"/>
          <a:lstStyle/>
          <a:p>
            <a:endParaRPr lang="en-GB" dirty="0"/>
          </a:p>
        </p:txBody>
      </p:sp>
    </p:spTree>
    <p:custDataLst>
      <p:tags r:id="rId1"/>
    </p:custDataLst>
    <p:extLst>
      <p:ext uri="{BB962C8B-B14F-4D97-AF65-F5344CB8AC3E}">
        <p14:creationId xmlns:p14="http://schemas.microsoft.com/office/powerpoint/2010/main" val="422860047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Purple Center">
    <p:bg>
      <p:bgPr>
        <a:solidFill>
          <a:schemeClr val="bg2"/>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90374356-2DEE-40D7-A5C3-76BE971FC02F}"/>
              </a:ext>
            </a:extLst>
          </p:cNvPr>
          <p:cNvSpPr>
            <a:spLocks noGrp="1"/>
          </p:cNvSpPr>
          <p:nvPr>
            <p:ph type="subTitle" idx="1" hasCustomPrompt="1"/>
          </p:nvPr>
        </p:nvSpPr>
        <p:spPr>
          <a:xfrm>
            <a:off x="3525848" y="4405744"/>
            <a:ext cx="5140303" cy="1258455"/>
          </a:xfrm>
        </p:spPr>
        <p:txBody>
          <a:bodyPr>
            <a:normAutofit/>
          </a:bodyPr>
          <a:lstStyle>
            <a:lvl1pPr marL="0" indent="0" algn="ctr">
              <a:buNone/>
              <a:defRPr sz="1400" b="0">
                <a:solidFill>
                  <a:schemeClr val="bg1"/>
                </a:solidFill>
                <a:latin typeface="Segoe UI" panose="020B0502040204020203" pitchFamily="34" charset="0"/>
                <a:cs typeface="Segoe UI" panose="020B0502040204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endParaRPr lang="en-GB" dirty="0"/>
          </a:p>
        </p:txBody>
      </p:sp>
      <p:sp>
        <p:nvSpPr>
          <p:cNvPr id="23" name="Title 22">
            <a:extLst>
              <a:ext uri="{FF2B5EF4-FFF2-40B4-BE49-F238E27FC236}">
                <a16:creationId xmlns:a16="http://schemas.microsoft.com/office/drawing/2014/main" id="{09E82F87-CF4A-4A93-9472-B0DDD5EDA077}"/>
              </a:ext>
            </a:extLst>
          </p:cNvPr>
          <p:cNvSpPr>
            <a:spLocks noGrp="1"/>
          </p:cNvSpPr>
          <p:nvPr>
            <p:ph type="title" hasCustomPrompt="1"/>
          </p:nvPr>
        </p:nvSpPr>
        <p:spPr>
          <a:xfrm>
            <a:off x="3130550" y="2766219"/>
            <a:ext cx="5930900" cy="1325563"/>
          </a:xfrm>
        </p:spPr>
        <p:txBody>
          <a:bodyPr anchor="ctr" anchorCtr="0">
            <a:normAutofit/>
          </a:bodyPr>
          <a:lstStyle>
            <a:lvl1pPr algn="ctr">
              <a:defRPr sz="3600">
                <a:solidFill>
                  <a:schemeClr val="bg1"/>
                </a:solidFill>
              </a:defRPr>
            </a:lvl1pPr>
          </a:lstStyle>
          <a:p>
            <a:r>
              <a:rPr lang="en-US" dirty="0"/>
              <a:t>Divider placeholder bit </a:t>
            </a:r>
            <a:r>
              <a:rPr lang="en-US" dirty="0" err="1"/>
              <a:t>odis</a:t>
            </a:r>
            <a:r>
              <a:rPr lang="en-US" dirty="0"/>
              <a:t> re </a:t>
            </a:r>
            <a:r>
              <a:rPr lang="en-US" dirty="0" err="1"/>
              <a:t>pernatiis</a:t>
            </a:r>
            <a:r>
              <a:rPr lang="en-US" dirty="0"/>
              <a:t> </a:t>
            </a:r>
            <a:r>
              <a:rPr lang="en-US" dirty="0" err="1"/>
              <a:t>dundel</a:t>
            </a:r>
            <a:r>
              <a:rPr lang="en-US" dirty="0"/>
              <a:t> </a:t>
            </a:r>
            <a:r>
              <a:rPr lang="en-US" dirty="0" err="1"/>
              <a:t>eatem</a:t>
            </a:r>
            <a:r>
              <a:rPr lang="en-US" dirty="0"/>
              <a:t> </a:t>
            </a:r>
            <a:r>
              <a:rPr lang="en-US" dirty="0" err="1"/>
              <a:t>epsum</a:t>
            </a:r>
            <a:r>
              <a:rPr lang="en-US" dirty="0"/>
              <a:t> </a:t>
            </a:r>
            <a:r>
              <a:rPr lang="en-US" dirty="0" err="1"/>
              <a:t>videntor</a:t>
            </a:r>
            <a:r>
              <a:rPr lang="en-US" dirty="0"/>
              <a:t>.</a:t>
            </a:r>
            <a:endParaRPr lang="en-GB" dirty="0"/>
          </a:p>
        </p:txBody>
      </p:sp>
      <p:pic>
        <p:nvPicPr>
          <p:cNvPr id="11" name="Graphic 10">
            <a:extLst>
              <a:ext uri="{FF2B5EF4-FFF2-40B4-BE49-F238E27FC236}">
                <a16:creationId xmlns:a16="http://schemas.microsoft.com/office/drawing/2014/main" id="{D005E651-E4B9-4E97-9B29-DD1D5A1C87F1}"/>
              </a:ext>
            </a:extLst>
          </p:cNvPr>
          <p:cNvPicPr>
            <a:picLocks noChangeAspect="1"/>
          </p:cNvPicPr>
          <p:nvPr userDrawn="1"/>
        </p:nvPicPr>
        <p:blipFill>
          <a:blip r:embed="rId3">
            <a:extLst>
              <a:ext uri="{96DAC541-7B7A-43D3-8B79-37D633B846F1}">
                <asvg:svgBlip xmlns:asvg="http://schemas.microsoft.com/office/drawing/2016/SVG/main" r:embed="rId4"/>
              </a:ext>
            </a:extLst>
          </a:blip>
          <a:srcRect l="2467"/>
          <a:stretch>
            <a:fillRect/>
          </a:stretch>
        </p:blipFill>
        <p:spPr>
          <a:xfrm>
            <a:off x="0" y="5233935"/>
            <a:ext cx="1055390" cy="1069922"/>
          </a:xfrm>
          <a:custGeom>
            <a:avLst/>
            <a:gdLst>
              <a:gd name="connsiteX0" fmla="*/ 0 w 1055390"/>
              <a:gd name="connsiteY0" fmla="*/ 0 h 1069922"/>
              <a:gd name="connsiteX1" fmla="*/ 1055390 w 1055390"/>
              <a:gd name="connsiteY1" fmla="*/ 0 h 1069922"/>
              <a:gd name="connsiteX2" fmla="*/ 1055390 w 1055390"/>
              <a:gd name="connsiteY2" fmla="*/ 1069922 h 1069922"/>
              <a:gd name="connsiteX3" fmla="*/ 0 w 1055390"/>
              <a:gd name="connsiteY3" fmla="*/ 1069922 h 1069922"/>
            </a:gdLst>
            <a:ahLst/>
            <a:cxnLst>
              <a:cxn ang="0">
                <a:pos x="connsiteX0" y="connsiteY0"/>
              </a:cxn>
              <a:cxn ang="0">
                <a:pos x="connsiteX1" y="connsiteY1"/>
              </a:cxn>
              <a:cxn ang="0">
                <a:pos x="connsiteX2" y="connsiteY2"/>
              </a:cxn>
              <a:cxn ang="0">
                <a:pos x="connsiteX3" y="connsiteY3"/>
              </a:cxn>
            </a:cxnLst>
            <a:rect l="l" t="t" r="r" b="b"/>
            <a:pathLst>
              <a:path w="1055390" h="1069922">
                <a:moveTo>
                  <a:pt x="0" y="0"/>
                </a:moveTo>
                <a:lnTo>
                  <a:pt x="1055390" y="0"/>
                </a:lnTo>
                <a:lnTo>
                  <a:pt x="1055390" y="1069922"/>
                </a:lnTo>
                <a:lnTo>
                  <a:pt x="0" y="1069922"/>
                </a:lnTo>
                <a:close/>
              </a:path>
            </a:pathLst>
          </a:custGeom>
        </p:spPr>
      </p:pic>
    </p:spTree>
    <p:custDataLst>
      <p:tags r:id="rId1"/>
    </p:custDataLst>
    <p:extLst>
      <p:ext uri="{BB962C8B-B14F-4D97-AF65-F5344CB8AC3E}">
        <p14:creationId xmlns:p14="http://schemas.microsoft.com/office/powerpoint/2010/main" val="383840763"/>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2.svg"/><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png"/><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CA389D2-B493-486D-8825-0FF07177B362}"/>
              </a:ext>
            </a:extLst>
          </p:cNvPr>
          <p:cNvSpPr>
            <a:spLocks noGrp="1"/>
          </p:cNvSpPr>
          <p:nvPr>
            <p:ph type="title"/>
          </p:nvPr>
        </p:nvSpPr>
        <p:spPr>
          <a:xfrm>
            <a:off x="587375" y="393192"/>
            <a:ext cx="10980738" cy="548640"/>
          </a:xfrm>
          <a:prstGeom prst="rect">
            <a:avLst/>
          </a:prstGeom>
        </p:spPr>
        <p:txBody>
          <a:bodyPr vert="horz" lIns="91440" tIns="45720" rIns="91440" bIns="45720" rtlCol="0" anchor="ctr">
            <a:noAutofit/>
          </a:bodyPr>
          <a:lstStyle/>
          <a:p>
            <a:r>
              <a:rPr lang="en-US" dirty="0"/>
              <a:t>Heading 1 placeholder</a:t>
            </a:r>
            <a:endParaRPr lang="en-GB" dirty="0"/>
          </a:p>
        </p:txBody>
      </p:sp>
      <p:sp>
        <p:nvSpPr>
          <p:cNvPr id="3" name="Text Placeholder 2">
            <a:extLst>
              <a:ext uri="{FF2B5EF4-FFF2-40B4-BE49-F238E27FC236}">
                <a16:creationId xmlns:a16="http://schemas.microsoft.com/office/drawing/2014/main" id="{6023600C-336C-49A3-99F2-4201BC9F031F}"/>
              </a:ext>
            </a:extLst>
          </p:cNvPr>
          <p:cNvSpPr>
            <a:spLocks noGrp="1"/>
          </p:cNvSpPr>
          <p:nvPr>
            <p:ph type="body" idx="1"/>
          </p:nvPr>
        </p:nvSpPr>
        <p:spPr>
          <a:xfrm>
            <a:off x="587375" y="1423348"/>
            <a:ext cx="10980738" cy="4288786"/>
          </a:xfrm>
          <a:prstGeom prst="rect">
            <a:avLst/>
          </a:prstGeom>
        </p:spPr>
        <p:txBody>
          <a:bodyPr vert="horz" lIns="91440" tIns="45720" rIns="91440" bIns="45720" rtlCol="0">
            <a:noAutofit/>
          </a:bodyPr>
          <a:lstStyle/>
          <a:p>
            <a:pPr lvl="0"/>
            <a:r>
              <a:rPr lang="en-US" dirty="0"/>
              <a:t>Bullet level 1</a:t>
            </a:r>
          </a:p>
          <a:p>
            <a:pPr lvl="1"/>
            <a:r>
              <a:rPr lang="en-US" dirty="0"/>
              <a:t>Bullet level 2</a:t>
            </a:r>
          </a:p>
          <a:p>
            <a:pPr lvl="2"/>
            <a:r>
              <a:rPr lang="en-US" dirty="0"/>
              <a:t>Bullet level 3</a:t>
            </a:r>
          </a:p>
        </p:txBody>
      </p:sp>
      <p:sp>
        <p:nvSpPr>
          <p:cNvPr id="7" name="Date Placeholder 6">
            <a:extLst>
              <a:ext uri="{FF2B5EF4-FFF2-40B4-BE49-F238E27FC236}">
                <a16:creationId xmlns:a16="http://schemas.microsoft.com/office/drawing/2014/main" id="{9E123292-2A87-4AF6-B8B3-F0150F63693D}"/>
              </a:ext>
            </a:extLst>
          </p:cNvPr>
          <p:cNvSpPr>
            <a:spLocks noGrp="1"/>
          </p:cNvSpPr>
          <p:nvPr>
            <p:ph type="dt" sz="half" idx="2"/>
          </p:nvPr>
        </p:nvSpPr>
        <p:spPr>
          <a:xfrm>
            <a:off x="587375" y="6483349"/>
            <a:ext cx="2743200" cy="228600"/>
          </a:xfrm>
          <a:prstGeom prst="rect">
            <a:avLst/>
          </a:prstGeom>
        </p:spPr>
        <p:txBody>
          <a:bodyPr vert="horz" lIns="91440" tIns="45720" rIns="91440" bIns="45720" rtlCol="0" anchor="ctr"/>
          <a:lstStyle>
            <a:lvl1pPr algn="l">
              <a:defRPr sz="1000">
                <a:solidFill>
                  <a:schemeClr val="tx2"/>
                </a:solidFill>
                <a:latin typeface="Segoe UI" panose="020B0502040204020203" pitchFamily="34" charset="0"/>
                <a:cs typeface="Segoe UI" panose="020B0502040204020203" pitchFamily="34" charset="0"/>
              </a:defRPr>
            </a:lvl1pPr>
          </a:lstStyle>
          <a:p>
            <a:endParaRPr lang="en-GB" dirty="0"/>
          </a:p>
        </p:txBody>
      </p:sp>
      <p:sp>
        <p:nvSpPr>
          <p:cNvPr id="9" name="Slide Number Placeholder 8">
            <a:extLst>
              <a:ext uri="{FF2B5EF4-FFF2-40B4-BE49-F238E27FC236}">
                <a16:creationId xmlns:a16="http://schemas.microsoft.com/office/drawing/2014/main" id="{C25EDDD1-8E1B-4D4A-BEF5-A35E37D33F51}"/>
              </a:ext>
            </a:extLst>
          </p:cNvPr>
          <p:cNvSpPr>
            <a:spLocks noGrp="1"/>
          </p:cNvSpPr>
          <p:nvPr>
            <p:ph type="sldNum" sz="quarter" idx="4"/>
          </p:nvPr>
        </p:nvSpPr>
        <p:spPr>
          <a:xfrm>
            <a:off x="11494008" y="6476999"/>
            <a:ext cx="382601" cy="228600"/>
          </a:xfrm>
          <a:prstGeom prst="rect">
            <a:avLst/>
          </a:prstGeom>
        </p:spPr>
        <p:txBody>
          <a:bodyPr vert="horz" lIns="91440" tIns="0" rIns="91440" bIns="0" rtlCol="0" anchor="ctr" anchorCtr="0"/>
          <a:lstStyle>
            <a:lvl1pPr algn="r">
              <a:defRPr sz="1000">
                <a:solidFill>
                  <a:srgbClr val="E0044E"/>
                </a:solidFill>
                <a:latin typeface="Segoe UI" panose="020B0502040204020203" pitchFamily="34" charset="0"/>
                <a:cs typeface="Segoe UI" panose="020B0502040204020203" pitchFamily="34" charset="0"/>
              </a:defRPr>
            </a:lvl1pPr>
          </a:lstStyle>
          <a:p>
            <a:fld id="{2604F1CA-F590-4AD7-82C4-33C5478F726E}" type="slidenum">
              <a:rPr lang="en-GB" smtClean="0"/>
              <a:pPr/>
              <a:t>‹#›</a:t>
            </a:fld>
            <a:endParaRPr lang="en-GB" dirty="0"/>
          </a:p>
        </p:txBody>
      </p:sp>
      <p:pic>
        <p:nvPicPr>
          <p:cNvPr id="5" name="Graphic 4">
            <a:extLst>
              <a:ext uri="{FF2B5EF4-FFF2-40B4-BE49-F238E27FC236}">
                <a16:creationId xmlns:a16="http://schemas.microsoft.com/office/drawing/2014/main" id="{7E29FC3B-6D50-4B87-AEED-FEE440F8BE2D}"/>
              </a:ext>
            </a:extLst>
          </p:cNvPr>
          <p:cNvPicPr>
            <a:picLocks/>
          </p:cNvPicPr>
          <p:nvPr userDrawn="1"/>
        </p:nvPicPr>
        <p:blipFill>
          <a:blip r:embed="rId46">
            <a:extLst>
              <a:ext uri="{96DAC541-7B7A-43D3-8B79-37D633B846F1}">
                <asvg:svgBlip xmlns:asvg="http://schemas.microsoft.com/office/drawing/2016/SVG/main" r:embed="rId47"/>
              </a:ext>
            </a:extLst>
          </a:blip>
          <a:stretch>
            <a:fillRect/>
          </a:stretch>
        </p:blipFill>
        <p:spPr>
          <a:xfrm>
            <a:off x="10607040" y="6556248"/>
            <a:ext cx="813816" cy="82296"/>
          </a:xfrm>
          <a:prstGeom prst="rect">
            <a:avLst/>
          </a:prstGeom>
        </p:spPr>
      </p:pic>
      <p:sp>
        <p:nvSpPr>
          <p:cNvPr id="13" name="Footer Placeholder 11">
            <a:extLst>
              <a:ext uri="{FF2B5EF4-FFF2-40B4-BE49-F238E27FC236}">
                <a16:creationId xmlns:a16="http://schemas.microsoft.com/office/drawing/2014/main" id="{31C9A318-6F6C-43E1-8637-E69434BD2E88}"/>
              </a:ext>
            </a:extLst>
          </p:cNvPr>
          <p:cNvSpPr>
            <a:spLocks noGrp="1"/>
          </p:cNvSpPr>
          <p:nvPr>
            <p:ph type="ftr" sz="quarter" idx="3"/>
          </p:nvPr>
        </p:nvSpPr>
        <p:spPr>
          <a:xfrm>
            <a:off x="6424571" y="6476999"/>
            <a:ext cx="3994309" cy="228601"/>
          </a:xfrm>
          <a:prstGeom prst="rect">
            <a:avLst/>
          </a:prstGeom>
          <a:ln>
            <a:solidFill>
              <a:schemeClr val="accent1">
                <a:alpha val="0"/>
              </a:schemeClr>
            </a:solidFill>
          </a:ln>
        </p:spPr>
        <p:txBody>
          <a:bodyPr vert="horz" lIns="0" tIns="0" rIns="0" bIns="0" rtlCol="0" anchor="ctr" anchorCtr="0">
            <a:normAutofit/>
          </a:bodyPr>
          <a:lstStyle>
            <a:lvl1pPr algn="r">
              <a:defRPr sz="1000" u="none">
                <a:solidFill>
                  <a:schemeClr val="tx1"/>
                </a:solidFill>
                <a:latin typeface="Segoe UI" panose="020B0502040204020203" pitchFamily="34" charset="0"/>
                <a:cs typeface="Segoe UI" panose="020B0502040204020203" pitchFamily="34" charset="0"/>
              </a:defRPr>
            </a:lvl1pPr>
          </a:lstStyle>
          <a:p>
            <a:r>
              <a:rPr lang="en-US" dirty="0"/>
              <a:t>Presentation Title</a:t>
            </a:r>
            <a:endParaRPr lang="en-GB" dirty="0"/>
          </a:p>
        </p:txBody>
      </p:sp>
      <p:sp>
        <p:nvSpPr>
          <p:cNvPr id="14" name="TextBox 13">
            <a:extLst>
              <a:ext uri="{FF2B5EF4-FFF2-40B4-BE49-F238E27FC236}">
                <a16:creationId xmlns:a16="http://schemas.microsoft.com/office/drawing/2014/main" id="{0844EC29-A50E-4129-85A6-D972AF232EB7}"/>
              </a:ext>
            </a:extLst>
          </p:cNvPr>
          <p:cNvSpPr txBox="1">
            <a:spLocks/>
          </p:cNvSpPr>
          <p:nvPr userDrawn="1"/>
        </p:nvSpPr>
        <p:spPr>
          <a:xfrm>
            <a:off x="10493986" y="6479554"/>
            <a:ext cx="78581" cy="228600"/>
          </a:xfrm>
          <a:prstGeom prst="rect">
            <a:avLst/>
          </a:prstGeom>
          <a:noFill/>
        </p:spPr>
        <p:txBody>
          <a:bodyPr wrap="square" lIns="0" tIns="0" rIns="0" bIns="0" rtlCol="0" anchor="ctr" anchorCtr="0">
            <a:normAutofit/>
          </a:bodyPr>
          <a:lstStyle/>
          <a:p>
            <a:pPr algn="l"/>
            <a:r>
              <a:rPr lang="en-US" sz="1000" u="none" dirty="0">
                <a:solidFill>
                  <a:srgbClr val="E0044E"/>
                </a:solidFill>
                <a:latin typeface="Calibri" panose="020F0502020204030204" pitchFamily="34" charset="0"/>
                <a:cs typeface="Calibri" panose="020F0502020204030204" pitchFamily="34" charset="0"/>
              </a:rPr>
              <a:t>●</a:t>
            </a:r>
            <a:endParaRPr lang="en-GB" sz="1000" u="none" dirty="0">
              <a:solidFill>
                <a:srgbClr val="E0044E"/>
              </a:solidFill>
            </a:endParaRPr>
          </a:p>
        </p:txBody>
      </p:sp>
    </p:spTree>
    <p:custDataLst>
      <p:tags r:id="rId45"/>
    </p:custDataLst>
    <p:extLst>
      <p:ext uri="{BB962C8B-B14F-4D97-AF65-F5344CB8AC3E}">
        <p14:creationId xmlns:p14="http://schemas.microsoft.com/office/powerpoint/2010/main" val="1786572581"/>
      </p:ext>
    </p:extLst>
  </p:cSld>
  <p:clrMap bg1="lt1" tx1="dk1" bg2="lt2" tx2="dk2" accent1="accent1" accent2="accent2" accent3="accent3" accent4="accent4" accent5="accent5" accent6="accent6" hlink="hlink" folHlink="folHlink"/>
  <p:sldLayoutIdLst>
    <p:sldLayoutId id="2147483703" r:id="rId1"/>
    <p:sldLayoutId id="2147483698" r:id="rId2"/>
    <p:sldLayoutId id="2147483660" r:id="rId3"/>
    <p:sldLayoutId id="2147483685" r:id="rId4"/>
    <p:sldLayoutId id="2147483661" r:id="rId5"/>
    <p:sldLayoutId id="2147483686" r:id="rId6"/>
    <p:sldLayoutId id="2147483662" r:id="rId7"/>
    <p:sldLayoutId id="2147483663" r:id="rId8"/>
    <p:sldLayoutId id="2147483664" r:id="rId9"/>
    <p:sldLayoutId id="2147483665" r:id="rId10"/>
    <p:sldLayoutId id="2147483697" r:id="rId11"/>
    <p:sldLayoutId id="2147483696" r:id="rId12"/>
    <p:sldLayoutId id="2147483667" r:id="rId13"/>
    <p:sldLayoutId id="2147483688" r:id="rId14"/>
    <p:sldLayoutId id="2147483668" r:id="rId15"/>
    <p:sldLayoutId id="2147483701" r:id="rId16"/>
    <p:sldLayoutId id="2147483669" r:id="rId17"/>
    <p:sldLayoutId id="2147483689" r:id="rId18"/>
    <p:sldLayoutId id="2147483670" r:id="rId19"/>
    <p:sldLayoutId id="2147483690" r:id="rId20"/>
    <p:sldLayoutId id="2147483671" r:id="rId21"/>
    <p:sldLayoutId id="2147483691" r:id="rId22"/>
    <p:sldLayoutId id="2147483672" r:id="rId23"/>
    <p:sldLayoutId id="2147483674" r:id="rId24"/>
    <p:sldLayoutId id="2147483675" r:id="rId25"/>
    <p:sldLayoutId id="2147483676" r:id="rId26"/>
    <p:sldLayoutId id="2147483692" r:id="rId27"/>
    <p:sldLayoutId id="2147483677" r:id="rId28"/>
    <p:sldLayoutId id="2147483693" r:id="rId29"/>
    <p:sldLayoutId id="2147483678" r:id="rId30"/>
    <p:sldLayoutId id="2147483694" r:id="rId31"/>
    <p:sldLayoutId id="2147483679" r:id="rId32"/>
    <p:sldLayoutId id="2147483680" r:id="rId33"/>
    <p:sldLayoutId id="2147483695" r:id="rId34"/>
    <p:sldLayoutId id="2147483654" r:id="rId35"/>
    <p:sldLayoutId id="2147483702" r:id="rId36"/>
    <p:sldLayoutId id="2147483655" r:id="rId37"/>
    <p:sldLayoutId id="2147483681" r:id="rId38"/>
    <p:sldLayoutId id="2147483682" r:id="rId39"/>
    <p:sldLayoutId id="2147483683" r:id="rId40"/>
    <p:sldLayoutId id="2147483699" r:id="rId41"/>
    <p:sldLayoutId id="2147483684" r:id="rId42"/>
    <p:sldLayoutId id="2147483704" r:id="rId43"/>
  </p:sldLayoutIdLst>
  <p:hf hdr="0" dt="0"/>
  <p:txStyles>
    <p:titleStyle>
      <a:lvl1pPr algn="l" defTabSz="914400" rtl="0" eaLnBrk="1" latinLnBrk="0" hangingPunct="1">
        <a:lnSpc>
          <a:spcPct val="90000"/>
        </a:lnSpc>
        <a:spcBef>
          <a:spcPct val="0"/>
        </a:spcBef>
        <a:buNone/>
        <a:defRPr sz="3200" b="1" kern="1200">
          <a:solidFill>
            <a:schemeClr val="bg2"/>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228600" indent="-228600" algn="l" defTabSz="914400" rtl="0" eaLnBrk="1" latinLnBrk="0" hangingPunct="1">
        <a:lnSpc>
          <a:spcPct val="100000"/>
        </a:lnSpc>
        <a:spcBef>
          <a:spcPts val="600"/>
        </a:spcBef>
        <a:spcAft>
          <a:spcPts val="300"/>
        </a:spcAft>
        <a:buClr>
          <a:schemeClr val="tx1"/>
        </a:buClr>
        <a:buSzPct val="130000"/>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228600" algn="l" defTabSz="914400" rtl="0" eaLnBrk="1" latinLnBrk="0" hangingPunct="1">
        <a:lnSpc>
          <a:spcPct val="100000"/>
        </a:lnSpc>
        <a:spcBef>
          <a:spcPts val="600"/>
        </a:spcBef>
        <a:spcAft>
          <a:spcPts val="300"/>
        </a:spcAft>
        <a:buClr>
          <a:schemeClr val="tx1"/>
        </a:buClr>
        <a:buFont typeface="Segoe UI" panose="020B0502040204020203"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685800" indent="-228600" algn="l" defTabSz="914400" rtl="0" eaLnBrk="1" latinLnBrk="0" hangingPunct="1">
        <a:lnSpc>
          <a:spcPct val="100000"/>
        </a:lnSpc>
        <a:spcBef>
          <a:spcPts val="600"/>
        </a:spcBef>
        <a:spcAft>
          <a:spcPts val="300"/>
        </a:spcAft>
        <a:buClr>
          <a:schemeClr val="tx1"/>
        </a:buClr>
        <a:buSzPct val="100000"/>
        <a:buFont typeface="Courier New" panose="02070309020205020404" pitchFamily="49" charset="0"/>
        <a:buChar char="o"/>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144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1430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944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j-lt"/>
          <a:ea typeface="Lato" panose="020F0502020204030203" pitchFamily="34" charset="0"/>
          <a:cs typeface="Poppins" panose="00000500000000000000" pitchFamily="50" charset="0"/>
        </a:defRPr>
      </a:lvl6pPr>
      <a:lvl7pPr marL="2268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n-lt"/>
          <a:ea typeface="Lato" panose="020F0502020204030203" pitchFamily="34" charset="0"/>
          <a:cs typeface="Poppins" panose="00000500000000000000" pitchFamily="50" charset="0"/>
        </a:defRPr>
      </a:lvl7pPr>
      <a:lvl8pPr marL="2592000" indent="-342000" algn="l" defTabSz="914400" rtl="0" eaLnBrk="1" latinLnBrk="0" hangingPunct="1">
        <a:lnSpc>
          <a:spcPct val="90000"/>
        </a:lnSpc>
        <a:spcBef>
          <a:spcPts val="800"/>
        </a:spcBef>
        <a:buClr>
          <a:srgbClr val="E0044E"/>
        </a:buClr>
        <a:buFont typeface="Arial" panose="020B0604020202020204" pitchFamily="34" charset="0"/>
        <a:buChar char="•"/>
        <a:defRPr sz="1600" b="0" i="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2" userDrawn="1">
          <p15:clr>
            <a:srgbClr val="F26B43"/>
          </p15:clr>
        </p15:guide>
        <p15:guide id="2" pos="360" userDrawn="1">
          <p15:clr>
            <a:srgbClr val="F26B43"/>
          </p15:clr>
        </p15:guide>
        <p15:guide id="3" pos="7144" userDrawn="1">
          <p15:clr>
            <a:srgbClr val="F26B43"/>
          </p15:clr>
        </p15:guide>
        <p15:guide id="4" orient="horz" pos="4224" userDrawn="1">
          <p15:clr>
            <a:srgbClr val="F26B43"/>
          </p15:clr>
        </p15:guide>
        <p15:guide id="6" orient="horz" pos="888" userDrawn="1">
          <p15:clr>
            <a:srgbClr val="F26B43"/>
          </p15:clr>
        </p15:guide>
        <p15:guide id="7" orient="horz" pos="4080" userDrawn="1">
          <p15:clr>
            <a:srgbClr val="F26B43"/>
          </p15:clr>
        </p15:guide>
        <p15:guide id="8" pos="7114"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slideLayout" Target="../slideLayouts/slideLayout16.xml"/><Relationship Id="rId4" Type="http://schemas.openxmlformats.org/officeDocument/2006/relationships/tags" Target="../tags/tag4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7" Type="http://schemas.openxmlformats.org/officeDocument/2006/relationships/chart" Target="../charts/chart7.xml"/><Relationship Id="rId2" Type="http://schemas.openxmlformats.org/officeDocument/2006/relationships/chart" Target="../charts/chart2.xml"/><Relationship Id="rId1" Type="http://schemas.openxmlformats.org/officeDocument/2006/relationships/slideLayout" Target="../slideLayouts/slideLayout16.xml"/><Relationship Id="rId6" Type="http://schemas.openxmlformats.org/officeDocument/2006/relationships/chart" Target="../charts/chart6.xml"/><Relationship Id="rId5" Type="http://schemas.openxmlformats.org/officeDocument/2006/relationships/chart" Target="../charts/chart5.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16.xml"/><Relationship Id="rId5" Type="http://schemas.openxmlformats.org/officeDocument/2006/relationships/chart" Target="../charts/chart11.xml"/><Relationship Id="rId4" Type="http://schemas.openxmlformats.org/officeDocument/2006/relationships/chart" Target="../charts/chart10.xml"/></Relationships>
</file>

<file path=ppt/slides/_rels/slide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name="Slide1">
    <p:bg>
      <p:bgPr>
        <a:pattFill prst="pct10">
          <a:fgClr>
            <a:schemeClr val="accent1"/>
          </a:fgClr>
          <a:bgClr>
            <a:schemeClr val="bg1"/>
          </a:bgClr>
        </a:pattFill>
        <a:effectLst/>
      </p:bgPr>
    </p:bg>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97C1AF07-C771-4B22-A2B8-098186694973}"/>
              </a:ext>
            </a:extLst>
          </p:cNvPr>
          <p:cNvSpPr/>
          <p:nvPr/>
        </p:nvSpPr>
        <p:spPr>
          <a:xfrm>
            <a:off x="8486828" y="1952812"/>
            <a:ext cx="2172037" cy="80772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Text Placeholder 7">
            <a:extLst>
              <a:ext uri="{FF2B5EF4-FFF2-40B4-BE49-F238E27FC236}">
                <a16:creationId xmlns:a16="http://schemas.microsoft.com/office/drawing/2014/main" id="{26325FC0-9729-4025-88E4-DED5DFA4632B}"/>
              </a:ext>
            </a:extLst>
          </p:cNvPr>
          <p:cNvSpPr>
            <a:spLocks noGrp="1"/>
          </p:cNvSpPr>
          <p:nvPr>
            <p:ph type="body" sz="quarter" idx="11"/>
          </p:nvPr>
        </p:nvSpPr>
        <p:spPr>
          <a:xfrm>
            <a:off x="563880" y="1878041"/>
            <a:ext cx="11064240" cy="957262"/>
          </a:xfrm>
        </p:spPr>
        <p:txBody>
          <a:bodyPr/>
          <a:lstStyle/>
          <a:p>
            <a:r>
              <a:rPr lang="en-US" dirty="0"/>
              <a:t>Global IPO Market in 2024: Adapting to Geopolitical Shifts and Policy Evolutions</a:t>
            </a:r>
            <a:endParaRPr lang="en-IN" dirty="0"/>
          </a:p>
        </p:txBody>
      </p:sp>
    </p:spTree>
    <p:extLst>
      <p:ext uri="{BB962C8B-B14F-4D97-AF65-F5344CB8AC3E}">
        <p14:creationId xmlns:p14="http://schemas.microsoft.com/office/powerpoint/2010/main" val="1344141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name="Slide10">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147817E-AB33-489B-9DF3-A9955C51574D}"/>
              </a:ext>
            </a:extLst>
          </p:cNvPr>
          <p:cNvSpPr>
            <a:spLocks noGrp="1"/>
          </p:cNvSpPr>
          <p:nvPr>
            <p:ph type="title"/>
          </p:nvPr>
        </p:nvSpPr>
        <p:spPr/>
        <p:txBody>
          <a:bodyPr/>
          <a:lstStyle/>
          <a:p>
            <a:r>
              <a:rPr lang="en-US" dirty="0"/>
              <a:t>Global IPO Outlook for 2025</a:t>
            </a:r>
          </a:p>
        </p:txBody>
      </p:sp>
      <p:sp>
        <p:nvSpPr>
          <p:cNvPr id="21" name="Content Placeholder 23">
            <a:extLst>
              <a:ext uri="{FF2B5EF4-FFF2-40B4-BE49-F238E27FC236}">
                <a16:creationId xmlns:a16="http://schemas.microsoft.com/office/drawing/2014/main" id="{740827FB-898E-4A6A-AAA4-8C971C704F17}"/>
              </a:ext>
            </a:extLst>
          </p:cNvPr>
          <p:cNvSpPr txBox="1">
            <a:spLocks/>
          </p:cNvSpPr>
          <p:nvPr/>
        </p:nvSpPr>
        <p:spPr>
          <a:xfrm>
            <a:off x="684744" y="931289"/>
            <a:ext cx="2498416" cy="5545713"/>
          </a:xfrm>
          <a:prstGeom prst="round2SameRect">
            <a:avLst>
              <a:gd name="adj1" fmla="val 6654"/>
              <a:gd name="adj2" fmla="val 0"/>
            </a:avLst>
          </a:prstGeom>
          <a:solidFill>
            <a:srgbClr val="FAF7FB"/>
          </a:solidFill>
          <a:ln w="9525">
            <a:solidFill>
              <a:schemeClr val="bg2"/>
            </a:solidFill>
            <a:miter lim="800000"/>
            <a:headEnd/>
            <a:tailEnd/>
          </a:ln>
        </p:spPr>
        <p:txBody>
          <a:bodyPr vert="horz" lIns="18288" tIns="914400" rIns="18288" bIns="45701" rtlCol="0">
            <a:noAutofit/>
          </a:bodyPr>
          <a:lst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5425" indent="-228600"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2pPr>
            <a:lvl3pPr marL="457200" indent="-228600"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a:lstStyle>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lang="en-US" sz="1200" dirty="0">
                <a:solidFill>
                  <a:srgbClr val="414042"/>
                </a:solidFill>
                <a:latin typeface="Segoe UI"/>
              </a:rPr>
              <a:t>More than half of the 2025 IPOs are expected to come from TMT, Industrials, and Health and Life Sciences sectors</a:t>
            </a:r>
          </a:p>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lang="en-US" sz="1200" dirty="0">
                <a:solidFill>
                  <a:srgbClr val="414042"/>
                </a:solidFill>
                <a:latin typeface="Segoe UI"/>
              </a:rPr>
              <a:t>Across regions, TMT is expected to lead the charge in 2025 IPOs across the globe, followed by Industrials, and Health and Life Sciences sectors in terms of IPO volume</a:t>
            </a:r>
          </a:p>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lang="en-US" sz="1200" dirty="0">
                <a:solidFill>
                  <a:srgbClr val="414042"/>
                </a:solidFill>
                <a:latin typeface="Segoe UI"/>
              </a:rPr>
              <a:t>In Americas, while the TMT sector remains the frontrunner, the Health and Life Sciences and the Financials sector are predicted to outpace other sectors in IPO activity</a:t>
            </a:r>
          </a:p>
        </p:txBody>
      </p:sp>
      <p:sp>
        <p:nvSpPr>
          <p:cNvPr id="22" name="Rectangle 21">
            <a:extLst>
              <a:ext uri="{FF2B5EF4-FFF2-40B4-BE49-F238E27FC236}">
                <a16:creationId xmlns:a16="http://schemas.microsoft.com/office/drawing/2014/main" id="{9A4785C1-A08F-4168-8B53-3037ED033F9D}"/>
              </a:ext>
            </a:extLst>
          </p:cNvPr>
          <p:cNvSpPr/>
          <p:nvPr/>
        </p:nvSpPr>
        <p:spPr>
          <a:xfrm>
            <a:off x="1541038" y="6446160"/>
            <a:ext cx="776561" cy="308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3" name="Content Placeholder 24">
            <a:extLst>
              <a:ext uri="{FF2B5EF4-FFF2-40B4-BE49-F238E27FC236}">
                <a16:creationId xmlns:a16="http://schemas.microsoft.com/office/drawing/2014/main" id="{95D4A0F0-5D8C-4CEE-A5DA-2B042EB27C0C}"/>
              </a:ext>
            </a:extLst>
          </p:cNvPr>
          <p:cNvSpPr txBox="1">
            <a:spLocks/>
          </p:cNvSpPr>
          <p:nvPr/>
        </p:nvSpPr>
        <p:spPr>
          <a:xfrm>
            <a:off x="3381750" y="931289"/>
            <a:ext cx="2498416" cy="5545713"/>
          </a:xfrm>
          <a:prstGeom prst="round2SameRect">
            <a:avLst>
              <a:gd name="adj1" fmla="val 7210"/>
              <a:gd name="adj2" fmla="val 0"/>
            </a:avLst>
          </a:prstGeom>
          <a:solidFill>
            <a:srgbClr val="FAF7FB"/>
          </a:solidFill>
          <a:ln w="9525">
            <a:solidFill>
              <a:schemeClr val="bg2"/>
            </a:solidFill>
            <a:miter lim="800000"/>
            <a:headEnd/>
            <a:tailEnd/>
          </a:ln>
        </p:spPr>
        <p:txBody>
          <a:bodyPr vert="horz" lIns="18288" tIns="914400" rIns="18288" bIns="45701" rtlCol="0">
            <a:noAutofit/>
          </a:bodyPr>
          <a:lst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5425" indent="-228600"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2pPr>
            <a:lvl3pPr marL="457200" indent="-228600"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a:lstStyle>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14042"/>
                </a:solidFill>
                <a:effectLst/>
                <a:uLnTx/>
                <a:uFillTx/>
                <a:latin typeface="Segoe UI"/>
                <a:ea typeface="+mn-ea"/>
                <a:cs typeface="+mn-cs"/>
              </a:rPr>
              <a:t>Several high-profile IPOs are expected to dominate the market, particularly from technology and fintech sectors</a:t>
            </a:r>
          </a:p>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lang="en-US" sz="1200" dirty="0">
                <a:solidFill>
                  <a:srgbClr val="414042"/>
                </a:solidFill>
                <a:latin typeface="Segoe UI"/>
              </a:rPr>
              <a:t>Notable companies like Klarna, Revolut, and potentially OpenAI are among those anticipated to make significant public offerings</a:t>
            </a:r>
          </a:p>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lang="en-US" sz="1200" dirty="0">
                <a:solidFill>
                  <a:srgbClr val="414042"/>
                </a:solidFill>
                <a:latin typeface="Segoe UI"/>
              </a:rPr>
              <a:t>The technology sector, especially firms involved in AI, is expected to lead this trend, with projections indicating that AI-related IPOs could exceed $2.5Bn in total value</a:t>
            </a:r>
          </a:p>
        </p:txBody>
      </p:sp>
      <p:sp>
        <p:nvSpPr>
          <p:cNvPr id="24" name="Rectangle 23">
            <a:extLst>
              <a:ext uri="{FF2B5EF4-FFF2-40B4-BE49-F238E27FC236}">
                <a16:creationId xmlns:a16="http://schemas.microsoft.com/office/drawing/2014/main" id="{E1B6F40D-0980-4DDB-80E2-DCF8271DC288}"/>
              </a:ext>
            </a:extLst>
          </p:cNvPr>
          <p:cNvSpPr/>
          <p:nvPr/>
        </p:nvSpPr>
        <p:spPr>
          <a:xfrm>
            <a:off x="4238043" y="6446160"/>
            <a:ext cx="776561" cy="308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Content Placeholder 25">
            <a:extLst>
              <a:ext uri="{FF2B5EF4-FFF2-40B4-BE49-F238E27FC236}">
                <a16:creationId xmlns:a16="http://schemas.microsoft.com/office/drawing/2014/main" id="{368734BA-0B77-4022-ABD2-AB598328C35A}"/>
              </a:ext>
            </a:extLst>
          </p:cNvPr>
          <p:cNvSpPr txBox="1">
            <a:spLocks/>
          </p:cNvSpPr>
          <p:nvPr/>
        </p:nvSpPr>
        <p:spPr>
          <a:xfrm>
            <a:off x="6078755" y="931289"/>
            <a:ext cx="2498416" cy="5545713"/>
          </a:xfrm>
          <a:prstGeom prst="round2SameRect">
            <a:avLst>
              <a:gd name="adj1" fmla="val 8323"/>
              <a:gd name="adj2" fmla="val 0"/>
            </a:avLst>
          </a:prstGeom>
          <a:solidFill>
            <a:srgbClr val="FAF7FB"/>
          </a:solidFill>
          <a:ln w="9525">
            <a:solidFill>
              <a:schemeClr val="bg2"/>
            </a:solidFill>
            <a:miter lim="800000"/>
            <a:headEnd/>
            <a:tailEnd/>
          </a:ln>
        </p:spPr>
        <p:txBody>
          <a:bodyPr vert="horz" lIns="18288" tIns="914400" rIns="18288" bIns="45701" rtlCol="0">
            <a:normAutofit/>
          </a:bodyPr>
          <a:lst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5425" indent="-228600"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2pPr>
            <a:lvl3pPr marL="457200" indent="-228600"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a:lstStyle>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414042"/>
                </a:solidFill>
                <a:effectLst/>
                <a:uLnTx/>
                <a:uFillTx/>
                <a:latin typeface="Segoe UI"/>
                <a:ea typeface="+mn-ea"/>
                <a:cs typeface="+mn-cs"/>
              </a:rPr>
              <a:t>India is set to be a key player in the global IPO landscape, likely surpassing its record of $19.9Bn raised in 2024</a:t>
            </a:r>
          </a:p>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lang="en-US" sz="1200" dirty="0">
                <a:solidFill>
                  <a:srgbClr val="414042"/>
                </a:solidFill>
                <a:latin typeface="Segoe UI"/>
              </a:rPr>
              <a:t>Projections indicate that Indian companies could raise around $24 billion through initial public offerings in 2025, driven by significant retail participation and government initiatives aimed at infrastructure development</a:t>
            </a:r>
          </a:p>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lang="en-US" sz="1200" dirty="0">
                <a:solidFill>
                  <a:srgbClr val="414042"/>
                </a:solidFill>
                <a:latin typeface="Segoe UI"/>
              </a:rPr>
              <a:t>India's financial ecosystem is evolving, making it an attractive hub for global investors, especially as it continues to lead the IPO activity</a:t>
            </a:r>
          </a:p>
        </p:txBody>
      </p:sp>
      <p:sp>
        <p:nvSpPr>
          <p:cNvPr id="26" name="Rectangle 25">
            <a:extLst>
              <a:ext uri="{FF2B5EF4-FFF2-40B4-BE49-F238E27FC236}">
                <a16:creationId xmlns:a16="http://schemas.microsoft.com/office/drawing/2014/main" id="{5AF70E8D-D2F5-432A-B2F5-DAFA0076E788}"/>
              </a:ext>
            </a:extLst>
          </p:cNvPr>
          <p:cNvSpPr/>
          <p:nvPr/>
        </p:nvSpPr>
        <p:spPr>
          <a:xfrm>
            <a:off x="6935049" y="6446160"/>
            <a:ext cx="776561" cy="308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Content Placeholder 26">
            <a:extLst>
              <a:ext uri="{FF2B5EF4-FFF2-40B4-BE49-F238E27FC236}">
                <a16:creationId xmlns:a16="http://schemas.microsoft.com/office/drawing/2014/main" id="{A3E299A9-0412-4065-96B7-B0DA1FD16335}"/>
              </a:ext>
            </a:extLst>
          </p:cNvPr>
          <p:cNvSpPr txBox="1">
            <a:spLocks/>
          </p:cNvSpPr>
          <p:nvPr/>
        </p:nvSpPr>
        <p:spPr>
          <a:xfrm>
            <a:off x="8791119" y="931286"/>
            <a:ext cx="2498416" cy="5545713"/>
          </a:xfrm>
          <a:prstGeom prst="round2SameRect">
            <a:avLst>
              <a:gd name="adj1" fmla="val 6654"/>
              <a:gd name="adj2" fmla="val 0"/>
            </a:avLst>
          </a:prstGeom>
          <a:solidFill>
            <a:srgbClr val="FAF7FB"/>
          </a:solidFill>
          <a:ln w="9525">
            <a:solidFill>
              <a:schemeClr val="bg2"/>
            </a:solidFill>
            <a:miter lim="800000"/>
            <a:headEnd/>
            <a:tailEnd/>
          </a:ln>
        </p:spPr>
        <p:txBody>
          <a:bodyPr vert="horz" lIns="18288" tIns="914400" rIns="18288" bIns="45701" rtlCol="0">
            <a:noAutofit/>
          </a:bodyPr>
          <a:lstStyle>
            <a:lvl1pPr algn="l" rtl="0" eaLnBrk="1" fontAlgn="base" hangingPunct="1">
              <a:spcBef>
                <a:spcPts val="600"/>
              </a:spcBef>
              <a:spcAft>
                <a:spcPts val="300"/>
              </a:spcAft>
              <a:buClr>
                <a:schemeClr val="tx1"/>
              </a:buClr>
              <a:defRPr sz="1400">
                <a:solidFill>
                  <a:schemeClr val="tx1">
                    <a:lumMod val="65000"/>
                    <a:lumOff val="35000"/>
                  </a:schemeClr>
                </a:solidFill>
                <a:latin typeface="+mn-lt"/>
                <a:ea typeface="+mn-ea"/>
                <a:cs typeface="+mn-cs"/>
              </a:defRPr>
            </a:lvl1pPr>
            <a:lvl2pPr marL="225425" indent="-228600"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2pPr>
            <a:lvl3pPr marL="457200" indent="-228600"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3pPr>
            <a:lvl4pPr marL="688975" indent="-227013"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4pPr>
            <a:lvl5pPr marL="914400" indent="-225425" algn="l" rtl="0" eaLnBrk="1" fontAlgn="base" hangingPunct="1">
              <a:spcBef>
                <a:spcPts val="600"/>
              </a:spcBef>
              <a:spcAft>
                <a:spcPts val="300"/>
              </a:spcAft>
              <a:buClr>
                <a:schemeClr val="accent2"/>
              </a:buClr>
              <a:buSzPct val="100000"/>
              <a:buFont typeface="Arial" panose="020B0604020202020204" pitchFamily="34" charset="0"/>
              <a:buChar char="–"/>
              <a:defRPr sz="1400" baseline="0">
                <a:solidFill>
                  <a:schemeClr val="tx1">
                    <a:lumMod val="65000"/>
                    <a:lumOff val="35000"/>
                  </a:schemeClr>
                </a:solidFill>
                <a:latin typeface="+mn-lt"/>
              </a:defRPr>
            </a:lvl5pPr>
            <a:lvl6pPr marL="1139825" indent="-225425" algn="l" rtl="0" eaLnBrk="1" fontAlgn="base" hangingPunct="1">
              <a:spcBef>
                <a:spcPts val="600"/>
              </a:spcBef>
              <a:spcAft>
                <a:spcPts val="300"/>
              </a:spcAft>
              <a:buClr>
                <a:schemeClr val="accent2"/>
              </a:buClr>
              <a:buSzPct val="100000"/>
              <a:buFont typeface="Arial" panose="020B0604020202020204" pitchFamily="34" charset="0"/>
              <a:buChar char="•"/>
              <a:defRPr sz="1400">
                <a:solidFill>
                  <a:schemeClr val="tx1">
                    <a:lumMod val="65000"/>
                    <a:lumOff val="35000"/>
                  </a:schemeClr>
                </a:solidFill>
                <a:latin typeface="+mn-lt"/>
              </a:defRPr>
            </a:lvl6pPr>
            <a:lvl7pPr marL="1693777" indent="-168293" algn="l" rtl="0" eaLnBrk="1" fontAlgn="base" hangingPunct="1">
              <a:spcBef>
                <a:spcPct val="50000"/>
              </a:spcBef>
              <a:spcAft>
                <a:spcPct val="0"/>
              </a:spcAft>
              <a:buChar char="»"/>
              <a:defRPr sz="1400">
                <a:solidFill>
                  <a:schemeClr val="tx1"/>
                </a:solidFill>
                <a:latin typeface="+mn-lt"/>
              </a:defRPr>
            </a:lvl7pPr>
            <a:lvl8pPr marL="2214940" indent="-168293" algn="l" rtl="0" eaLnBrk="1" fontAlgn="base" hangingPunct="1">
              <a:spcBef>
                <a:spcPct val="50000"/>
              </a:spcBef>
              <a:spcAft>
                <a:spcPct val="0"/>
              </a:spcAft>
              <a:buChar char="»"/>
              <a:defRPr sz="1400">
                <a:solidFill>
                  <a:schemeClr val="tx1"/>
                </a:solidFill>
                <a:latin typeface="+mn-lt"/>
              </a:defRPr>
            </a:lvl8pPr>
            <a:lvl9pPr marL="2736102" indent="-168293" algn="l" rtl="0" eaLnBrk="1" fontAlgn="base" hangingPunct="1">
              <a:spcBef>
                <a:spcPct val="50000"/>
              </a:spcBef>
              <a:spcAft>
                <a:spcPct val="0"/>
              </a:spcAft>
              <a:buChar char="»"/>
              <a:defRPr sz="1400">
                <a:solidFill>
                  <a:schemeClr val="tx1"/>
                </a:solidFill>
                <a:latin typeface="+mn-lt"/>
              </a:defRPr>
            </a:lvl9pPr>
          </a:lstStyle>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Segoe UI"/>
                <a:ea typeface="+mn-ea"/>
                <a:cs typeface="+mn-cs"/>
              </a:rPr>
              <a:t>Factors such as potential interest rate cuts by the Federal Reserve and overall economic stability are expected to enhance investor confidence</a:t>
            </a:r>
          </a:p>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lang="en-US" sz="1200" dirty="0">
                <a:solidFill>
                  <a:schemeClr val="tx1"/>
                </a:solidFill>
                <a:latin typeface="Segoe UI"/>
              </a:rPr>
              <a:t>The resurgence of private equity and venture capital backing will also influence the market dynamics, as these firms accounted for nearly 46% of total global IPO proceeds in 2024</a:t>
            </a:r>
          </a:p>
          <a:p>
            <a:pPr marL="182880" marR="0" lvl="0" indent="-182880" algn="l" defTabSz="914400" rtl="0" eaLnBrk="1" fontAlgn="auto" latinLnBrk="0" hangingPunct="1">
              <a:lnSpc>
                <a:spcPct val="120000"/>
              </a:lnSpc>
              <a:spcAft>
                <a:spcPts val="0"/>
              </a:spcAft>
              <a:buClr>
                <a:schemeClr val="bg2"/>
              </a:buClr>
              <a:buSzTx/>
              <a:buFont typeface="Arial" panose="020B0604020202020204" pitchFamily="34" charset="0"/>
              <a:buChar char="•"/>
              <a:tabLst/>
              <a:defRPr/>
            </a:pPr>
            <a:r>
              <a:rPr lang="en-US" sz="1200" dirty="0">
                <a:solidFill>
                  <a:schemeClr val="tx1"/>
                </a:solidFill>
                <a:latin typeface="Segoe UI"/>
              </a:rPr>
              <a:t>A stable economic environment will encourage more companies to enter the public markets as they seek to leverage favorable conditions</a:t>
            </a:r>
          </a:p>
        </p:txBody>
      </p:sp>
      <p:sp>
        <p:nvSpPr>
          <p:cNvPr id="28" name="AutoShape 10">
            <a:extLst>
              <a:ext uri="{FF2B5EF4-FFF2-40B4-BE49-F238E27FC236}">
                <a16:creationId xmlns:a16="http://schemas.microsoft.com/office/drawing/2014/main" id="{D48E49B2-1196-4E1F-8127-7DF9B07FB35E}"/>
              </a:ext>
            </a:extLst>
          </p:cNvPr>
          <p:cNvSpPr>
            <a:spLocks noChangeArrowheads="1"/>
          </p:cNvSpPr>
          <p:nvPr>
            <p:custDataLst>
              <p:tags r:id="rId1"/>
            </p:custDataLst>
          </p:nvPr>
        </p:nvSpPr>
        <p:spPr bwMode="gray">
          <a:xfrm>
            <a:off x="617822" y="1094424"/>
            <a:ext cx="2632260" cy="656966"/>
          </a:xfrm>
          <a:prstGeom prst="round2SameRect">
            <a:avLst/>
          </a:prstGeom>
          <a:gradFill flip="none" rotWithShape="1">
            <a:gsLst>
              <a:gs pos="78000">
                <a:srgbClr val="4E285A"/>
              </a:gs>
              <a:gs pos="0">
                <a:srgbClr val="653375"/>
              </a:gs>
              <a:gs pos="100000">
                <a:srgbClr val="653375"/>
              </a:gs>
              <a:gs pos="23000">
                <a:schemeClr val="bg2">
                  <a:lumMod val="75000"/>
                </a:schemeClr>
              </a:gs>
            </a:gsLst>
            <a:lin ang="10800000" scaled="1"/>
            <a:tileRect/>
          </a:gra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91440" bIns="91440" rtlCol="0" anchor="ctr"/>
          <a:lstStyle/>
          <a:p>
            <a:pPr algn="ctr">
              <a:lnSpc>
                <a:spcPct val="120000"/>
              </a:lnSpc>
            </a:pPr>
            <a:r>
              <a:rPr lang="en-US" sz="1400" b="1" dirty="0">
                <a:solidFill>
                  <a:schemeClr val="bg1"/>
                </a:solidFill>
                <a:latin typeface="+mj-lt"/>
              </a:rPr>
              <a:t>Sector Focused IPO Market Outlook</a:t>
            </a:r>
          </a:p>
        </p:txBody>
      </p:sp>
      <p:grpSp>
        <p:nvGrpSpPr>
          <p:cNvPr id="30" name="Group 29">
            <a:extLst>
              <a:ext uri="{FF2B5EF4-FFF2-40B4-BE49-F238E27FC236}">
                <a16:creationId xmlns:a16="http://schemas.microsoft.com/office/drawing/2014/main" id="{08CCD9C0-AC28-4570-9C0E-6960CE1CE843}"/>
              </a:ext>
            </a:extLst>
          </p:cNvPr>
          <p:cNvGrpSpPr/>
          <p:nvPr/>
        </p:nvGrpSpPr>
        <p:grpSpPr>
          <a:xfrm>
            <a:off x="615936" y="1751390"/>
            <a:ext cx="2629512" cy="163592"/>
            <a:chOff x="615794" y="1986509"/>
            <a:chExt cx="2558884" cy="103548"/>
          </a:xfrm>
        </p:grpSpPr>
        <p:sp>
          <p:nvSpPr>
            <p:cNvPr id="31" name="Isosceles Triangle 30">
              <a:extLst>
                <a:ext uri="{FF2B5EF4-FFF2-40B4-BE49-F238E27FC236}">
                  <a16:creationId xmlns:a16="http://schemas.microsoft.com/office/drawing/2014/main" id="{9A6CAE34-5C6F-4BBD-972F-3E088336FC7E}"/>
                </a:ext>
              </a:extLst>
            </p:cNvPr>
            <p:cNvSpPr/>
            <p:nvPr/>
          </p:nvSpPr>
          <p:spPr>
            <a:xfrm flipV="1">
              <a:off x="615794" y="1986509"/>
              <a:ext cx="136595" cy="103548"/>
            </a:xfrm>
            <a:prstGeom prst="triangle">
              <a:avLst>
                <a:gd name="adj" fmla="val 100000"/>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Isosceles Triangle 31">
              <a:extLst>
                <a:ext uri="{FF2B5EF4-FFF2-40B4-BE49-F238E27FC236}">
                  <a16:creationId xmlns:a16="http://schemas.microsoft.com/office/drawing/2014/main" id="{081CAAE3-E0AB-4D9B-B9FC-9E672DBF59A8}"/>
                </a:ext>
              </a:extLst>
            </p:cNvPr>
            <p:cNvSpPr/>
            <p:nvPr/>
          </p:nvSpPr>
          <p:spPr>
            <a:xfrm flipH="1" flipV="1">
              <a:off x="3038083" y="1986509"/>
              <a:ext cx="136595" cy="103548"/>
            </a:xfrm>
            <a:prstGeom prst="triangle">
              <a:avLst>
                <a:gd name="adj" fmla="val 100000"/>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34" name="AutoShape 9">
            <a:extLst>
              <a:ext uri="{FF2B5EF4-FFF2-40B4-BE49-F238E27FC236}">
                <a16:creationId xmlns:a16="http://schemas.microsoft.com/office/drawing/2014/main" id="{08C7B6FC-6345-4781-AE91-5BE9BBE908EE}"/>
              </a:ext>
            </a:extLst>
          </p:cNvPr>
          <p:cNvSpPr>
            <a:spLocks noChangeArrowheads="1"/>
          </p:cNvSpPr>
          <p:nvPr>
            <p:custDataLst>
              <p:tags r:id="rId2"/>
            </p:custDataLst>
          </p:nvPr>
        </p:nvSpPr>
        <p:spPr bwMode="gray">
          <a:xfrm>
            <a:off x="3314828" y="1094424"/>
            <a:ext cx="2632260" cy="656966"/>
          </a:xfrm>
          <a:prstGeom prst="round2SameRect">
            <a:avLst/>
          </a:prstGeom>
          <a:gradFill flip="none" rotWithShape="1">
            <a:gsLst>
              <a:gs pos="78000">
                <a:srgbClr val="4E285A"/>
              </a:gs>
              <a:gs pos="0">
                <a:srgbClr val="653375"/>
              </a:gs>
              <a:gs pos="100000">
                <a:srgbClr val="653375"/>
              </a:gs>
              <a:gs pos="23000">
                <a:schemeClr val="bg2">
                  <a:lumMod val="75000"/>
                </a:schemeClr>
              </a:gs>
            </a:gsLst>
            <a:lin ang="10800000" scaled="1"/>
            <a:tileRect/>
          </a:gra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91440" bIns="91440" rtlCol="0" anchor="ctr"/>
          <a:lstStyle/>
          <a:p>
            <a:pPr algn="ctr">
              <a:lnSpc>
                <a:spcPct val="120000"/>
              </a:lnSpc>
            </a:pPr>
            <a:r>
              <a:rPr lang="en-US" sz="1400" b="1" dirty="0">
                <a:solidFill>
                  <a:schemeClr val="bg1"/>
                </a:solidFill>
                <a:latin typeface="+mj-lt"/>
              </a:rPr>
              <a:t>Dominance of High-Profile IPOs</a:t>
            </a:r>
          </a:p>
        </p:txBody>
      </p:sp>
      <p:grpSp>
        <p:nvGrpSpPr>
          <p:cNvPr id="35" name="Group 34">
            <a:extLst>
              <a:ext uri="{FF2B5EF4-FFF2-40B4-BE49-F238E27FC236}">
                <a16:creationId xmlns:a16="http://schemas.microsoft.com/office/drawing/2014/main" id="{D771BB1B-78D0-43D9-96E0-B637F9B7BC17}"/>
              </a:ext>
            </a:extLst>
          </p:cNvPr>
          <p:cNvGrpSpPr/>
          <p:nvPr/>
        </p:nvGrpSpPr>
        <p:grpSpPr>
          <a:xfrm>
            <a:off x="3312942" y="1751390"/>
            <a:ext cx="2629512" cy="163592"/>
            <a:chOff x="615794" y="1986509"/>
            <a:chExt cx="2558884" cy="103548"/>
          </a:xfrm>
        </p:grpSpPr>
        <p:sp>
          <p:nvSpPr>
            <p:cNvPr id="37" name="Isosceles Triangle 36">
              <a:extLst>
                <a:ext uri="{FF2B5EF4-FFF2-40B4-BE49-F238E27FC236}">
                  <a16:creationId xmlns:a16="http://schemas.microsoft.com/office/drawing/2014/main" id="{5FC075EE-815D-41EC-8C7D-94A2209F4B21}"/>
                </a:ext>
              </a:extLst>
            </p:cNvPr>
            <p:cNvSpPr/>
            <p:nvPr/>
          </p:nvSpPr>
          <p:spPr>
            <a:xfrm flipV="1">
              <a:off x="615794" y="1986509"/>
              <a:ext cx="136595" cy="103548"/>
            </a:xfrm>
            <a:prstGeom prst="triangle">
              <a:avLst>
                <a:gd name="adj" fmla="val 100000"/>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Isosceles Triangle 37">
              <a:extLst>
                <a:ext uri="{FF2B5EF4-FFF2-40B4-BE49-F238E27FC236}">
                  <a16:creationId xmlns:a16="http://schemas.microsoft.com/office/drawing/2014/main" id="{D40A1ABE-3DA2-4527-B28C-F29AD99A9754}"/>
                </a:ext>
              </a:extLst>
            </p:cNvPr>
            <p:cNvSpPr/>
            <p:nvPr/>
          </p:nvSpPr>
          <p:spPr>
            <a:xfrm flipH="1" flipV="1">
              <a:off x="3038083" y="1986509"/>
              <a:ext cx="136595" cy="103548"/>
            </a:xfrm>
            <a:prstGeom prst="triangle">
              <a:avLst>
                <a:gd name="adj" fmla="val 100000"/>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43" name="AutoShape 8">
            <a:extLst>
              <a:ext uri="{FF2B5EF4-FFF2-40B4-BE49-F238E27FC236}">
                <a16:creationId xmlns:a16="http://schemas.microsoft.com/office/drawing/2014/main" id="{EB245521-8C7F-459B-A762-673E9AEEE4CB}"/>
              </a:ext>
            </a:extLst>
          </p:cNvPr>
          <p:cNvSpPr>
            <a:spLocks noChangeArrowheads="1"/>
          </p:cNvSpPr>
          <p:nvPr>
            <p:custDataLst>
              <p:tags r:id="rId3"/>
            </p:custDataLst>
          </p:nvPr>
        </p:nvSpPr>
        <p:spPr bwMode="gray">
          <a:xfrm>
            <a:off x="6011834" y="1094424"/>
            <a:ext cx="2632260" cy="656966"/>
          </a:xfrm>
          <a:prstGeom prst="round2SameRect">
            <a:avLst/>
          </a:prstGeom>
          <a:gradFill flip="none" rotWithShape="1">
            <a:gsLst>
              <a:gs pos="78000">
                <a:srgbClr val="4E285A"/>
              </a:gs>
              <a:gs pos="0">
                <a:srgbClr val="653375"/>
              </a:gs>
              <a:gs pos="100000">
                <a:srgbClr val="653375"/>
              </a:gs>
              <a:gs pos="23000">
                <a:schemeClr val="bg2">
                  <a:lumMod val="75000"/>
                </a:schemeClr>
              </a:gs>
            </a:gsLst>
            <a:lin ang="10800000" scaled="1"/>
            <a:tileRect/>
          </a:gra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91440" bIns="91440" rtlCol="0" anchor="ctr"/>
          <a:lstStyle/>
          <a:p>
            <a:pPr algn="ctr">
              <a:lnSpc>
                <a:spcPct val="120000"/>
              </a:lnSpc>
            </a:pPr>
            <a:r>
              <a:rPr lang="en-US" sz="1400" b="1" dirty="0">
                <a:solidFill>
                  <a:schemeClr val="bg1"/>
                </a:solidFill>
                <a:latin typeface="+mj-lt"/>
              </a:rPr>
              <a:t>Regional Variations with India Leading</a:t>
            </a:r>
          </a:p>
        </p:txBody>
      </p:sp>
      <p:grpSp>
        <p:nvGrpSpPr>
          <p:cNvPr id="44" name="Group 43">
            <a:extLst>
              <a:ext uri="{FF2B5EF4-FFF2-40B4-BE49-F238E27FC236}">
                <a16:creationId xmlns:a16="http://schemas.microsoft.com/office/drawing/2014/main" id="{E32ABEDA-A4FD-4936-A42E-050A2A925E6B}"/>
              </a:ext>
            </a:extLst>
          </p:cNvPr>
          <p:cNvGrpSpPr/>
          <p:nvPr/>
        </p:nvGrpSpPr>
        <p:grpSpPr>
          <a:xfrm>
            <a:off x="6009947" y="1751390"/>
            <a:ext cx="2629512" cy="163592"/>
            <a:chOff x="615794" y="1986509"/>
            <a:chExt cx="2558884" cy="103548"/>
          </a:xfrm>
        </p:grpSpPr>
        <p:sp>
          <p:nvSpPr>
            <p:cNvPr id="45" name="Isosceles Triangle 44">
              <a:extLst>
                <a:ext uri="{FF2B5EF4-FFF2-40B4-BE49-F238E27FC236}">
                  <a16:creationId xmlns:a16="http://schemas.microsoft.com/office/drawing/2014/main" id="{3A05CD97-48B4-4F09-8CEE-4F864C9B2A5C}"/>
                </a:ext>
              </a:extLst>
            </p:cNvPr>
            <p:cNvSpPr/>
            <p:nvPr/>
          </p:nvSpPr>
          <p:spPr>
            <a:xfrm flipV="1">
              <a:off x="615794" y="1986509"/>
              <a:ext cx="136595" cy="103548"/>
            </a:xfrm>
            <a:prstGeom prst="triangle">
              <a:avLst>
                <a:gd name="adj" fmla="val 100000"/>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6" name="Isosceles Triangle 45">
              <a:extLst>
                <a:ext uri="{FF2B5EF4-FFF2-40B4-BE49-F238E27FC236}">
                  <a16:creationId xmlns:a16="http://schemas.microsoft.com/office/drawing/2014/main" id="{5779F48D-37F7-4599-A982-8A325BFFA374}"/>
                </a:ext>
              </a:extLst>
            </p:cNvPr>
            <p:cNvSpPr/>
            <p:nvPr/>
          </p:nvSpPr>
          <p:spPr>
            <a:xfrm flipH="1" flipV="1">
              <a:off x="3038083" y="1986509"/>
              <a:ext cx="136595" cy="103548"/>
            </a:xfrm>
            <a:prstGeom prst="triangle">
              <a:avLst>
                <a:gd name="adj" fmla="val 100000"/>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3" name="AutoShape 7">
            <a:extLst>
              <a:ext uri="{FF2B5EF4-FFF2-40B4-BE49-F238E27FC236}">
                <a16:creationId xmlns:a16="http://schemas.microsoft.com/office/drawing/2014/main" id="{55178F2B-8F45-4A12-A24D-B481B2AE5226}"/>
              </a:ext>
            </a:extLst>
          </p:cNvPr>
          <p:cNvSpPr>
            <a:spLocks noChangeArrowheads="1"/>
          </p:cNvSpPr>
          <p:nvPr>
            <p:custDataLst>
              <p:tags r:id="rId4"/>
            </p:custDataLst>
          </p:nvPr>
        </p:nvSpPr>
        <p:spPr bwMode="gray">
          <a:xfrm>
            <a:off x="8708840" y="1094424"/>
            <a:ext cx="2632260" cy="656966"/>
          </a:xfrm>
          <a:prstGeom prst="round2SameRect">
            <a:avLst/>
          </a:prstGeom>
          <a:gradFill flip="none" rotWithShape="1">
            <a:gsLst>
              <a:gs pos="78000">
                <a:srgbClr val="4E285A"/>
              </a:gs>
              <a:gs pos="0">
                <a:srgbClr val="653375"/>
              </a:gs>
              <a:gs pos="100000">
                <a:srgbClr val="653375"/>
              </a:gs>
              <a:gs pos="23000">
                <a:schemeClr val="bg2">
                  <a:lumMod val="75000"/>
                </a:schemeClr>
              </a:gs>
            </a:gsLst>
            <a:lin ang="10800000" scaled="1"/>
            <a:tileRect/>
          </a:gradFill>
          <a:ln w="3175">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Ins="91440" bIns="91440" rtlCol="0" anchor="ctr"/>
          <a:lstStyle/>
          <a:p>
            <a:pPr algn="ctr">
              <a:lnSpc>
                <a:spcPct val="120000"/>
              </a:lnSpc>
            </a:pPr>
            <a:r>
              <a:rPr lang="en-US" sz="1400" b="1" dirty="0">
                <a:solidFill>
                  <a:schemeClr val="bg1"/>
                </a:solidFill>
                <a:latin typeface="+mj-lt"/>
              </a:rPr>
              <a:t>Impact of Macroeconomic Factors</a:t>
            </a:r>
          </a:p>
        </p:txBody>
      </p:sp>
      <p:grpSp>
        <p:nvGrpSpPr>
          <p:cNvPr id="54" name="Group 53">
            <a:extLst>
              <a:ext uri="{FF2B5EF4-FFF2-40B4-BE49-F238E27FC236}">
                <a16:creationId xmlns:a16="http://schemas.microsoft.com/office/drawing/2014/main" id="{78AFFC0B-713C-4D85-A10B-5BB744B37F25}"/>
              </a:ext>
            </a:extLst>
          </p:cNvPr>
          <p:cNvGrpSpPr/>
          <p:nvPr/>
        </p:nvGrpSpPr>
        <p:grpSpPr>
          <a:xfrm>
            <a:off x="8706954" y="1751390"/>
            <a:ext cx="2629512" cy="163592"/>
            <a:chOff x="615794" y="1986509"/>
            <a:chExt cx="2558884" cy="103548"/>
          </a:xfrm>
        </p:grpSpPr>
        <p:sp>
          <p:nvSpPr>
            <p:cNvPr id="56" name="Isosceles Triangle 55">
              <a:extLst>
                <a:ext uri="{FF2B5EF4-FFF2-40B4-BE49-F238E27FC236}">
                  <a16:creationId xmlns:a16="http://schemas.microsoft.com/office/drawing/2014/main" id="{D3EEE6BF-EE61-4F73-B7E8-C5BDDEE3256C}"/>
                </a:ext>
              </a:extLst>
            </p:cNvPr>
            <p:cNvSpPr/>
            <p:nvPr/>
          </p:nvSpPr>
          <p:spPr>
            <a:xfrm flipV="1">
              <a:off x="615794" y="1986509"/>
              <a:ext cx="136595" cy="103548"/>
            </a:xfrm>
            <a:prstGeom prst="triangle">
              <a:avLst>
                <a:gd name="adj" fmla="val 100000"/>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7" name="Isosceles Triangle 56">
              <a:extLst>
                <a:ext uri="{FF2B5EF4-FFF2-40B4-BE49-F238E27FC236}">
                  <a16:creationId xmlns:a16="http://schemas.microsoft.com/office/drawing/2014/main" id="{CEA6BA9A-CB21-4050-8CCC-130759FB31FB}"/>
                </a:ext>
              </a:extLst>
            </p:cNvPr>
            <p:cNvSpPr/>
            <p:nvPr/>
          </p:nvSpPr>
          <p:spPr>
            <a:xfrm flipH="1" flipV="1">
              <a:off x="3038083" y="1986509"/>
              <a:ext cx="136595" cy="103548"/>
            </a:xfrm>
            <a:prstGeom prst="triangle">
              <a:avLst>
                <a:gd name="adj" fmla="val 100000"/>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59" name="Rectangle 58">
            <a:extLst>
              <a:ext uri="{FF2B5EF4-FFF2-40B4-BE49-F238E27FC236}">
                <a16:creationId xmlns:a16="http://schemas.microsoft.com/office/drawing/2014/main" id="{21095A46-DDB7-4A35-B2C6-F6E2F93A2F14}"/>
              </a:ext>
            </a:extLst>
          </p:cNvPr>
          <p:cNvSpPr/>
          <p:nvPr/>
        </p:nvSpPr>
        <p:spPr>
          <a:xfrm>
            <a:off x="9632055" y="6446160"/>
            <a:ext cx="776561" cy="3084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TextBox 32">
            <a:extLst>
              <a:ext uri="{FF2B5EF4-FFF2-40B4-BE49-F238E27FC236}">
                <a16:creationId xmlns:a16="http://schemas.microsoft.com/office/drawing/2014/main" id="{B3766C5A-A721-4CA7-BAC6-6C6918F21B10}"/>
              </a:ext>
            </a:extLst>
          </p:cNvPr>
          <p:cNvSpPr txBox="1"/>
          <p:nvPr/>
        </p:nvSpPr>
        <p:spPr>
          <a:xfrm>
            <a:off x="571500" y="6543674"/>
            <a:ext cx="8788400" cy="161925"/>
          </a:xfrm>
          <a:prstGeom prst="rect">
            <a:avLst/>
          </a:prstGeom>
          <a:noFill/>
        </p:spPr>
        <p:txBody>
          <a:bodyPr wrap="square" lIns="45720" rtlCol="0" anchor="ctr">
            <a:noAutofit/>
          </a:bodyPr>
          <a:lstStyle/>
          <a:p>
            <a:pPr algn="l">
              <a:lnSpc>
                <a:spcPct val="90000"/>
              </a:lnSpc>
              <a:spcBef>
                <a:spcPts val="800"/>
              </a:spcBef>
              <a:buClr>
                <a:srgbClr val="E0044E"/>
              </a:buClr>
            </a:pPr>
            <a:r>
              <a:rPr lang="en-US" sz="900" dirty="0">
                <a:latin typeface="Segoe UI" panose="020B0502040204020203" pitchFamily="34" charset="0"/>
                <a:cs typeface="Segoe UI" panose="020B0502040204020203" pitchFamily="34" charset="0"/>
              </a:rPr>
              <a:t>Source: Press</a:t>
            </a:r>
            <a:endParaRPr lang="en-IN" sz="900" dirty="0">
              <a:latin typeface="Segoe UI" panose="020B0502040204020203" pitchFamily="34" charset="0"/>
              <a:cs typeface="Segoe UI" panose="020B0502040204020203" pitchFamily="34" charset="0"/>
            </a:endParaRPr>
          </a:p>
        </p:txBody>
      </p:sp>
      <p:sp>
        <p:nvSpPr>
          <p:cNvPr id="36" name="Slide Number Placeholder 39">
            <a:extLst>
              <a:ext uri="{FF2B5EF4-FFF2-40B4-BE49-F238E27FC236}">
                <a16:creationId xmlns:a16="http://schemas.microsoft.com/office/drawing/2014/main" id="{9A6383AD-C7D3-4596-84F2-3AFEDA8FE311}"/>
              </a:ext>
            </a:extLst>
          </p:cNvPr>
          <p:cNvSpPr>
            <a:spLocks noGrp="1"/>
          </p:cNvSpPr>
          <p:nvPr>
            <p:ph type="sldNum" sz="quarter" idx="17"/>
          </p:nvPr>
        </p:nvSpPr>
        <p:spPr>
          <a:xfrm>
            <a:off x="11494008" y="6476999"/>
            <a:ext cx="382601" cy="228600"/>
          </a:xfrm>
        </p:spPr>
        <p:txBody>
          <a:bodyPr/>
          <a:lstStyle/>
          <a:p>
            <a:fld id="{2604F1CA-F590-4AD7-82C4-33C5478F726E}" type="slidenum">
              <a:rPr lang="en-GB" smtClean="0"/>
              <a:pPr/>
              <a:t>10</a:t>
            </a:fld>
            <a:endParaRPr lang="en-GB" dirty="0"/>
          </a:p>
        </p:txBody>
      </p:sp>
    </p:spTree>
    <p:extLst>
      <p:ext uri="{BB962C8B-B14F-4D97-AF65-F5344CB8AC3E}">
        <p14:creationId xmlns:p14="http://schemas.microsoft.com/office/powerpoint/2010/main" val="3308285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name="Slide11">
    <p:spTree>
      <p:nvGrpSpPr>
        <p:cNvPr id="1" name=""/>
        <p:cNvGrpSpPr/>
        <p:nvPr/>
      </p:nvGrpSpPr>
      <p:grpSpPr>
        <a:xfrm>
          <a:off x="0" y="0"/>
          <a:ext cx="0" cy="0"/>
          <a:chOff x="0" y="0"/>
          <a:chExt cx="0" cy="0"/>
        </a:xfrm>
      </p:grpSpPr>
      <p:sp>
        <p:nvSpPr>
          <p:cNvPr id="40" name="Slide Number Placeholder 39">
            <a:extLst>
              <a:ext uri="{FF2B5EF4-FFF2-40B4-BE49-F238E27FC236}">
                <a16:creationId xmlns:a16="http://schemas.microsoft.com/office/drawing/2014/main" id="{C7532BC8-4745-4BB2-8C81-6C639A6284C4}"/>
              </a:ext>
            </a:extLst>
          </p:cNvPr>
          <p:cNvSpPr>
            <a:spLocks noGrp="1"/>
          </p:cNvSpPr>
          <p:nvPr>
            <p:ph type="sldNum" sz="quarter" idx="17"/>
          </p:nvPr>
        </p:nvSpPr>
        <p:spPr/>
        <p:txBody>
          <a:bodyPr/>
          <a:lstStyle/>
          <a:p>
            <a:fld id="{2604F1CA-F590-4AD7-82C4-33C5478F726E}" type="slidenum">
              <a:rPr lang="en-GB" smtClean="0"/>
              <a:pPr/>
              <a:t>11</a:t>
            </a:fld>
            <a:endParaRPr lang="en-GB" dirty="0"/>
          </a:p>
        </p:txBody>
      </p:sp>
      <p:sp>
        <p:nvSpPr>
          <p:cNvPr id="39" name="Footer Placeholder 38">
            <a:extLst>
              <a:ext uri="{FF2B5EF4-FFF2-40B4-BE49-F238E27FC236}">
                <a16:creationId xmlns:a16="http://schemas.microsoft.com/office/drawing/2014/main" id="{2340D0F0-02B7-4A8C-A591-47A07114401B}"/>
              </a:ext>
            </a:extLst>
          </p:cNvPr>
          <p:cNvSpPr>
            <a:spLocks noGrp="1"/>
          </p:cNvSpPr>
          <p:nvPr>
            <p:ph type="ftr" sz="quarter" idx="3"/>
          </p:nvPr>
        </p:nvSpPr>
        <p:spPr/>
        <p:txBody>
          <a:bodyPr/>
          <a:lstStyle/>
          <a:p>
            <a:r>
              <a:rPr lang="en-US" dirty="0"/>
              <a:t>Presentation Title</a:t>
            </a:r>
            <a:endParaRPr lang="en-GB" dirty="0"/>
          </a:p>
        </p:txBody>
      </p:sp>
      <p:sp>
        <p:nvSpPr>
          <p:cNvPr id="7" name="Title 6">
            <a:extLst>
              <a:ext uri="{FF2B5EF4-FFF2-40B4-BE49-F238E27FC236}">
                <a16:creationId xmlns:a16="http://schemas.microsoft.com/office/drawing/2014/main" id="{3147817E-AB33-489B-9DF3-A9955C51574D}"/>
              </a:ext>
            </a:extLst>
          </p:cNvPr>
          <p:cNvSpPr>
            <a:spLocks noGrp="1"/>
          </p:cNvSpPr>
          <p:nvPr>
            <p:ph type="title"/>
          </p:nvPr>
        </p:nvSpPr>
        <p:spPr/>
        <p:txBody>
          <a:bodyPr/>
          <a:lstStyle/>
          <a:p>
            <a:r>
              <a:rPr lang="en-US" dirty="0"/>
              <a:t>Expert Views</a:t>
            </a:r>
          </a:p>
        </p:txBody>
      </p:sp>
      <p:sp>
        <p:nvSpPr>
          <p:cNvPr id="11" name="Freeform 3">
            <a:extLst>
              <a:ext uri="{FF2B5EF4-FFF2-40B4-BE49-F238E27FC236}">
                <a16:creationId xmlns:a16="http://schemas.microsoft.com/office/drawing/2014/main" id="{05FE8630-C474-4D8E-AE2F-F0B9C3705BCB}"/>
              </a:ext>
            </a:extLst>
          </p:cNvPr>
          <p:cNvSpPr/>
          <p:nvPr/>
        </p:nvSpPr>
        <p:spPr>
          <a:xfrm flipH="1">
            <a:off x="587376" y="931786"/>
            <a:ext cx="5252888" cy="2478164"/>
          </a:xfrm>
          <a:custGeom>
            <a:avLst/>
            <a:gdLst>
              <a:gd name="connsiteX0" fmla="*/ 0 w 4959705"/>
              <a:gd name="connsiteY0" fmla="*/ 0 h 3884371"/>
              <a:gd name="connsiteX1" fmla="*/ 4959705 w 4959705"/>
              <a:gd name="connsiteY1" fmla="*/ 0 h 3884371"/>
              <a:gd name="connsiteX2" fmla="*/ 4959705 w 4959705"/>
              <a:gd name="connsiteY2" fmla="*/ 3884371 h 3884371"/>
              <a:gd name="connsiteX3" fmla="*/ 7315 w 4959705"/>
              <a:gd name="connsiteY3" fmla="*/ 3884371 h 3884371"/>
              <a:gd name="connsiteX4" fmla="*/ 0 w 4959705"/>
              <a:gd name="connsiteY4" fmla="*/ 0 h 3884371"/>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7315 w 4959705"/>
              <a:gd name="connsiteY4" fmla="*/ 3884371 h 4022903"/>
              <a:gd name="connsiteX5" fmla="*/ 0 w 4959705"/>
              <a:gd name="connsiteY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7315 w 4959705"/>
              <a:gd name="connsiteY5" fmla="*/ 3884371 h 4022903"/>
              <a:gd name="connsiteX6" fmla="*/ 0 w 4959705"/>
              <a:gd name="connsiteY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7315 w 4959705"/>
              <a:gd name="connsiteY6" fmla="*/ 3884371 h 4022903"/>
              <a:gd name="connsiteX7" fmla="*/ 0 w 4959705"/>
              <a:gd name="connsiteY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7315 w 4959705"/>
              <a:gd name="connsiteY7" fmla="*/ 3884371 h 4022903"/>
              <a:gd name="connsiteX8" fmla="*/ 0 w 4959705"/>
              <a:gd name="connsiteY8"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7315 w 4959705"/>
              <a:gd name="connsiteY8" fmla="*/ 3884371 h 4022903"/>
              <a:gd name="connsiteX9" fmla="*/ 0 w 4959705"/>
              <a:gd name="connsiteY9"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7315 w 4959705"/>
              <a:gd name="connsiteY9" fmla="*/ 3884371 h 4022903"/>
              <a:gd name="connsiteX10" fmla="*/ 0 w 4959705"/>
              <a:gd name="connsiteY10"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7315 w 4959705"/>
              <a:gd name="connsiteY10" fmla="*/ 3884371 h 4022903"/>
              <a:gd name="connsiteX11" fmla="*/ 0 w 4959705"/>
              <a:gd name="connsiteY11"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7315 w 4959705"/>
              <a:gd name="connsiteY11" fmla="*/ 3884371 h 4022903"/>
              <a:gd name="connsiteX12" fmla="*/ 0 w 4959705"/>
              <a:gd name="connsiteY12"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7315 w 4959705"/>
              <a:gd name="connsiteY12" fmla="*/ 3884371 h 4022903"/>
              <a:gd name="connsiteX13" fmla="*/ 0 w 4959705"/>
              <a:gd name="connsiteY13"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7315 w 4959705"/>
              <a:gd name="connsiteY13" fmla="*/ 3884371 h 4022903"/>
              <a:gd name="connsiteX14" fmla="*/ 0 w 4959705"/>
              <a:gd name="connsiteY14"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7315 w 4959705"/>
              <a:gd name="connsiteY14" fmla="*/ 3884371 h 4022903"/>
              <a:gd name="connsiteX15" fmla="*/ 0 w 4959705"/>
              <a:gd name="connsiteY1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7315 w 4959705"/>
              <a:gd name="connsiteY15" fmla="*/ 3884371 h 4022903"/>
              <a:gd name="connsiteX16" fmla="*/ 0 w 4959705"/>
              <a:gd name="connsiteY1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7315 w 4959705"/>
              <a:gd name="connsiteY16" fmla="*/ 3884371 h 4022903"/>
              <a:gd name="connsiteX17" fmla="*/ 0 w 4959705"/>
              <a:gd name="connsiteY1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7315 w 4959705"/>
              <a:gd name="connsiteY17" fmla="*/ 3884371 h 4022903"/>
              <a:gd name="connsiteX18" fmla="*/ 0 w 4959705"/>
              <a:gd name="connsiteY18"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7315 w 4959705"/>
              <a:gd name="connsiteY18" fmla="*/ 3884371 h 4022903"/>
              <a:gd name="connsiteX19" fmla="*/ 0 w 4959705"/>
              <a:gd name="connsiteY19"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7315 w 4959705"/>
              <a:gd name="connsiteY19" fmla="*/ 3884371 h 4022903"/>
              <a:gd name="connsiteX20" fmla="*/ 0 w 4959705"/>
              <a:gd name="connsiteY20"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7315 w 4959705"/>
              <a:gd name="connsiteY20" fmla="*/ 3884371 h 4022903"/>
              <a:gd name="connsiteX21" fmla="*/ 0 w 4959705"/>
              <a:gd name="connsiteY21"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7315 w 4959705"/>
              <a:gd name="connsiteY21" fmla="*/ 3884371 h 4022903"/>
              <a:gd name="connsiteX22" fmla="*/ 0 w 4959705"/>
              <a:gd name="connsiteY22"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7315 w 4959705"/>
              <a:gd name="connsiteY22" fmla="*/ 3884371 h 4022903"/>
              <a:gd name="connsiteX23" fmla="*/ 0 w 4959705"/>
              <a:gd name="connsiteY23"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315 w 4959705"/>
              <a:gd name="connsiteY23" fmla="*/ 3884371 h 4022903"/>
              <a:gd name="connsiteX24" fmla="*/ 0 w 4959705"/>
              <a:gd name="connsiteY24"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7315 w 4959705"/>
              <a:gd name="connsiteY24" fmla="*/ 3884371 h 4022903"/>
              <a:gd name="connsiteX25" fmla="*/ 0 w 4959705"/>
              <a:gd name="connsiteY2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7315 w 4959705"/>
              <a:gd name="connsiteY25" fmla="*/ 3884371 h 4022903"/>
              <a:gd name="connsiteX26" fmla="*/ 0 w 4959705"/>
              <a:gd name="connsiteY2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268173 w 4959705"/>
              <a:gd name="connsiteY25" fmla="*/ 3959403 h 4022903"/>
              <a:gd name="connsiteX26" fmla="*/ 7315 w 4959705"/>
              <a:gd name="connsiteY26" fmla="*/ 3884371 h 4022903"/>
              <a:gd name="connsiteX27" fmla="*/ 0 w 4959705"/>
              <a:gd name="connsiteY2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268173 w 4959705"/>
              <a:gd name="connsiteY25" fmla="*/ 3959403 h 4022903"/>
              <a:gd name="connsiteX26" fmla="*/ 7315 w 4959705"/>
              <a:gd name="connsiteY26" fmla="*/ 3884371 h 4022903"/>
              <a:gd name="connsiteX27" fmla="*/ 0 w 4959705"/>
              <a:gd name="connsiteY27" fmla="*/ 0 h 4022903"/>
              <a:gd name="connsiteX0" fmla="*/ 0 w 4959705"/>
              <a:gd name="connsiteY0" fmla="*/ 0 h 4022941"/>
              <a:gd name="connsiteX1" fmla="*/ 4959705 w 4959705"/>
              <a:gd name="connsiteY1" fmla="*/ 0 h 4022941"/>
              <a:gd name="connsiteX2" fmla="*/ 4959705 w 4959705"/>
              <a:gd name="connsiteY2" fmla="*/ 3884371 h 4022941"/>
              <a:gd name="connsiteX3" fmla="*/ 4757623 w 4959705"/>
              <a:gd name="connsiteY3" fmla="*/ 4022903 h 4022941"/>
              <a:gd name="connsiteX4" fmla="*/ 4560773 w 4959705"/>
              <a:gd name="connsiteY4" fmla="*/ 3927653 h 4022941"/>
              <a:gd name="connsiteX5" fmla="*/ 4363923 w 4959705"/>
              <a:gd name="connsiteY5" fmla="*/ 3991153 h 4022941"/>
              <a:gd name="connsiteX6" fmla="*/ 4128973 w 4959705"/>
              <a:gd name="connsiteY6" fmla="*/ 3889553 h 4022941"/>
              <a:gd name="connsiteX7" fmla="*/ 3925773 w 4959705"/>
              <a:gd name="connsiteY7" fmla="*/ 3921303 h 4022941"/>
              <a:gd name="connsiteX8" fmla="*/ 3747973 w 4959705"/>
              <a:gd name="connsiteY8" fmla="*/ 3870503 h 4022941"/>
              <a:gd name="connsiteX9" fmla="*/ 3582873 w 4959705"/>
              <a:gd name="connsiteY9" fmla="*/ 3927653 h 4022941"/>
              <a:gd name="connsiteX10" fmla="*/ 3322523 w 4959705"/>
              <a:gd name="connsiteY10" fmla="*/ 3838753 h 4022941"/>
              <a:gd name="connsiteX11" fmla="*/ 3163773 w 4959705"/>
              <a:gd name="connsiteY11" fmla="*/ 3914953 h 4022941"/>
              <a:gd name="connsiteX12" fmla="*/ 2973273 w 4959705"/>
              <a:gd name="connsiteY12" fmla="*/ 3876853 h 4022941"/>
              <a:gd name="connsiteX13" fmla="*/ 2865323 w 4959705"/>
              <a:gd name="connsiteY13" fmla="*/ 3921303 h 4022941"/>
              <a:gd name="connsiteX14" fmla="*/ 2630373 w 4959705"/>
              <a:gd name="connsiteY14" fmla="*/ 3838753 h 4022941"/>
              <a:gd name="connsiteX15" fmla="*/ 2458923 w 4959705"/>
              <a:gd name="connsiteY15" fmla="*/ 3927653 h 4022941"/>
              <a:gd name="connsiteX16" fmla="*/ 2262073 w 4959705"/>
              <a:gd name="connsiteY16" fmla="*/ 3864153 h 4022941"/>
              <a:gd name="connsiteX17" fmla="*/ 2065223 w 4959705"/>
              <a:gd name="connsiteY17" fmla="*/ 3934003 h 4022941"/>
              <a:gd name="connsiteX18" fmla="*/ 1811223 w 4959705"/>
              <a:gd name="connsiteY18" fmla="*/ 3845103 h 4022941"/>
              <a:gd name="connsiteX19" fmla="*/ 1627073 w 4959705"/>
              <a:gd name="connsiteY19" fmla="*/ 3914953 h 4022941"/>
              <a:gd name="connsiteX20" fmla="*/ 1347673 w 4959705"/>
              <a:gd name="connsiteY20" fmla="*/ 3857803 h 4022941"/>
              <a:gd name="connsiteX21" fmla="*/ 1169873 w 4959705"/>
              <a:gd name="connsiteY21" fmla="*/ 3953053 h 4022941"/>
              <a:gd name="connsiteX22" fmla="*/ 992073 w 4959705"/>
              <a:gd name="connsiteY22" fmla="*/ 3876853 h 4022941"/>
              <a:gd name="connsiteX23" fmla="*/ 788873 w 4959705"/>
              <a:gd name="connsiteY23" fmla="*/ 3959403 h 4022941"/>
              <a:gd name="connsiteX24" fmla="*/ 528523 w 4959705"/>
              <a:gd name="connsiteY24" fmla="*/ 3832403 h 4022941"/>
              <a:gd name="connsiteX25" fmla="*/ 268173 w 4959705"/>
              <a:gd name="connsiteY25" fmla="*/ 3959403 h 4022941"/>
              <a:gd name="connsiteX26" fmla="*/ 7315 w 4959705"/>
              <a:gd name="connsiteY26" fmla="*/ 3884371 h 4022941"/>
              <a:gd name="connsiteX27" fmla="*/ 0 w 4959705"/>
              <a:gd name="connsiteY27" fmla="*/ 0 h 4022941"/>
              <a:gd name="connsiteX0" fmla="*/ 0 w 4959705"/>
              <a:gd name="connsiteY0" fmla="*/ 0 h 4022941"/>
              <a:gd name="connsiteX1" fmla="*/ 4959705 w 4959705"/>
              <a:gd name="connsiteY1" fmla="*/ 0 h 4022941"/>
              <a:gd name="connsiteX2" fmla="*/ 4959705 w 4959705"/>
              <a:gd name="connsiteY2" fmla="*/ 3884371 h 4022941"/>
              <a:gd name="connsiteX3" fmla="*/ 4757623 w 4959705"/>
              <a:gd name="connsiteY3" fmla="*/ 4022903 h 4022941"/>
              <a:gd name="connsiteX4" fmla="*/ 4560773 w 4959705"/>
              <a:gd name="connsiteY4" fmla="*/ 3927653 h 4022941"/>
              <a:gd name="connsiteX5" fmla="*/ 4363923 w 4959705"/>
              <a:gd name="connsiteY5" fmla="*/ 3991153 h 4022941"/>
              <a:gd name="connsiteX6" fmla="*/ 4128973 w 4959705"/>
              <a:gd name="connsiteY6" fmla="*/ 3889553 h 4022941"/>
              <a:gd name="connsiteX7" fmla="*/ 3925773 w 4959705"/>
              <a:gd name="connsiteY7" fmla="*/ 3921303 h 4022941"/>
              <a:gd name="connsiteX8" fmla="*/ 3747973 w 4959705"/>
              <a:gd name="connsiteY8" fmla="*/ 3870503 h 4022941"/>
              <a:gd name="connsiteX9" fmla="*/ 3582873 w 4959705"/>
              <a:gd name="connsiteY9" fmla="*/ 3927653 h 4022941"/>
              <a:gd name="connsiteX10" fmla="*/ 3322523 w 4959705"/>
              <a:gd name="connsiteY10" fmla="*/ 3838753 h 4022941"/>
              <a:gd name="connsiteX11" fmla="*/ 3163773 w 4959705"/>
              <a:gd name="connsiteY11" fmla="*/ 3914953 h 4022941"/>
              <a:gd name="connsiteX12" fmla="*/ 2973273 w 4959705"/>
              <a:gd name="connsiteY12" fmla="*/ 3876853 h 4022941"/>
              <a:gd name="connsiteX13" fmla="*/ 2865323 w 4959705"/>
              <a:gd name="connsiteY13" fmla="*/ 3921303 h 4022941"/>
              <a:gd name="connsiteX14" fmla="*/ 2630373 w 4959705"/>
              <a:gd name="connsiteY14" fmla="*/ 3838753 h 4022941"/>
              <a:gd name="connsiteX15" fmla="*/ 2458923 w 4959705"/>
              <a:gd name="connsiteY15" fmla="*/ 3927653 h 4022941"/>
              <a:gd name="connsiteX16" fmla="*/ 2262073 w 4959705"/>
              <a:gd name="connsiteY16" fmla="*/ 3864153 h 4022941"/>
              <a:gd name="connsiteX17" fmla="*/ 2065223 w 4959705"/>
              <a:gd name="connsiteY17" fmla="*/ 3934003 h 4022941"/>
              <a:gd name="connsiteX18" fmla="*/ 1811223 w 4959705"/>
              <a:gd name="connsiteY18" fmla="*/ 3845103 h 4022941"/>
              <a:gd name="connsiteX19" fmla="*/ 1627073 w 4959705"/>
              <a:gd name="connsiteY19" fmla="*/ 3914953 h 4022941"/>
              <a:gd name="connsiteX20" fmla="*/ 1347673 w 4959705"/>
              <a:gd name="connsiteY20" fmla="*/ 3857803 h 4022941"/>
              <a:gd name="connsiteX21" fmla="*/ 1169873 w 4959705"/>
              <a:gd name="connsiteY21" fmla="*/ 3953053 h 4022941"/>
              <a:gd name="connsiteX22" fmla="*/ 992073 w 4959705"/>
              <a:gd name="connsiteY22" fmla="*/ 3876853 h 4022941"/>
              <a:gd name="connsiteX23" fmla="*/ 788873 w 4959705"/>
              <a:gd name="connsiteY23" fmla="*/ 3959403 h 4022941"/>
              <a:gd name="connsiteX24" fmla="*/ 528523 w 4959705"/>
              <a:gd name="connsiteY24" fmla="*/ 3832403 h 4022941"/>
              <a:gd name="connsiteX25" fmla="*/ 268173 w 4959705"/>
              <a:gd name="connsiteY25" fmla="*/ 3959403 h 4022941"/>
              <a:gd name="connsiteX26" fmla="*/ 7315 w 4959705"/>
              <a:gd name="connsiteY26" fmla="*/ 3884371 h 4022941"/>
              <a:gd name="connsiteX27" fmla="*/ 0 w 4959705"/>
              <a:gd name="connsiteY27" fmla="*/ 0 h 4022941"/>
              <a:gd name="connsiteX0" fmla="*/ 0 w 4959933"/>
              <a:gd name="connsiteY0" fmla="*/ 0 h 4022941"/>
              <a:gd name="connsiteX1" fmla="*/ 4959705 w 4959933"/>
              <a:gd name="connsiteY1" fmla="*/ 0 h 4022941"/>
              <a:gd name="connsiteX2" fmla="*/ 4959705 w 4959933"/>
              <a:gd name="connsiteY2" fmla="*/ 3884371 h 4022941"/>
              <a:gd name="connsiteX3" fmla="*/ 4757623 w 4959933"/>
              <a:gd name="connsiteY3" fmla="*/ 4022903 h 4022941"/>
              <a:gd name="connsiteX4" fmla="*/ 4560773 w 4959933"/>
              <a:gd name="connsiteY4" fmla="*/ 3927653 h 4022941"/>
              <a:gd name="connsiteX5" fmla="*/ 4363923 w 4959933"/>
              <a:gd name="connsiteY5" fmla="*/ 3991153 h 4022941"/>
              <a:gd name="connsiteX6" fmla="*/ 4128973 w 4959933"/>
              <a:gd name="connsiteY6" fmla="*/ 3889553 h 4022941"/>
              <a:gd name="connsiteX7" fmla="*/ 3925773 w 4959933"/>
              <a:gd name="connsiteY7" fmla="*/ 3921303 h 4022941"/>
              <a:gd name="connsiteX8" fmla="*/ 3747973 w 4959933"/>
              <a:gd name="connsiteY8" fmla="*/ 3870503 h 4022941"/>
              <a:gd name="connsiteX9" fmla="*/ 3582873 w 4959933"/>
              <a:gd name="connsiteY9" fmla="*/ 3927653 h 4022941"/>
              <a:gd name="connsiteX10" fmla="*/ 3322523 w 4959933"/>
              <a:gd name="connsiteY10" fmla="*/ 3838753 h 4022941"/>
              <a:gd name="connsiteX11" fmla="*/ 3163773 w 4959933"/>
              <a:gd name="connsiteY11" fmla="*/ 3914953 h 4022941"/>
              <a:gd name="connsiteX12" fmla="*/ 2973273 w 4959933"/>
              <a:gd name="connsiteY12" fmla="*/ 3876853 h 4022941"/>
              <a:gd name="connsiteX13" fmla="*/ 2865323 w 4959933"/>
              <a:gd name="connsiteY13" fmla="*/ 3921303 h 4022941"/>
              <a:gd name="connsiteX14" fmla="*/ 2630373 w 4959933"/>
              <a:gd name="connsiteY14" fmla="*/ 3838753 h 4022941"/>
              <a:gd name="connsiteX15" fmla="*/ 2458923 w 4959933"/>
              <a:gd name="connsiteY15" fmla="*/ 3927653 h 4022941"/>
              <a:gd name="connsiteX16" fmla="*/ 2262073 w 4959933"/>
              <a:gd name="connsiteY16" fmla="*/ 3864153 h 4022941"/>
              <a:gd name="connsiteX17" fmla="*/ 2065223 w 4959933"/>
              <a:gd name="connsiteY17" fmla="*/ 3934003 h 4022941"/>
              <a:gd name="connsiteX18" fmla="*/ 1811223 w 4959933"/>
              <a:gd name="connsiteY18" fmla="*/ 3845103 h 4022941"/>
              <a:gd name="connsiteX19" fmla="*/ 1627073 w 4959933"/>
              <a:gd name="connsiteY19" fmla="*/ 3914953 h 4022941"/>
              <a:gd name="connsiteX20" fmla="*/ 1347673 w 4959933"/>
              <a:gd name="connsiteY20" fmla="*/ 3857803 h 4022941"/>
              <a:gd name="connsiteX21" fmla="*/ 1169873 w 4959933"/>
              <a:gd name="connsiteY21" fmla="*/ 3953053 h 4022941"/>
              <a:gd name="connsiteX22" fmla="*/ 992073 w 4959933"/>
              <a:gd name="connsiteY22" fmla="*/ 3876853 h 4022941"/>
              <a:gd name="connsiteX23" fmla="*/ 788873 w 4959933"/>
              <a:gd name="connsiteY23" fmla="*/ 3959403 h 4022941"/>
              <a:gd name="connsiteX24" fmla="*/ 528523 w 4959933"/>
              <a:gd name="connsiteY24" fmla="*/ 3832403 h 4022941"/>
              <a:gd name="connsiteX25" fmla="*/ 268173 w 4959933"/>
              <a:gd name="connsiteY25" fmla="*/ 3959403 h 4022941"/>
              <a:gd name="connsiteX26" fmla="*/ 7315 w 4959933"/>
              <a:gd name="connsiteY26" fmla="*/ 3884371 h 4022941"/>
              <a:gd name="connsiteX27" fmla="*/ 0 w 4959933"/>
              <a:gd name="connsiteY27" fmla="*/ 0 h 4022941"/>
              <a:gd name="connsiteX0" fmla="*/ 0 w 4960450"/>
              <a:gd name="connsiteY0" fmla="*/ 0 h 3991153"/>
              <a:gd name="connsiteX1" fmla="*/ 4959705 w 4960450"/>
              <a:gd name="connsiteY1" fmla="*/ 0 h 3991153"/>
              <a:gd name="connsiteX2" fmla="*/ 4959705 w 4960450"/>
              <a:gd name="connsiteY2" fmla="*/ 3884371 h 3991153"/>
              <a:gd name="connsiteX3" fmla="*/ 4900634 w 4960450"/>
              <a:gd name="connsiteY3" fmla="*/ 3983900 h 3991153"/>
              <a:gd name="connsiteX4" fmla="*/ 4560773 w 4960450"/>
              <a:gd name="connsiteY4" fmla="*/ 3927653 h 3991153"/>
              <a:gd name="connsiteX5" fmla="*/ 4363923 w 4960450"/>
              <a:gd name="connsiteY5" fmla="*/ 3991153 h 3991153"/>
              <a:gd name="connsiteX6" fmla="*/ 4128973 w 4960450"/>
              <a:gd name="connsiteY6" fmla="*/ 3889553 h 3991153"/>
              <a:gd name="connsiteX7" fmla="*/ 3925773 w 4960450"/>
              <a:gd name="connsiteY7" fmla="*/ 3921303 h 3991153"/>
              <a:gd name="connsiteX8" fmla="*/ 3747973 w 4960450"/>
              <a:gd name="connsiteY8" fmla="*/ 3870503 h 3991153"/>
              <a:gd name="connsiteX9" fmla="*/ 3582873 w 4960450"/>
              <a:gd name="connsiteY9" fmla="*/ 3927653 h 3991153"/>
              <a:gd name="connsiteX10" fmla="*/ 3322523 w 4960450"/>
              <a:gd name="connsiteY10" fmla="*/ 3838753 h 3991153"/>
              <a:gd name="connsiteX11" fmla="*/ 3163773 w 4960450"/>
              <a:gd name="connsiteY11" fmla="*/ 3914953 h 3991153"/>
              <a:gd name="connsiteX12" fmla="*/ 2973273 w 4960450"/>
              <a:gd name="connsiteY12" fmla="*/ 3876853 h 3991153"/>
              <a:gd name="connsiteX13" fmla="*/ 2865323 w 4960450"/>
              <a:gd name="connsiteY13" fmla="*/ 3921303 h 3991153"/>
              <a:gd name="connsiteX14" fmla="*/ 2630373 w 4960450"/>
              <a:gd name="connsiteY14" fmla="*/ 3838753 h 3991153"/>
              <a:gd name="connsiteX15" fmla="*/ 2458923 w 4960450"/>
              <a:gd name="connsiteY15" fmla="*/ 3927653 h 3991153"/>
              <a:gd name="connsiteX16" fmla="*/ 2262073 w 4960450"/>
              <a:gd name="connsiteY16" fmla="*/ 3864153 h 3991153"/>
              <a:gd name="connsiteX17" fmla="*/ 2065223 w 4960450"/>
              <a:gd name="connsiteY17" fmla="*/ 3934003 h 3991153"/>
              <a:gd name="connsiteX18" fmla="*/ 1811223 w 4960450"/>
              <a:gd name="connsiteY18" fmla="*/ 3845103 h 3991153"/>
              <a:gd name="connsiteX19" fmla="*/ 1627073 w 4960450"/>
              <a:gd name="connsiteY19" fmla="*/ 3914953 h 3991153"/>
              <a:gd name="connsiteX20" fmla="*/ 1347673 w 4960450"/>
              <a:gd name="connsiteY20" fmla="*/ 3857803 h 3991153"/>
              <a:gd name="connsiteX21" fmla="*/ 1169873 w 4960450"/>
              <a:gd name="connsiteY21" fmla="*/ 3953053 h 3991153"/>
              <a:gd name="connsiteX22" fmla="*/ 992073 w 4960450"/>
              <a:gd name="connsiteY22" fmla="*/ 3876853 h 3991153"/>
              <a:gd name="connsiteX23" fmla="*/ 788873 w 4960450"/>
              <a:gd name="connsiteY23" fmla="*/ 3959403 h 3991153"/>
              <a:gd name="connsiteX24" fmla="*/ 528523 w 4960450"/>
              <a:gd name="connsiteY24" fmla="*/ 3832403 h 3991153"/>
              <a:gd name="connsiteX25" fmla="*/ 268173 w 4960450"/>
              <a:gd name="connsiteY25" fmla="*/ 3959403 h 3991153"/>
              <a:gd name="connsiteX26" fmla="*/ 7315 w 4960450"/>
              <a:gd name="connsiteY26" fmla="*/ 3884371 h 3991153"/>
              <a:gd name="connsiteX27" fmla="*/ 0 w 4960450"/>
              <a:gd name="connsiteY27" fmla="*/ 0 h 3991153"/>
              <a:gd name="connsiteX0" fmla="*/ 0 w 4960450"/>
              <a:gd name="connsiteY0" fmla="*/ 0 h 4014431"/>
              <a:gd name="connsiteX1" fmla="*/ 4959705 w 4960450"/>
              <a:gd name="connsiteY1" fmla="*/ 0 h 4014431"/>
              <a:gd name="connsiteX2" fmla="*/ 4959705 w 4960450"/>
              <a:gd name="connsiteY2" fmla="*/ 3884371 h 4014431"/>
              <a:gd name="connsiteX3" fmla="*/ 4900634 w 4960450"/>
              <a:gd name="connsiteY3" fmla="*/ 3983900 h 4014431"/>
              <a:gd name="connsiteX4" fmla="*/ 4768788 w 4960450"/>
              <a:gd name="connsiteY4" fmla="*/ 4014326 h 4014431"/>
              <a:gd name="connsiteX5" fmla="*/ 4363923 w 4960450"/>
              <a:gd name="connsiteY5" fmla="*/ 3991153 h 4014431"/>
              <a:gd name="connsiteX6" fmla="*/ 4128973 w 4960450"/>
              <a:gd name="connsiteY6" fmla="*/ 3889553 h 4014431"/>
              <a:gd name="connsiteX7" fmla="*/ 3925773 w 4960450"/>
              <a:gd name="connsiteY7" fmla="*/ 3921303 h 4014431"/>
              <a:gd name="connsiteX8" fmla="*/ 3747973 w 4960450"/>
              <a:gd name="connsiteY8" fmla="*/ 3870503 h 4014431"/>
              <a:gd name="connsiteX9" fmla="*/ 3582873 w 4960450"/>
              <a:gd name="connsiteY9" fmla="*/ 3927653 h 4014431"/>
              <a:gd name="connsiteX10" fmla="*/ 3322523 w 4960450"/>
              <a:gd name="connsiteY10" fmla="*/ 3838753 h 4014431"/>
              <a:gd name="connsiteX11" fmla="*/ 3163773 w 4960450"/>
              <a:gd name="connsiteY11" fmla="*/ 3914953 h 4014431"/>
              <a:gd name="connsiteX12" fmla="*/ 2973273 w 4960450"/>
              <a:gd name="connsiteY12" fmla="*/ 3876853 h 4014431"/>
              <a:gd name="connsiteX13" fmla="*/ 2865323 w 4960450"/>
              <a:gd name="connsiteY13" fmla="*/ 3921303 h 4014431"/>
              <a:gd name="connsiteX14" fmla="*/ 2630373 w 4960450"/>
              <a:gd name="connsiteY14" fmla="*/ 3838753 h 4014431"/>
              <a:gd name="connsiteX15" fmla="*/ 2458923 w 4960450"/>
              <a:gd name="connsiteY15" fmla="*/ 3927653 h 4014431"/>
              <a:gd name="connsiteX16" fmla="*/ 2262073 w 4960450"/>
              <a:gd name="connsiteY16" fmla="*/ 3864153 h 4014431"/>
              <a:gd name="connsiteX17" fmla="*/ 2065223 w 4960450"/>
              <a:gd name="connsiteY17" fmla="*/ 3934003 h 4014431"/>
              <a:gd name="connsiteX18" fmla="*/ 1811223 w 4960450"/>
              <a:gd name="connsiteY18" fmla="*/ 3845103 h 4014431"/>
              <a:gd name="connsiteX19" fmla="*/ 1627073 w 4960450"/>
              <a:gd name="connsiteY19" fmla="*/ 3914953 h 4014431"/>
              <a:gd name="connsiteX20" fmla="*/ 1347673 w 4960450"/>
              <a:gd name="connsiteY20" fmla="*/ 3857803 h 4014431"/>
              <a:gd name="connsiteX21" fmla="*/ 1169873 w 4960450"/>
              <a:gd name="connsiteY21" fmla="*/ 3953053 h 4014431"/>
              <a:gd name="connsiteX22" fmla="*/ 992073 w 4960450"/>
              <a:gd name="connsiteY22" fmla="*/ 3876853 h 4014431"/>
              <a:gd name="connsiteX23" fmla="*/ 788873 w 4960450"/>
              <a:gd name="connsiteY23" fmla="*/ 3959403 h 4014431"/>
              <a:gd name="connsiteX24" fmla="*/ 528523 w 4960450"/>
              <a:gd name="connsiteY24" fmla="*/ 3832403 h 4014431"/>
              <a:gd name="connsiteX25" fmla="*/ 268173 w 4960450"/>
              <a:gd name="connsiteY25" fmla="*/ 3959403 h 4014431"/>
              <a:gd name="connsiteX26" fmla="*/ 7315 w 4960450"/>
              <a:gd name="connsiteY26" fmla="*/ 3884371 h 4014431"/>
              <a:gd name="connsiteX27" fmla="*/ 0 w 4960450"/>
              <a:gd name="connsiteY27" fmla="*/ 0 h 4014431"/>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363923 w 4960450"/>
              <a:gd name="connsiteY5" fmla="*/ 3991153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90422"/>
              <a:gd name="connsiteX1" fmla="*/ 4959705 w 4960450"/>
              <a:gd name="connsiteY1" fmla="*/ 0 h 4090422"/>
              <a:gd name="connsiteX2" fmla="*/ 4959705 w 4960450"/>
              <a:gd name="connsiteY2" fmla="*/ 3884371 h 4090422"/>
              <a:gd name="connsiteX3" fmla="*/ 4900634 w 4960450"/>
              <a:gd name="connsiteY3" fmla="*/ 3983900 h 4090422"/>
              <a:gd name="connsiteX4" fmla="*/ 4768788 w 4960450"/>
              <a:gd name="connsiteY4" fmla="*/ 4014326 h 4090422"/>
              <a:gd name="connsiteX5" fmla="*/ 4576272 w 4960450"/>
              <a:gd name="connsiteY5" fmla="*/ 3926148 h 4090422"/>
              <a:gd name="connsiteX6" fmla="*/ 4406327 w 4960450"/>
              <a:gd name="connsiteY6" fmla="*/ 3976226 h 4090422"/>
              <a:gd name="connsiteX7" fmla="*/ 4081785 w 4960450"/>
              <a:gd name="connsiteY7" fmla="*/ 4090315 h 4090422"/>
              <a:gd name="connsiteX8" fmla="*/ 3747973 w 4960450"/>
              <a:gd name="connsiteY8" fmla="*/ 3870503 h 4090422"/>
              <a:gd name="connsiteX9" fmla="*/ 3582873 w 4960450"/>
              <a:gd name="connsiteY9" fmla="*/ 3927653 h 4090422"/>
              <a:gd name="connsiteX10" fmla="*/ 3322523 w 4960450"/>
              <a:gd name="connsiteY10" fmla="*/ 3838753 h 4090422"/>
              <a:gd name="connsiteX11" fmla="*/ 3163773 w 4960450"/>
              <a:gd name="connsiteY11" fmla="*/ 3914953 h 4090422"/>
              <a:gd name="connsiteX12" fmla="*/ 2973273 w 4960450"/>
              <a:gd name="connsiteY12" fmla="*/ 3876853 h 4090422"/>
              <a:gd name="connsiteX13" fmla="*/ 2865323 w 4960450"/>
              <a:gd name="connsiteY13" fmla="*/ 3921303 h 4090422"/>
              <a:gd name="connsiteX14" fmla="*/ 2630373 w 4960450"/>
              <a:gd name="connsiteY14" fmla="*/ 3838753 h 4090422"/>
              <a:gd name="connsiteX15" fmla="*/ 2458923 w 4960450"/>
              <a:gd name="connsiteY15" fmla="*/ 3927653 h 4090422"/>
              <a:gd name="connsiteX16" fmla="*/ 2262073 w 4960450"/>
              <a:gd name="connsiteY16" fmla="*/ 3864153 h 4090422"/>
              <a:gd name="connsiteX17" fmla="*/ 2065223 w 4960450"/>
              <a:gd name="connsiteY17" fmla="*/ 3934003 h 4090422"/>
              <a:gd name="connsiteX18" fmla="*/ 1811223 w 4960450"/>
              <a:gd name="connsiteY18" fmla="*/ 3845103 h 4090422"/>
              <a:gd name="connsiteX19" fmla="*/ 1627073 w 4960450"/>
              <a:gd name="connsiteY19" fmla="*/ 3914953 h 4090422"/>
              <a:gd name="connsiteX20" fmla="*/ 1347673 w 4960450"/>
              <a:gd name="connsiteY20" fmla="*/ 3857803 h 4090422"/>
              <a:gd name="connsiteX21" fmla="*/ 1169873 w 4960450"/>
              <a:gd name="connsiteY21" fmla="*/ 3953053 h 4090422"/>
              <a:gd name="connsiteX22" fmla="*/ 992073 w 4960450"/>
              <a:gd name="connsiteY22" fmla="*/ 3876853 h 4090422"/>
              <a:gd name="connsiteX23" fmla="*/ 788873 w 4960450"/>
              <a:gd name="connsiteY23" fmla="*/ 3959403 h 4090422"/>
              <a:gd name="connsiteX24" fmla="*/ 528523 w 4960450"/>
              <a:gd name="connsiteY24" fmla="*/ 3832403 h 4090422"/>
              <a:gd name="connsiteX25" fmla="*/ 268173 w 4960450"/>
              <a:gd name="connsiteY25" fmla="*/ 3959403 h 4090422"/>
              <a:gd name="connsiteX26" fmla="*/ 7315 w 4960450"/>
              <a:gd name="connsiteY26" fmla="*/ 3884371 h 4090422"/>
              <a:gd name="connsiteX27" fmla="*/ 0 w 4960450"/>
              <a:gd name="connsiteY27" fmla="*/ 0 h 4090422"/>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739812 w 4960450"/>
              <a:gd name="connsiteY9" fmla="*/ 3922397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74807 w 4960450"/>
              <a:gd name="connsiteY10" fmla="*/ 3887728 h 4014326"/>
              <a:gd name="connsiteX11" fmla="*/ 3582873 w 4960450"/>
              <a:gd name="connsiteY11" fmla="*/ 3927653 h 4014326"/>
              <a:gd name="connsiteX12" fmla="*/ 3322523 w 4960450"/>
              <a:gd name="connsiteY12" fmla="*/ 383875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322523 w 4960450"/>
              <a:gd name="connsiteY12" fmla="*/ 383875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36783 w 4960450"/>
              <a:gd name="connsiteY13" fmla="*/ 3900729 h 4014326"/>
              <a:gd name="connsiteX14" fmla="*/ 3163773 w 4960450"/>
              <a:gd name="connsiteY14" fmla="*/ 3914953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3773 w 4960450"/>
              <a:gd name="connsiteY14" fmla="*/ 3914953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98443 w 4960450"/>
              <a:gd name="connsiteY14" fmla="*/ 4005960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782075 w 4960450"/>
              <a:gd name="connsiteY17" fmla="*/ 3848725 h 4014326"/>
              <a:gd name="connsiteX18" fmla="*/ 2630373 w 4960450"/>
              <a:gd name="connsiteY18" fmla="*/ 3838753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630373 w 4960450"/>
              <a:gd name="connsiteY18" fmla="*/ 3838753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582728 w 4960450"/>
              <a:gd name="connsiteY19" fmla="*/ 3883394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65067 w 4960450"/>
              <a:gd name="connsiteY19" fmla="*/ 3974400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87748 w 4960450"/>
              <a:gd name="connsiteY21" fmla="*/ 3998496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251570 w 4960450"/>
              <a:gd name="connsiteY22" fmla="*/ 398167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049689 w 4960450"/>
              <a:gd name="connsiteY23" fmla="*/ 3874727 h 4014326"/>
              <a:gd name="connsiteX24" fmla="*/ 1811223 w 4960450"/>
              <a:gd name="connsiteY24" fmla="*/ 3845103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811223 w 4960450"/>
              <a:gd name="connsiteY24" fmla="*/ 3845103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89996 w 4960450"/>
              <a:gd name="connsiteY26" fmla="*/ 3900729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737666 w 4960450"/>
              <a:gd name="connsiteY26" fmla="*/ 3987402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64320 w 4960450"/>
              <a:gd name="connsiteY27" fmla="*/ 3892062 h 4014326"/>
              <a:gd name="connsiteX28" fmla="*/ 1347673 w 4960450"/>
              <a:gd name="connsiteY28" fmla="*/ 3857803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347673 w 4960450"/>
              <a:gd name="connsiteY28" fmla="*/ 3857803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469015 w 4960450"/>
              <a:gd name="connsiteY28" fmla="*/ 3927141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469015 w 4960450"/>
              <a:gd name="connsiteY28" fmla="*/ 3927141 h 4014326"/>
              <a:gd name="connsiteX29" fmla="*/ 1299967 w 4960450"/>
              <a:gd name="connsiteY29" fmla="*/ 3944066 h 4014326"/>
              <a:gd name="connsiteX30" fmla="*/ 1169873 w 4960450"/>
              <a:gd name="connsiteY30" fmla="*/ 3953053 h 4014326"/>
              <a:gd name="connsiteX31" fmla="*/ 992073 w 4960450"/>
              <a:gd name="connsiteY31" fmla="*/ 3876853 h 4014326"/>
              <a:gd name="connsiteX32" fmla="*/ 788873 w 4960450"/>
              <a:gd name="connsiteY32" fmla="*/ 3959403 h 4014326"/>
              <a:gd name="connsiteX33" fmla="*/ 528523 w 4960450"/>
              <a:gd name="connsiteY33" fmla="*/ 3832403 h 4014326"/>
              <a:gd name="connsiteX34" fmla="*/ 268173 w 4960450"/>
              <a:gd name="connsiteY34" fmla="*/ 3959403 h 4014326"/>
              <a:gd name="connsiteX35" fmla="*/ 7315 w 4960450"/>
              <a:gd name="connsiteY35" fmla="*/ 3884371 h 4014326"/>
              <a:gd name="connsiteX36" fmla="*/ 0 w 4960450"/>
              <a:gd name="connsiteY36" fmla="*/ 0 h 4014326"/>
              <a:gd name="connsiteX0" fmla="*/ 0 w 4960450"/>
              <a:gd name="connsiteY0" fmla="*/ 0 h 4030928"/>
              <a:gd name="connsiteX1" fmla="*/ 4959705 w 4960450"/>
              <a:gd name="connsiteY1" fmla="*/ 0 h 4030928"/>
              <a:gd name="connsiteX2" fmla="*/ 4959705 w 4960450"/>
              <a:gd name="connsiteY2" fmla="*/ 3884371 h 4030928"/>
              <a:gd name="connsiteX3" fmla="*/ 4900634 w 4960450"/>
              <a:gd name="connsiteY3" fmla="*/ 3983900 h 4030928"/>
              <a:gd name="connsiteX4" fmla="*/ 4768788 w 4960450"/>
              <a:gd name="connsiteY4" fmla="*/ 4014326 h 4030928"/>
              <a:gd name="connsiteX5" fmla="*/ 4576272 w 4960450"/>
              <a:gd name="connsiteY5" fmla="*/ 3926148 h 4030928"/>
              <a:gd name="connsiteX6" fmla="*/ 4406327 w 4960450"/>
              <a:gd name="connsiteY6" fmla="*/ 3976226 h 4030928"/>
              <a:gd name="connsiteX7" fmla="*/ 4216128 w 4960450"/>
              <a:gd name="connsiteY7" fmla="*/ 3947304 h 4030928"/>
              <a:gd name="connsiteX8" fmla="*/ 4003658 w 4960450"/>
              <a:gd name="connsiteY8" fmla="*/ 3931174 h 4030928"/>
              <a:gd name="connsiteX9" fmla="*/ 3843820 w 4960450"/>
              <a:gd name="connsiteY9" fmla="*/ 3814056 h 4030928"/>
              <a:gd name="connsiteX10" fmla="*/ 3696475 w 4960450"/>
              <a:gd name="connsiteY10" fmla="*/ 3848725 h 4030928"/>
              <a:gd name="connsiteX11" fmla="*/ 3582873 w 4960450"/>
              <a:gd name="connsiteY11" fmla="*/ 3927653 h 4030928"/>
              <a:gd name="connsiteX12" fmla="*/ 3504537 w 4960450"/>
              <a:gd name="connsiteY12" fmla="*/ 3886423 h 4030928"/>
              <a:gd name="connsiteX13" fmla="*/ 3371452 w 4960450"/>
              <a:gd name="connsiteY13" fmla="*/ 3926731 h 4030928"/>
              <a:gd name="connsiteX14" fmla="*/ 3168108 w 4960450"/>
              <a:gd name="connsiteY14" fmla="*/ 3923620 h 4030928"/>
              <a:gd name="connsiteX15" fmla="*/ 3077280 w 4960450"/>
              <a:gd name="connsiteY15" fmla="*/ 3842184 h 4030928"/>
              <a:gd name="connsiteX16" fmla="*/ 2977998 w 4960450"/>
              <a:gd name="connsiteY16" fmla="*/ 3860632 h 4030928"/>
              <a:gd name="connsiteX17" fmla="*/ 2842746 w 4960450"/>
              <a:gd name="connsiteY17" fmla="*/ 3736050 h 4030928"/>
              <a:gd name="connsiteX18" fmla="*/ 2717046 w 4960450"/>
              <a:gd name="connsiteY18" fmla="*/ 3825752 h 4030928"/>
              <a:gd name="connsiteX19" fmla="*/ 2647733 w 4960450"/>
              <a:gd name="connsiteY19" fmla="*/ 3874726 h 4030928"/>
              <a:gd name="connsiteX20" fmla="*/ 2536929 w 4960450"/>
              <a:gd name="connsiteY20" fmla="*/ 3923320 h 4030928"/>
              <a:gd name="connsiteX21" fmla="*/ 2392082 w 4960450"/>
              <a:gd name="connsiteY21" fmla="*/ 3890155 h 4030928"/>
              <a:gd name="connsiteX22" fmla="*/ 2307907 w 4960450"/>
              <a:gd name="connsiteY22" fmla="*/ 3921002 h 4030928"/>
              <a:gd name="connsiteX23" fmla="*/ 2106026 w 4960450"/>
              <a:gd name="connsiteY23" fmla="*/ 3853059 h 4030928"/>
              <a:gd name="connsiteX24" fmla="*/ 1949900 w 4960450"/>
              <a:gd name="connsiteY24" fmla="*/ 3871105 h 4030928"/>
              <a:gd name="connsiteX25" fmla="*/ 1882759 w 4960450"/>
              <a:gd name="connsiteY25" fmla="*/ 3914953 h 4030928"/>
              <a:gd name="connsiteX26" fmla="*/ 1698663 w 4960450"/>
              <a:gd name="connsiteY26" fmla="*/ 3913730 h 4030928"/>
              <a:gd name="connsiteX27" fmla="*/ 1594656 w 4960450"/>
              <a:gd name="connsiteY27" fmla="*/ 3835725 h 4030928"/>
              <a:gd name="connsiteX28" fmla="*/ 1469015 w 4960450"/>
              <a:gd name="connsiteY28" fmla="*/ 3927141 h 4030928"/>
              <a:gd name="connsiteX29" fmla="*/ 1351971 w 4960450"/>
              <a:gd name="connsiteY29" fmla="*/ 4030739 h 4030928"/>
              <a:gd name="connsiteX30" fmla="*/ 1169873 w 4960450"/>
              <a:gd name="connsiteY30" fmla="*/ 3953053 h 4030928"/>
              <a:gd name="connsiteX31" fmla="*/ 992073 w 4960450"/>
              <a:gd name="connsiteY31" fmla="*/ 3876853 h 4030928"/>
              <a:gd name="connsiteX32" fmla="*/ 788873 w 4960450"/>
              <a:gd name="connsiteY32" fmla="*/ 3959403 h 4030928"/>
              <a:gd name="connsiteX33" fmla="*/ 528523 w 4960450"/>
              <a:gd name="connsiteY33" fmla="*/ 3832403 h 4030928"/>
              <a:gd name="connsiteX34" fmla="*/ 268173 w 4960450"/>
              <a:gd name="connsiteY34" fmla="*/ 3959403 h 4030928"/>
              <a:gd name="connsiteX35" fmla="*/ 7315 w 4960450"/>
              <a:gd name="connsiteY35" fmla="*/ 3884371 h 4030928"/>
              <a:gd name="connsiteX36" fmla="*/ 0 w 4960450"/>
              <a:gd name="connsiteY36" fmla="*/ 0 h 4030928"/>
              <a:gd name="connsiteX0" fmla="*/ 0 w 4960450"/>
              <a:gd name="connsiteY0" fmla="*/ 0 h 4037030"/>
              <a:gd name="connsiteX1" fmla="*/ 4959705 w 4960450"/>
              <a:gd name="connsiteY1" fmla="*/ 0 h 4037030"/>
              <a:gd name="connsiteX2" fmla="*/ 4959705 w 4960450"/>
              <a:gd name="connsiteY2" fmla="*/ 3884371 h 4037030"/>
              <a:gd name="connsiteX3" fmla="*/ 4900634 w 4960450"/>
              <a:gd name="connsiteY3" fmla="*/ 3983900 h 4037030"/>
              <a:gd name="connsiteX4" fmla="*/ 4768788 w 4960450"/>
              <a:gd name="connsiteY4" fmla="*/ 4014326 h 4037030"/>
              <a:gd name="connsiteX5" fmla="*/ 4576272 w 4960450"/>
              <a:gd name="connsiteY5" fmla="*/ 3926148 h 4037030"/>
              <a:gd name="connsiteX6" fmla="*/ 4406327 w 4960450"/>
              <a:gd name="connsiteY6" fmla="*/ 3976226 h 4037030"/>
              <a:gd name="connsiteX7" fmla="*/ 4216128 w 4960450"/>
              <a:gd name="connsiteY7" fmla="*/ 3947304 h 4037030"/>
              <a:gd name="connsiteX8" fmla="*/ 4003658 w 4960450"/>
              <a:gd name="connsiteY8" fmla="*/ 3931174 h 4037030"/>
              <a:gd name="connsiteX9" fmla="*/ 3843820 w 4960450"/>
              <a:gd name="connsiteY9" fmla="*/ 3814056 h 4037030"/>
              <a:gd name="connsiteX10" fmla="*/ 3696475 w 4960450"/>
              <a:gd name="connsiteY10" fmla="*/ 3848725 h 4037030"/>
              <a:gd name="connsiteX11" fmla="*/ 3582873 w 4960450"/>
              <a:gd name="connsiteY11" fmla="*/ 3927653 h 4037030"/>
              <a:gd name="connsiteX12" fmla="*/ 3504537 w 4960450"/>
              <a:gd name="connsiteY12" fmla="*/ 3886423 h 4037030"/>
              <a:gd name="connsiteX13" fmla="*/ 3371452 w 4960450"/>
              <a:gd name="connsiteY13" fmla="*/ 3926731 h 4037030"/>
              <a:gd name="connsiteX14" fmla="*/ 3168108 w 4960450"/>
              <a:gd name="connsiteY14" fmla="*/ 3923620 h 4037030"/>
              <a:gd name="connsiteX15" fmla="*/ 3077280 w 4960450"/>
              <a:gd name="connsiteY15" fmla="*/ 3842184 h 4037030"/>
              <a:gd name="connsiteX16" fmla="*/ 2977998 w 4960450"/>
              <a:gd name="connsiteY16" fmla="*/ 3860632 h 4037030"/>
              <a:gd name="connsiteX17" fmla="*/ 2842746 w 4960450"/>
              <a:gd name="connsiteY17" fmla="*/ 3736050 h 4037030"/>
              <a:gd name="connsiteX18" fmla="*/ 2717046 w 4960450"/>
              <a:gd name="connsiteY18" fmla="*/ 3825752 h 4037030"/>
              <a:gd name="connsiteX19" fmla="*/ 2647733 w 4960450"/>
              <a:gd name="connsiteY19" fmla="*/ 3874726 h 4037030"/>
              <a:gd name="connsiteX20" fmla="*/ 2536929 w 4960450"/>
              <a:gd name="connsiteY20" fmla="*/ 3923320 h 4037030"/>
              <a:gd name="connsiteX21" fmla="*/ 2392082 w 4960450"/>
              <a:gd name="connsiteY21" fmla="*/ 3890155 h 4037030"/>
              <a:gd name="connsiteX22" fmla="*/ 2307907 w 4960450"/>
              <a:gd name="connsiteY22" fmla="*/ 3921002 h 4037030"/>
              <a:gd name="connsiteX23" fmla="*/ 2106026 w 4960450"/>
              <a:gd name="connsiteY23" fmla="*/ 3853059 h 4037030"/>
              <a:gd name="connsiteX24" fmla="*/ 1949900 w 4960450"/>
              <a:gd name="connsiteY24" fmla="*/ 3871105 h 4037030"/>
              <a:gd name="connsiteX25" fmla="*/ 1882759 w 4960450"/>
              <a:gd name="connsiteY25" fmla="*/ 3914953 h 4037030"/>
              <a:gd name="connsiteX26" fmla="*/ 1698663 w 4960450"/>
              <a:gd name="connsiteY26" fmla="*/ 3913730 h 4037030"/>
              <a:gd name="connsiteX27" fmla="*/ 1594656 w 4960450"/>
              <a:gd name="connsiteY27" fmla="*/ 3835725 h 4037030"/>
              <a:gd name="connsiteX28" fmla="*/ 1469015 w 4960450"/>
              <a:gd name="connsiteY28" fmla="*/ 3927141 h 4037030"/>
              <a:gd name="connsiteX29" fmla="*/ 1351971 w 4960450"/>
              <a:gd name="connsiteY29" fmla="*/ 4030739 h 4037030"/>
              <a:gd name="connsiteX30" fmla="*/ 1256546 w 4960450"/>
              <a:gd name="connsiteY30" fmla="*/ 4031059 h 4037030"/>
              <a:gd name="connsiteX31" fmla="*/ 992073 w 4960450"/>
              <a:gd name="connsiteY31" fmla="*/ 3876853 h 4037030"/>
              <a:gd name="connsiteX32" fmla="*/ 788873 w 4960450"/>
              <a:gd name="connsiteY32" fmla="*/ 3959403 h 4037030"/>
              <a:gd name="connsiteX33" fmla="*/ 528523 w 4960450"/>
              <a:gd name="connsiteY33" fmla="*/ 3832403 h 4037030"/>
              <a:gd name="connsiteX34" fmla="*/ 268173 w 4960450"/>
              <a:gd name="connsiteY34" fmla="*/ 3959403 h 4037030"/>
              <a:gd name="connsiteX35" fmla="*/ 7315 w 4960450"/>
              <a:gd name="connsiteY35" fmla="*/ 3884371 h 4037030"/>
              <a:gd name="connsiteX36" fmla="*/ 0 w 4960450"/>
              <a:gd name="connsiteY36" fmla="*/ 0 h 40370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152623 w 4960450"/>
              <a:gd name="connsiteY31" fmla="*/ 3983068 h 4035630"/>
              <a:gd name="connsiteX32" fmla="*/ 992073 w 4960450"/>
              <a:gd name="connsiteY32" fmla="*/ 3876853 h 4035630"/>
              <a:gd name="connsiteX33" fmla="*/ 788873 w 4960450"/>
              <a:gd name="connsiteY33" fmla="*/ 3959403 h 4035630"/>
              <a:gd name="connsiteX34" fmla="*/ 528523 w 4960450"/>
              <a:gd name="connsiteY34" fmla="*/ 3832403 h 4035630"/>
              <a:gd name="connsiteX35" fmla="*/ 268173 w 4960450"/>
              <a:gd name="connsiteY35" fmla="*/ 3959403 h 4035630"/>
              <a:gd name="connsiteX36" fmla="*/ 7315 w 4960450"/>
              <a:gd name="connsiteY36" fmla="*/ 3884371 h 4035630"/>
              <a:gd name="connsiteX37" fmla="*/ 0 w 4960450"/>
              <a:gd name="connsiteY3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992073 w 4960450"/>
              <a:gd name="connsiteY32" fmla="*/ 3876853 h 4035630"/>
              <a:gd name="connsiteX33" fmla="*/ 788873 w 4960450"/>
              <a:gd name="connsiteY33" fmla="*/ 3959403 h 4035630"/>
              <a:gd name="connsiteX34" fmla="*/ 528523 w 4960450"/>
              <a:gd name="connsiteY34" fmla="*/ 3832403 h 4035630"/>
              <a:gd name="connsiteX35" fmla="*/ 268173 w 4960450"/>
              <a:gd name="connsiteY35" fmla="*/ 3959403 h 4035630"/>
              <a:gd name="connsiteX36" fmla="*/ 7315 w 4960450"/>
              <a:gd name="connsiteY36" fmla="*/ 3884371 h 4035630"/>
              <a:gd name="connsiteX37" fmla="*/ 0 w 4960450"/>
              <a:gd name="connsiteY3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13620 w 4960450"/>
              <a:gd name="connsiteY32" fmla="*/ 3909396 h 4035630"/>
              <a:gd name="connsiteX33" fmla="*/ 992073 w 4960450"/>
              <a:gd name="connsiteY33" fmla="*/ 3876853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992073 w 4960450"/>
              <a:gd name="connsiteY33" fmla="*/ 3876853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892604 w 4960450"/>
              <a:gd name="connsiteY34" fmla="*/ 3939732 h 4035630"/>
              <a:gd name="connsiteX35" fmla="*/ 788873 w 4960450"/>
              <a:gd name="connsiteY35" fmla="*/ 3959403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3959403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49920 w 4960450"/>
              <a:gd name="connsiteY36" fmla="*/ 3905063 h 4035630"/>
              <a:gd name="connsiteX37" fmla="*/ 528523 w 4960450"/>
              <a:gd name="connsiteY37" fmla="*/ 3832403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28523 w 4960450"/>
              <a:gd name="connsiteY37" fmla="*/ 3832403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171887"/>
              <a:gd name="connsiteX1" fmla="*/ 4959705 w 4960450"/>
              <a:gd name="connsiteY1" fmla="*/ 0 h 4171887"/>
              <a:gd name="connsiteX2" fmla="*/ 4959705 w 4960450"/>
              <a:gd name="connsiteY2" fmla="*/ 3884371 h 4171887"/>
              <a:gd name="connsiteX3" fmla="*/ 4900634 w 4960450"/>
              <a:gd name="connsiteY3" fmla="*/ 3983900 h 4171887"/>
              <a:gd name="connsiteX4" fmla="*/ 4768788 w 4960450"/>
              <a:gd name="connsiteY4" fmla="*/ 4014326 h 4171887"/>
              <a:gd name="connsiteX5" fmla="*/ 4576272 w 4960450"/>
              <a:gd name="connsiteY5" fmla="*/ 3926148 h 4171887"/>
              <a:gd name="connsiteX6" fmla="*/ 4406327 w 4960450"/>
              <a:gd name="connsiteY6" fmla="*/ 3976226 h 4171887"/>
              <a:gd name="connsiteX7" fmla="*/ 4216128 w 4960450"/>
              <a:gd name="connsiteY7" fmla="*/ 3947304 h 4171887"/>
              <a:gd name="connsiteX8" fmla="*/ 4003658 w 4960450"/>
              <a:gd name="connsiteY8" fmla="*/ 3931174 h 4171887"/>
              <a:gd name="connsiteX9" fmla="*/ 3843820 w 4960450"/>
              <a:gd name="connsiteY9" fmla="*/ 3814056 h 4171887"/>
              <a:gd name="connsiteX10" fmla="*/ 3696475 w 4960450"/>
              <a:gd name="connsiteY10" fmla="*/ 3848725 h 4171887"/>
              <a:gd name="connsiteX11" fmla="*/ 3582873 w 4960450"/>
              <a:gd name="connsiteY11" fmla="*/ 3927653 h 4171887"/>
              <a:gd name="connsiteX12" fmla="*/ 3504537 w 4960450"/>
              <a:gd name="connsiteY12" fmla="*/ 3886423 h 4171887"/>
              <a:gd name="connsiteX13" fmla="*/ 3371452 w 4960450"/>
              <a:gd name="connsiteY13" fmla="*/ 3926731 h 4171887"/>
              <a:gd name="connsiteX14" fmla="*/ 3168108 w 4960450"/>
              <a:gd name="connsiteY14" fmla="*/ 3923620 h 4171887"/>
              <a:gd name="connsiteX15" fmla="*/ 3077280 w 4960450"/>
              <a:gd name="connsiteY15" fmla="*/ 3842184 h 4171887"/>
              <a:gd name="connsiteX16" fmla="*/ 2977998 w 4960450"/>
              <a:gd name="connsiteY16" fmla="*/ 3860632 h 4171887"/>
              <a:gd name="connsiteX17" fmla="*/ 2842746 w 4960450"/>
              <a:gd name="connsiteY17" fmla="*/ 3736050 h 4171887"/>
              <a:gd name="connsiteX18" fmla="*/ 2717046 w 4960450"/>
              <a:gd name="connsiteY18" fmla="*/ 3825752 h 4171887"/>
              <a:gd name="connsiteX19" fmla="*/ 2647733 w 4960450"/>
              <a:gd name="connsiteY19" fmla="*/ 3874726 h 4171887"/>
              <a:gd name="connsiteX20" fmla="*/ 2536929 w 4960450"/>
              <a:gd name="connsiteY20" fmla="*/ 3923320 h 4171887"/>
              <a:gd name="connsiteX21" fmla="*/ 2392082 w 4960450"/>
              <a:gd name="connsiteY21" fmla="*/ 3890155 h 4171887"/>
              <a:gd name="connsiteX22" fmla="*/ 2307907 w 4960450"/>
              <a:gd name="connsiteY22" fmla="*/ 3921002 h 4171887"/>
              <a:gd name="connsiteX23" fmla="*/ 2106026 w 4960450"/>
              <a:gd name="connsiteY23" fmla="*/ 3853059 h 4171887"/>
              <a:gd name="connsiteX24" fmla="*/ 1949900 w 4960450"/>
              <a:gd name="connsiteY24" fmla="*/ 3871105 h 4171887"/>
              <a:gd name="connsiteX25" fmla="*/ 1882759 w 4960450"/>
              <a:gd name="connsiteY25" fmla="*/ 3914953 h 4171887"/>
              <a:gd name="connsiteX26" fmla="*/ 1698663 w 4960450"/>
              <a:gd name="connsiteY26" fmla="*/ 3913730 h 4171887"/>
              <a:gd name="connsiteX27" fmla="*/ 1594656 w 4960450"/>
              <a:gd name="connsiteY27" fmla="*/ 3835725 h 4171887"/>
              <a:gd name="connsiteX28" fmla="*/ 1469015 w 4960450"/>
              <a:gd name="connsiteY28" fmla="*/ 3927141 h 4171887"/>
              <a:gd name="connsiteX29" fmla="*/ 1351971 w 4960450"/>
              <a:gd name="connsiteY29" fmla="*/ 4030739 h 4171887"/>
              <a:gd name="connsiteX30" fmla="*/ 1256546 w 4960450"/>
              <a:gd name="connsiteY30" fmla="*/ 4031059 h 4171887"/>
              <a:gd name="connsiteX31" fmla="*/ 1247963 w 4960450"/>
              <a:gd name="connsiteY31" fmla="*/ 3965734 h 4171887"/>
              <a:gd name="connsiteX32" fmla="*/ 1139622 w 4960450"/>
              <a:gd name="connsiteY32" fmla="*/ 3965733 h 4171887"/>
              <a:gd name="connsiteX33" fmla="*/ 1061411 w 4960450"/>
              <a:gd name="connsiteY33" fmla="*/ 3928857 h 4171887"/>
              <a:gd name="connsiteX34" fmla="*/ 966276 w 4960450"/>
              <a:gd name="connsiteY34" fmla="*/ 3970068 h 4171887"/>
              <a:gd name="connsiteX35" fmla="*/ 788873 w 4960450"/>
              <a:gd name="connsiteY35" fmla="*/ 4015741 h 4171887"/>
              <a:gd name="connsiteX36" fmla="*/ 636919 w 4960450"/>
              <a:gd name="connsiteY36" fmla="*/ 3978735 h 4171887"/>
              <a:gd name="connsiteX37" fmla="*/ 493854 w 4960450"/>
              <a:gd name="connsiteY37" fmla="*/ 3888741 h 4171887"/>
              <a:gd name="connsiteX38" fmla="*/ 268173 w 4960450"/>
              <a:gd name="connsiteY38" fmla="*/ 3959403 h 4171887"/>
              <a:gd name="connsiteX39" fmla="*/ 134216 w 4960450"/>
              <a:gd name="connsiteY39" fmla="*/ 3892062 h 4171887"/>
              <a:gd name="connsiteX40" fmla="*/ 7315 w 4960450"/>
              <a:gd name="connsiteY40" fmla="*/ 3884371 h 4171887"/>
              <a:gd name="connsiteX41" fmla="*/ 0 w 4960450"/>
              <a:gd name="connsiteY41" fmla="*/ 0 h 4171887"/>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134216 w 4960450"/>
              <a:gd name="connsiteY39" fmla="*/ 3892062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47543 w 4960450"/>
              <a:gd name="connsiteY39" fmla="*/ 4000404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76840 w 4960450"/>
              <a:gd name="connsiteY38" fmla="*/ 4015740 h 4035630"/>
              <a:gd name="connsiteX39" fmla="*/ 47543 w 4960450"/>
              <a:gd name="connsiteY39" fmla="*/ 4000404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372566 w 4960450"/>
              <a:gd name="connsiteY38" fmla="*/ 3965734 h 4035630"/>
              <a:gd name="connsiteX39" fmla="*/ 276840 w 4960450"/>
              <a:gd name="connsiteY39" fmla="*/ 4015740 h 4035630"/>
              <a:gd name="connsiteX40" fmla="*/ 47543 w 4960450"/>
              <a:gd name="connsiteY40" fmla="*/ 4000404 h 4035630"/>
              <a:gd name="connsiteX41" fmla="*/ 7315 w 4960450"/>
              <a:gd name="connsiteY41" fmla="*/ 3884371 h 4035630"/>
              <a:gd name="connsiteX42" fmla="*/ 0 w 4960450"/>
              <a:gd name="connsiteY42"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47543 w 4960450"/>
              <a:gd name="connsiteY40" fmla="*/ 4000404 h 4035630"/>
              <a:gd name="connsiteX41" fmla="*/ 7315 w 4960450"/>
              <a:gd name="connsiteY41" fmla="*/ 3884371 h 4035630"/>
              <a:gd name="connsiteX42" fmla="*/ 0 w 4960450"/>
              <a:gd name="connsiteY42"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47217 w 4960450"/>
              <a:gd name="connsiteY40" fmla="*/ 4004737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61645 w 4960450"/>
              <a:gd name="connsiteY37" fmla="*/ 3924602 h 4035630"/>
              <a:gd name="connsiteX38" fmla="*/ 493854 w 4960450"/>
              <a:gd name="connsiteY38" fmla="*/ 3888741 h 4035630"/>
              <a:gd name="connsiteX39" fmla="*/ 411569 w 4960450"/>
              <a:gd name="connsiteY39" fmla="*/ 3978735 h 4035630"/>
              <a:gd name="connsiteX40" fmla="*/ 276840 w 4960450"/>
              <a:gd name="connsiteY40" fmla="*/ 4015740 h 4035630"/>
              <a:gd name="connsiteX41" fmla="*/ 164552 w 4960450"/>
              <a:gd name="connsiteY41" fmla="*/ 3991736 h 4035630"/>
              <a:gd name="connsiteX42" fmla="*/ 47543 w 4960450"/>
              <a:gd name="connsiteY42" fmla="*/ 4000404 h 4035630"/>
              <a:gd name="connsiteX43" fmla="*/ 7315 w 4960450"/>
              <a:gd name="connsiteY43" fmla="*/ 3884371 h 4035630"/>
              <a:gd name="connsiteX44" fmla="*/ 0 w 4960450"/>
              <a:gd name="connsiteY44"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61645 w 4960450"/>
              <a:gd name="connsiteY37" fmla="*/ 3948456 h 4035630"/>
              <a:gd name="connsiteX38" fmla="*/ 493854 w 4960450"/>
              <a:gd name="connsiteY38" fmla="*/ 3888741 h 4035630"/>
              <a:gd name="connsiteX39" fmla="*/ 411569 w 4960450"/>
              <a:gd name="connsiteY39" fmla="*/ 3978735 h 4035630"/>
              <a:gd name="connsiteX40" fmla="*/ 276840 w 4960450"/>
              <a:gd name="connsiteY40" fmla="*/ 4015740 h 4035630"/>
              <a:gd name="connsiteX41" fmla="*/ 164552 w 4960450"/>
              <a:gd name="connsiteY41" fmla="*/ 3991736 h 4035630"/>
              <a:gd name="connsiteX42" fmla="*/ 47543 w 4960450"/>
              <a:gd name="connsiteY42" fmla="*/ 4000404 h 4035630"/>
              <a:gd name="connsiteX43" fmla="*/ 7315 w 4960450"/>
              <a:gd name="connsiteY43" fmla="*/ 3884371 h 4035630"/>
              <a:gd name="connsiteX44" fmla="*/ 0 w 4960450"/>
              <a:gd name="connsiteY44"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12720 w 4960450"/>
              <a:gd name="connsiteY36" fmla="*/ 4000139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20671 w 4960450"/>
              <a:gd name="connsiteY36" fmla="*/ 3972310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20671 w 4960450"/>
              <a:gd name="connsiteY36" fmla="*/ 3972310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67771 w 4960450"/>
              <a:gd name="connsiteY35" fmla="*/ 3988212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47892 w 4960450"/>
              <a:gd name="connsiteY35" fmla="*/ 3972309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47892 w 4960450"/>
              <a:gd name="connsiteY35" fmla="*/ 3972309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75766 w 4960450"/>
              <a:gd name="connsiteY18" fmla="*/ 3789112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2226 w 4960450"/>
              <a:gd name="connsiteY14" fmla="*/ 392810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3350"/>
              <a:gd name="connsiteX1" fmla="*/ 4959705 w 4960450"/>
              <a:gd name="connsiteY1" fmla="*/ 0 h 4033350"/>
              <a:gd name="connsiteX2" fmla="*/ 4959705 w 4960450"/>
              <a:gd name="connsiteY2" fmla="*/ 3884371 h 4033350"/>
              <a:gd name="connsiteX3" fmla="*/ 4900634 w 4960450"/>
              <a:gd name="connsiteY3" fmla="*/ 3983900 h 4033350"/>
              <a:gd name="connsiteX4" fmla="*/ 4768788 w 4960450"/>
              <a:gd name="connsiteY4" fmla="*/ 4014326 h 4033350"/>
              <a:gd name="connsiteX5" fmla="*/ 4576272 w 4960450"/>
              <a:gd name="connsiteY5" fmla="*/ 3926148 h 4033350"/>
              <a:gd name="connsiteX6" fmla="*/ 4406327 w 4960450"/>
              <a:gd name="connsiteY6" fmla="*/ 3976226 h 4033350"/>
              <a:gd name="connsiteX7" fmla="*/ 4216128 w 4960450"/>
              <a:gd name="connsiteY7" fmla="*/ 3947304 h 4033350"/>
              <a:gd name="connsiteX8" fmla="*/ 4003658 w 4960450"/>
              <a:gd name="connsiteY8" fmla="*/ 3931174 h 4033350"/>
              <a:gd name="connsiteX9" fmla="*/ 3843820 w 4960450"/>
              <a:gd name="connsiteY9" fmla="*/ 3814056 h 4033350"/>
              <a:gd name="connsiteX10" fmla="*/ 3696475 w 4960450"/>
              <a:gd name="connsiteY10" fmla="*/ 3848725 h 4033350"/>
              <a:gd name="connsiteX11" fmla="*/ 3582873 w 4960450"/>
              <a:gd name="connsiteY11" fmla="*/ 3927653 h 4033350"/>
              <a:gd name="connsiteX12" fmla="*/ 3519167 w 4960450"/>
              <a:gd name="connsiteY12" fmla="*/ 3868135 h 4033350"/>
              <a:gd name="connsiteX13" fmla="*/ 3371452 w 4960450"/>
              <a:gd name="connsiteY13" fmla="*/ 3926731 h 4033350"/>
              <a:gd name="connsiteX14" fmla="*/ 3269542 w 4960450"/>
              <a:gd name="connsiteY14" fmla="*/ 3913470 h 4033350"/>
              <a:gd name="connsiteX15" fmla="*/ 3168108 w 4960450"/>
              <a:gd name="connsiteY15" fmla="*/ 3923620 h 4033350"/>
              <a:gd name="connsiteX16" fmla="*/ 3077280 w 4960450"/>
              <a:gd name="connsiteY16" fmla="*/ 3842184 h 4033350"/>
              <a:gd name="connsiteX17" fmla="*/ 2977998 w 4960450"/>
              <a:gd name="connsiteY17" fmla="*/ 3860632 h 4033350"/>
              <a:gd name="connsiteX18" fmla="*/ 2842746 w 4960450"/>
              <a:gd name="connsiteY18" fmla="*/ 3736050 h 4033350"/>
              <a:gd name="connsiteX19" fmla="*/ 2753820 w 4960450"/>
              <a:gd name="connsiteY19" fmla="*/ 3770824 h 4033350"/>
              <a:gd name="connsiteX20" fmla="*/ 2717046 w 4960450"/>
              <a:gd name="connsiteY20" fmla="*/ 3825752 h 4033350"/>
              <a:gd name="connsiteX21" fmla="*/ 2647733 w 4960450"/>
              <a:gd name="connsiteY21" fmla="*/ 3874726 h 4033350"/>
              <a:gd name="connsiteX22" fmla="*/ 2536929 w 4960450"/>
              <a:gd name="connsiteY22" fmla="*/ 3923320 h 4033350"/>
              <a:gd name="connsiteX23" fmla="*/ 2392082 w 4960450"/>
              <a:gd name="connsiteY23" fmla="*/ 3890155 h 4033350"/>
              <a:gd name="connsiteX24" fmla="*/ 2307907 w 4960450"/>
              <a:gd name="connsiteY24" fmla="*/ 3921002 h 4033350"/>
              <a:gd name="connsiteX25" fmla="*/ 2106026 w 4960450"/>
              <a:gd name="connsiteY25" fmla="*/ 3853059 h 4033350"/>
              <a:gd name="connsiteX26" fmla="*/ 1949900 w 4960450"/>
              <a:gd name="connsiteY26" fmla="*/ 3871105 h 4033350"/>
              <a:gd name="connsiteX27" fmla="*/ 1882759 w 4960450"/>
              <a:gd name="connsiteY27" fmla="*/ 3914953 h 4033350"/>
              <a:gd name="connsiteX28" fmla="*/ 1698663 w 4960450"/>
              <a:gd name="connsiteY28" fmla="*/ 3913730 h 4033350"/>
              <a:gd name="connsiteX29" fmla="*/ 1594656 w 4960450"/>
              <a:gd name="connsiteY29" fmla="*/ 3835725 h 4033350"/>
              <a:gd name="connsiteX30" fmla="*/ 1469015 w 4960450"/>
              <a:gd name="connsiteY30" fmla="*/ 3927141 h 4033350"/>
              <a:gd name="connsiteX31" fmla="*/ 1362944 w 4960450"/>
              <a:gd name="connsiteY31" fmla="*/ 4019766 h 4033350"/>
              <a:gd name="connsiteX32" fmla="*/ 1256546 w 4960450"/>
              <a:gd name="connsiteY32" fmla="*/ 4031059 h 4033350"/>
              <a:gd name="connsiteX33" fmla="*/ 1247963 w 4960450"/>
              <a:gd name="connsiteY33" fmla="*/ 3965734 h 4033350"/>
              <a:gd name="connsiteX34" fmla="*/ 1139622 w 4960450"/>
              <a:gd name="connsiteY34" fmla="*/ 3965733 h 4033350"/>
              <a:gd name="connsiteX35" fmla="*/ 1061411 w 4960450"/>
              <a:gd name="connsiteY35" fmla="*/ 3928857 h 4033350"/>
              <a:gd name="connsiteX36" fmla="*/ 966276 w 4960450"/>
              <a:gd name="connsiteY36" fmla="*/ 3970068 h 4033350"/>
              <a:gd name="connsiteX37" fmla="*/ 847892 w 4960450"/>
              <a:gd name="connsiteY37" fmla="*/ 3972309 h 4033350"/>
              <a:gd name="connsiteX38" fmla="*/ 788873 w 4960450"/>
              <a:gd name="connsiteY38" fmla="*/ 4015741 h 4033350"/>
              <a:gd name="connsiteX39" fmla="*/ 720671 w 4960450"/>
              <a:gd name="connsiteY39" fmla="*/ 3972310 h 4033350"/>
              <a:gd name="connsiteX40" fmla="*/ 636919 w 4960450"/>
              <a:gd name="connsiteY40" fmla="*/ 3978735 h 4033350"/>
              <a:gd name="connsiteX41" fmla="*/ 561645 w 4960450"/>
              <a:gd name="connsiteY41" fmla="*/ 3948456 h 4033350"/>
              <a:gd name="connsiteX42" fmla="*/ 493854 w 4960450"/>
              <a:gd name="connsiteY42" fmla="*/ 3888741 h 4033350"/>
              <a:gd name="connsiteX43" fmla="*/ 411569 w 4960450"/>
              <a:gd name="connsiteY43" fmla="*/ 3978735 h 4033350"/>
              <a:gd name="connsiteX44" fmla="*/ 276840 w 4960450"/>
              <a:gd name="connsiteY44" fmla="*/ 4015740 h 4033350"/>
              <a:gd name="connsiteX45" fmla="*/ 164552 w 4960450"/>
              <a:gd name="connsiteY45" fmla="*/ 3991736 h 4033350"/>
              <a:gd name="connsiteX46" fmla="*/ 69488 w 4960450"/>
              <a:gd name="connsiteY46" fmla="*/ 4015035 h 4033350"/>
              <a:gd name="connsiteX47" fmla="*/ 7315 w 4960450"/>
              <a:gd name="connsiteY47" fmla="*/ 3884371 h 4033350"/>
              <a:gd name="connsiteX48" fmla="*/ 0 w 4960450"/>
              <a:gd name="connsiteY48" fmla="*/ 0 h 4033350"/>
              <a:gd name="connsiteX0" fmla="*/ 0 w 4960450"/>
              <a:gd name="connsiteY0" fmla="*/ 0 h 4027212"/>
              <a:gd name="connsiteX1" fmla="*/ 4959705 w 4960450"/>
              <a:gd name="connsiteY1" fmla="*/ 0 h 4027212"/>
              <a:gd name="connsiteX2" fmla="*/ 4959705 w 4960450"/>
              <a:gd name="connsiteY2" fmla="*/ 3884371 h 4027212"/>
              <a:gd name="connsiteX3" fmla="*/ 4900634 w 4960450"/>
              <a:gd name="connsiteY3" fmla="*/ 3983900 h 4027212"/>
              <a:gd name="connsiteX4" fmla="*/ 4768788 w 4960450"/>
              <a:gd name="connsiteY4" fmla="*/ 4014326 h 4027212"/>
              <a:gd name="connsiteX5" fmla="*/ 4576272 w 4960450"/>
              <a:gd name="connsiteY5" fmla="*/ 3926148 h 4027212"/>
              <a:gd name="connsiteX6" fmla="*/ 4406327 w 4960450"/>
              <a:gd name="connsiteY6" fmla="*/ 3976226 h 4027212"/>
              <a:gd name="connsiteX7" fmla="*/ 4216128 w 4960450"/>
              <a:gd name="connsiteY7" fmla="*/ 3947304 h 4027212"/>
              <a:gd name="connsiteX8" fmla="*/ 4003658 w 4960450"/>
              <a:gd name="connsiteY8" fmla="*/ 3931174 h 4027212"/>
              <a:gd name="connsiteX9" fmla="*/ 3843820 w 4960450"/>
              <a:gd name="connsiteY9" fmla="*/ 3814056 h 4027212"/>
              <a:gd name="connsiteX10" fmla="*/ 3696475 w 4960450"/>
              <a:gd name="connsiteY10" fmla="*/ 3848725 h 4027212"/>
              <a:gd name="connsiteX11" fmla="*/ 3582873 w 4960450"/>
              <a:gd name="connsiteY11" fmla="*/ 3927653 h 4027212"/>
              <a:gd name="connsiteX12" fmla="*/ 3519167 w 4960450"/>
              <a:gd name="connsiteY12" fmla="*/ 3868135 h 4027212"/>
              <a:gd name="connsiteX13" fmla="*/ 3371452 w 4960450"/>
              <a:gd name="connsiteY13" fmla="*/ 3926731 h 4027212"/>
              <a:gd name="connsiteX14" fmla="*/ 3269542 w 4960450"/>
              <a:gd name="connsiteY14" fmla="*/ 3913470 h 4027212"/>
              <a:gd name="connsiteX15" fmla="*/ 3168108 w 4960450"/>
              <a:gd name="connsiteY15" fmla="*/ 3923620 h 4027212"/>
              <a:gd name="connsiteX16" fmla="*/ 3077280 w 4960450"/>
              <a:gd name="connsiteY16" fmla="*/ 3842184 h 4027212"/>
              <a:gd name="connsiteX17" fmla="*/ 2977998 w 4960450"/>
              <a:gd name="connsiteY17" fmla="*/ 3860632 h 4027212"/>
              <a:gd name="connsiteX18" fmla="*/ 2842746 w 4960450"/>
              <a:gd name="connsiteY18" fmla="*/ 3736050 h 4027212"/>
              <a:gd name="connsiteX19" fmla="*/ 2753820 w 4960450"/>
              <a:gd name="connsiteY19" fmla="*/ 3770824 h 4027212"/>
              <a:gd name="connsiteX20" fmla="*/ 2717046 w 4960450"/>
              <a:gd name="connsiteY20" fmla="*/ 3825752 h 4027212"/>
              <a:gd name="connsiteX21" fmla="*/ 2647733 w 4960450"/>
              <a:gd name="connsiteY21" fmla="*/ 3874726 h 4027212"/>
              <a:gd name="connsiteX22" fmla="*/ 2536929 w 4960450"/>
              <a:gd name="connsiteY22" fmla="*/ 3923320 h 4027212"/>
              <a:gd name="connsiteX23" fmla="*/ 2392082 w 4960450"/>
              <a:gd name="connsiteY23" fmla="*/ 3890155 h 4027212"/>
              <a:gd name="connsiteX24" fmla="*/ 2307907 w 4960450"/>
              <a:gd name="connsiteY24" fmla="*/ 3921002 h 4027212"/>
              <a:gd name="connsiteX25" fmla="*/ 2106026 w 4960450"/>
              <a:gd name="connsiteY25" fmla="*/ 3853059 h 4027212"/>
              <a:gd name="connsiteX26" fmla="*/ 1949900 w 4960450"/>
              <a:gd name="connsiteY26" fmla="*/ 3871105 h 4027212"/>
              <a:gd name="connsiteX27" fmla="*/ 1882759 w 4960450"/>
              <a:gd name="connsiteY27" fmla="*/ 3914953 h 4027212"/>
              <a:gd name="connsiteX28" fmla="*/ 1698663 w 4960450"/>
              <a:gd name="connsiteY28" fmla="*/ 3913730 h 4027212"/>
              <a:gd name="connsiteX29" fmla="*/ 1594656 w 4960450"/>
              <a:gd name="connsiteY29" fmla="*/ 3835725 h 4027212"/>
              <a:gd name="connsiteX30" fmla="*/ 1469015 w 4960450"/>
              <a:gd name="connsiteY30" fmla="*/ 3927141 h 4027212"/>
              <a:gd name="connsiteX31" fmla="*/ 1362944 w 4960450"/>
              <a:gd name="connsiteY31" fmla="*/ 4019766 h 4027212"/>
              <a:gd name="connsiteX32" fmla="*/ 1282149 w 4960450"/>
              <a:gd name="connsiteY32" fmla="*/ 4023744 h 4027212"/>
              <a:gd name="connsiteX33" fmla="*/ 1247963 w 4960450"/>
              <a:gd name="connsiteY33" fmla="*/ 3965734 h 4027212"/>
              <a:gd name="connsiteX34" fmla="*/ 1139622 w 4960450"/>
              <a:gd name="connsiteY34" fmla="*/ 3965733 h 4027212"/>
              <a:gd name="connsiteX35" fmla="*/ 1061411 w 4960450"/>
              <a:gd name="connsiteY35" fmla="*/ 3928857 h 4027212"/>
              <a:gd name="connsiteX36" fmla="*/ 966276 w 4960450"/>
              <a:gd name="connsiteY36" fmla="*/ 3970068 h 4027212"/>
              <a:gd name="connsiteX37" fmla="*/ 847892 w 4960450"/>
              <a:gd name="connsiteY37" fmla="*/ 3972309 h 4027212"/>
              <a:gd name="connsiteX38" fmla="*/ 788873 w 4960450"/>
              <a:gd name="connsiteY38" fmla="*/ 4015741 h 4027212"/>
              <a:gd name="connsiteX39" fmla="*/ 720671 w 4960450"/>
              <a:gd name="connsiteY39" fmla="*/ 3972310 h 4027212"/>
              <a:gd name="connsiteX40" fmla="*/ 636919 w 4960450"/>
              <a:gd name="connsiteY40" fmla="*/ 3978735 h 4027212"/>
              <a:gd name="connsiteX41" fmla="*/ 561645 w 4960450"/>
              <a:gd name="connsiteY41" fmla="*/ 3948456 h 4027212"/>
              <a:gd name="connsiteX42" fmla="*/ 493854 w 4960450"/>
              <a:gd name="connsiteY42" fmla="*/ 3888741 h 4027212"/>
              <a:gd name="connsiteX43" fmla="*/ 411569 w 4960450"/>
              <a:gd name="connsiteY43" fmla="*/ 3978735 h 4027212"/>
              <a:gd name="connsiteX44" fmla="*/ 276840 w 4960450"/>
              <a:gd name="connsiteY44" fmla="*/ 4015740 h 4027212"/>
              <a:gd name="connsiteX45" fmla="*/ 164552 w 4960450"/>
              <a:gd name="connsiteY45" fmla="*/ 3991736 h 4027212"/>
              <a:gd name="connsiteX46" fmla="*/ 69488 w 4960450"/>
              <a:gd name="connsiteY46" fmla="*/ 4015035 h 4027212"/>
              <a:gd name="connsiteX47" fmla="*/ 7315 w 4960450"/>
              <a:gd name="connsiteY47" fmla="*/ 3884371 h 4027212"/>
              <a:gd name="connsiteX48" fmla="*/ 0 w 4960450"/>
              <a:gd name="connsiteY48" fmla="*/ 0 h 4027212"/>
              <a:gd name="connsiteX0" fmla="*/ 0 w 4954502"/>
              <a:gd name="connsiteY0" fmla="*/ 1397544 h 4027212"/>
              <a:gd name="connsiteX1" fmla="*/ 4953757 w 4954502"/>
              <a:gd name="connsiteY1" fmla="*/ 0 h 4027212"/>
              <a:gd name="connsiteX2" fmla="*/ 4953757 w 4954502"/>
              <a:gd name="connsiteY2" fmla="*/ 3884371 h 4027212"/>
              <a:gd name="connsiteX3" fmla="*/ 4894686 w 4954502"/>
              <a:gd name="connsiteY3" fmla="*/ 3983900 h 4027212"/>
              <a:gd name="connsiteX4" fmla="*/ 4762840 w 4954502"/>
              <a:gd name="connsiteY4" fmla="*/ 4014326 h 4027212"/>
              <a:gd name="connsiteX5" fmla="*/ 4570324 w 4954502"/>
              <a:gd name="connsiteY5" fmla="*/ 3926148 h 4027212"/>
              <a:gd name="connsiteX6" fmla="*/ 4400379 w 4954502"/>
              <a:gd name="connsiteY6" fmla="*/ 3976226 h 4027212"/>
              <a:gd name="connsiteX7" fmla="*/ 4210180 w 4954502"/>
              <a:gd name="connsiteY7" fmla="*/ 3947304 h 4027212"/>
              <a:gd name="connsiteX8" fmla="*/ 3997710 w 4954502"/>
              <a:gd name="connsiteY8" fmla="*/ 3931174 h 4027212"/>
              <a:gd name="connsiteX9" fmla="*/ 3837872 w 4954502"/>
              <a:gd name="connsiteY9" fmla="*/ 3814056 h 4027212"/>
              <a:gd name="connsiteX10" fmla="*/ 3690527 w 4954502"/>
              <a:gd name="connsiteY10" fmla="*/ 3848725 h 4027212"/>
              <a:gd name="connsiteX11" fmla="*/ 3576925 w 4954502"/>
              <a:gd name="connsiteY11" fmla="*/ 3927653 h 4027212"/>
              <a:gd name="connsiteX12" fmla="*/ 3513219 w 4954502"/>
              <a:gd name="connsiteY12" fmla="*/ 3868135 h 4027212"/>
              <a:gd name="connsiteX13" fmla="*/ 3365504 w 4954502"/>
              <a:gd name="connsiteY13" fmla="*/ 3926731 h 4027212"/>
              <a:gd name="connsiteX14" fmla="*/ 3263594 w 4954502"/>
              <a:gd name="connsiteY14" fmla="*/ 3913470 h 4027212"/>
              <a:gd name="connsiteX15" fmla="*/ 3162160 w 4954502"/>
              <a:gd name="connsiteY15" fmla="*/ 3923620 h 4027212"/>
              <a:gd name="connsiteX16" fmla="*/ 3071332 w 4954502"/>
              <a:gd name="connsiteY16" fmla="*/ 3842184 h 4027212"/>
              <a:gd name="connsiteX17" fmla="*/ 2972050 w 4954502"/>
              <a:gd name="connsiteY17" fmla="*/ 3860632 h 4027212"/>
              <a:gd name="connsiteX18" fmla="*/ 2836798 w 4954502"/>
              <a:gd name="connsiteY18" fmla="*/ 3736050 h 4027212"/>
              <a:gd name="connsiteX19" fmla="*/ 2747872 w 4954502"/>
              <a:gd name="connsiteY19" fmla="*/ 3770824 h 4027212"/>
              <a:gd name="connsiteX20" fmla="*/ 2711098 w 4954502"/>
              <a:gd name="connsiteY20" fmla="*/ 3825752 h 4027212"/>
              <a:gd name="connsiteX21" fmla="*/ 2641785 w 4954502"/>
              <a:gd name="connsiteY21" fmla="*/ 3874726 h 4027212"/>
              <a:gd name="connsiteX22" fmla="*/ 2530981 w 4954502"/>
              <a:gd name="connsiteY22" fmla="*/ 3923320 h 4027212"/>
              <a:gd name="connsiteX23" fmla="*/ 2386134 w 4954502"/>
              <a:gd name="connsiteY23" fmla="*/ 3890155 h 4027212"/>
              <a:gd name="connsiteX24" fmla="*/ 2301959 w 4954502"/>
              <a:gd name="connsiteY24" fmla="*/ 3921002 h 4027212"/>
              <a:gd name="connsiteX25" fmla="*/ 2100078 w 4954502"/>
              <a:gd name="connsiteY25" fmla="*/ 3853059 h 4027212"/>
              <a:gd name="connsiteX26" fmla="*/ 1943952 w 4954502"/>
              <a:gd name="connsiteY26" fmla="*/ 3871105 h 4027212"/>
              <a:gd name="connsiteX27" fmla="*/ 1876811 w 4954502"/>
              <a:gd name="connsiteY27" fmla="*/ 3914953 h 4027212"/>
              <a:gd name="connsiteX28" fmla="*/ 1692715 w 4954502"/>
              <a:gd name="connsiteY28" fmla="*/ 3913730 h 4027212"/>
              <a:gd name="connsiteX29" fmla="*/ 1588708 w 4954502"/>
              <a:gd name="connsiteY29" fmla="*/ 3835725 h 4027212"/>
              <a:gd name="connsiteX30" fmla="*/ 1463067 w 4954502"/>
              <a:gd name="connsiteY30" fmla="*/ 3927141 h 4027212"/>
              <a:gd name="connsiteX31" fmla="*/ 1356996 w 4954502"/>
              <a:gd name="connsiteY31" fmla="*/ 4019766 h 4027212"/>
              <a:gd name="connsiteX32" fmla="*/ 1276201 w 4954502"/>
              <a:gd name="connsiteY32" fmla="*/ 4023744 h 4027212"/>
              <a:gd name="connsiteX33" fmla="*/ 1242015 w 4954502"/>
              <a:gd name="connsiteY33" fmla="*/ 3965734 h 4027212"/>
              <a:gd name="connsiteX34" fmla="*/ 1133674 w 4954502"/>
              <a:gd name="connsiteY34" fmla="*/ 3965733 h 4027212"/>
              <a:gd name="connsiteX35" fmla="*/ 1055463 w 4954502"/>
              <a:gd name="connsiteY35" fmla="*/ 3928857 h 4027212"/>
              <a:gd name="connsiteX36" fmla="*/ 960328 w 4954502"/>
              <a:gd name="connsiteY36" fmla="*/ 3970068 h 4027212"/>
              <a:gd name="connsiteX37" fmla="*/ 841944 w 4954502"/>
              <a:gd name="connsiteY37" fmla="*/ 3972309 h 4027212"/>
              <a:gd name="connsiteX38" fmla="*/ 782925 w 4954502"/>
              <a:gd name="connsiteY38" fmla="*/ 4015741 h 4027212"/>
              <a:gd name="connsiteX39" fmla="*/ 714723 w 4954502"/>
              <a:gd name="connsiteY39" fmla="*/ 3972310 h 4027212"/>
              <a:gd name="connsiteX40" fmla="*/ 630971 w 4954502"/>
              <a:gd name="connsiteY40" fmla="*/ 3978735 h 4027212"/>
              <a:gd name="connsiteX41" fmla="*/ 555697 w 4954502"/>
              <a:gd name="connsiteY41" fmla="*/ 3948456 h 4027212"/>
              <a:gd name="connsiteX42" fmla="*/ 487906 w 4954502"/>
              <a:gd name="connsiteY42" fmla="*/ 3888741 h 4027212"/>
              <a:gd name="connsiteX43" fmla="*/ 405621 w 4954502"/>
              <a:gd name="connsiteY43" fmla="*/ 3978735 h 4027212"/>
              <a:gd name="connsiteX44" fmla="*/ 270892 w 4954502"/>
              <a:gd name="connsiteY44" fmla="*/ 4015740 h 4027212"/>
              <a:gd name="connsiteX45" fmla="*/ 158604 w 4954502"/>
              <a:gd name="connsiteY45" fmla="*/ 3991736 h 4027212"/>
              <a:gd name="connsiteX46" fmla="*/ 63540 w 4954502"/>
              <a:gd name="connsiteY46" fmla="*/ 4015035 h 4027212"/>
              <a:gd name="connsiteX47" fmla="*/ 1367 w 4954502"/>
              <a:gd name="connsiteY47" fmla="*/ 3884371 h 4027212"/>
              <a:gd name="connsiteX48" fmla="*/ 0 w 4954502"/>
              <a:gd name="connsiteY48" fmla="*/ 1397544 h 4027212"/>
              <a:gd name="connsiteX0" fmla="*/ 0 w 4954502"/>
              <a:gd name="connsiteY0" fmla="*/ 0 h 2629668"/>
              <a:gd name="connsiteX1" fmla="*/ 4953756 w 4954502"/>
              <a:gd name="connsiteY1" fmla="*/ 17840 h 2629668"/>
              <a:gd name="connsiteX2" fmla="*/ 4953757 w 4954502"/>
              <a:gd name="connsiteY2" fmla="*/ 2486827 h 2629668"/>
              <a:gd name="connsiteX3" fmla="*/ 4894686 w 4954502"/>
              <a:gd name="connsiteY3" fmla="*/ 2586356 h 2629668"/>
              <a:gd name="connsiteX4" fmla="*/ 4762840 w 4954502"/>
              <a:gd name="connsiteY4" fmla="*/ 2616782 h 2629668"/>
              <a:gd name="connsiteX5" fmla="*/ 4570324 w 4954502"/>
              <a:gd name="connsiteY5" fmla="*/ 2528604 h 2629668"/>
              <a:gd name="connsiteX6" fmla="*/ 4400379 w 4954502"/>
              <a:gd name="connsiteY6" fmla="*/ 2578682 h 2629668"/>
              <a:gd name="connsiteX7" fmla="*/ 4210180 w 4954502"/>
              <a:gd name="connsiteY7" fmla="*/ 2549760 h 2629668"/>
              <a:gd name="connsiteX8" fmla="*/ 3997710 w 4954502"/>
              <a:gd name="connsiteY8" fmla="*/ 2533630 h 2629668"/>
              <a:gd name="connsiteX9" fmla="*/ 3837872 w 4954502"/>
              <a:gd name="connsiteY9" fmla="*/ 2416512 h 2629668"/>
              <a:gd name="connsiteX10" fmla="*/ 3690527 w 4954502"/>
              <a:gd name="connsiteY10" fmla="*/ 2451181 h 2629668"/>
              <a:gd name="connsiteX11" fmla="*/ 3576925 w 4954502"/>
              <a:gd name="connsiteY11" fmla="*/ 2530109 h 2629668"/>
              <a:gd name="connsiteX12" fmla="*/ 3513219 w 4954502"/>
              <a:gd name="connsiteY12" fmla="*/ 2470591 h 2629668"/>
              <a:gd name="connsiteX13" fmla="*/ 3365504 w 4954502"/>
              <a:gd name="connsiteY13" fmla="*/ 2529187 h 2629668"/>
              <a:gd name="connsiteX14" fmla="*/ 3263594 w 4954502"/>
              <a:gd name="connsiteY14" fmla="*/ 2515926 h 2629668"/>
              <a:gd name="connsiteX15" fmla="*/ 3162160 w 4954502"/>
              <a:gd name="connsiteY15" fmla="*/ 2526076 h 2629668"/>
              <a:gd name="connsiteX16" fmla="*/ 3071332 w 4954502"/>
              <a:gd name="connsiteY16" fmla="*/ 2444640 h 2629668"/>
              <a:gd name="connsiteX17" fmla="*/ 2972050 w 4954502"/>
              <a:gd name="connsiteY17" fmla="*/ 2463088 h 2629668"/>
              <a:gd name="connsiteX18" fmla="*/ 2836798 w 4954502"/>
              <a:gd name="connsiteY18" fmla="*/ 2338506 h 2629668"/>
              <a:gd name="connsiteX19" fmla="*/ 2747872 w 4954502"/>
              <a:gd name="connsiteY19" fmla="*/ 2373280 h 2629668"/>
              <a:gd name="connsiteX20" fmla="*/ 2711098 w 4954502"/>
              <a:gd name="connsiteY20" fmla="*/ 2428208 h 2629668"/>
              <a:gd name="connsiteX21" fmla="*/ 2641785 w 4954502"/>
              <a:gd name="connsiteY21" fmla="*/ 2477182 h 2629668"/>
              <a:gd name="connsiteX22" fmla="*/ 2530981 w 4954502"/>
              <a:gd name="connsiteY22" fmla="*/ 2525776 h 2629668"/>
              <a:gd name="connsiteX23" fmla="*/ 2386134 w 4954502"/>
              <a:gd name="connsiteY23" fmla="*/ 2492611 h 2629668"/>
              <a:gd name="connsiteX24" fmla="*/ 2301959 w 4954502"/>
              <a:gd name="connsiteY24" fmla="*/ 2523458 h 2629668"/>
              <a:gd name="connsiteX25" fmla="*/ 2100078 w 4954502"/>
              <a:gd name="connsiteY25" fmla="*/ 2455515 h 2629668"/>
              <a:gd name="connsiteX26" fmla="*/ 1943952 w 4954502"/>
              <a:gd name="connsiteY26" fmla="*/ 2473561 h 2629668"/>
              <a:gd name="connsiteX27" fmla="*/ 1876811 w 4954502"/>
              <a:gd name="connsiteY27" fmla="*/ 2517409 h 2629668"/>
              <a:gd name="connsiteX28" fmla="*/ 1692715 w 4954502"/>
              <a:gd name="connsiteY28" fmla="*/ 2516186 h 2629668"/>
              <a:gd name="connsiteX29" fmla="*/ 1588708 w 4954502"/>
              <a:gd name="connsiteY29" fmla="*/ 2438181 h 2629668"/>
              <a:gd name="connsiteX30" fmla="*/ 1463067 w 4954502"/>
              <a:gd name="connsiteY30" fmla="*/ 2529597 h 2629668"/>
              <a:gd name="connsiteX31" fmla="*/ 1356996 w 4954502"/>
              <a:gd name="connsiteY31" fmla="*/ 2622222 h 2629668"/>
              <a:gd name="connsiteX32" fmla="*/ 1276201 w 4954502"/>
              <a:gd name="connsiteY32" fmla="*/ 2626200 h 2629668"/>
              <a:gd name="connsiteX33" fmla="*/ 1242015 w 4954502"/>
              <a:gd name="connsiteY33" fmla="*/ 2568190 h 2629668"/>
              <a:gd name="connsiteX34" fmla="*/ 1133674 w 4954502"/>
              <a:gd name="connsiteY34" fmla="*/ 2568189 h 2629668"/>
              <a:gd name="connsiteX35" fmla="*/ 1055463 w 4954502"/>
              <a:gd name="connsiteY35" fmla="*/ 2531313 h 2629668"/>
              <a:gd name="connsiteX36" fmla="*/ 960328 w 4954502"/>
              <a:gd name="connsiteY36" fmla="*/ 2572524 h 2629668"/>
              <a:gd name="connsiteX37" fmla="*/ 841944 w 4954502"/>
              <a:gd name="connsiteY37" fmla="*/ 2574765 h 2629668"/>
              <a:gd name="connsiteX38" fmla="*/ 782925 w 4954502"/>
              <a:gd name="connsiteY38" fmla="*/ 2618197 h 2629668"/>
              <a:gd name="connsiteX39" fmla="*/ 714723 w 4954502"/>
              <a:gd name="connsiteY39" fmla="*/ 2574766 h 2629668"/>
              <a:gd name="connsiteX40" fmla="*/ 630971 w 4954502"/>
              <a:gd name="connsiteY40" fmla="*/ 2581191 h 2629668"/>
              <a:gd name="connsiteX41" fmla="*/ 555697 w 4954502"/>
              <a:gd name="connsiteY41" fmla="*/ 2550912 h 2629668"/>
              <a:gd name="connsiteX42" fmla="*/ 487906 w 4954502"/>
              <a:gd name="connsiteY42" fmla="*/ 2491197 h 2629668"/>
              <a:gd name="connsiteX43" fmla="*/ 405621 w 4954502"/>
              <a:gd name="connsiteY43" fmla="*/ 2581191 h 2629668"/>
              <a:gd name="connsiteX44" fmla="*/ 270892 w 4954502"/>
              <a:gd name="connsiteY44" fmla="*/ 2618196 h 2629668"/>
              <a:gd name="connsiteX45" fmla="*/ 158604 w 4954502"/>
              <a:gd name="connsiteY45" fmla="*/ 2594192 h 2629668"/>
              <a:gd name="connsiteX46" fmla="*/ 63540 w 4954502"/>
              <a:gd name="connsiteY46" fmla="*/ 2617491 h 2629668"/>
              <a:gd name="connsiteX47" fmla="*/ 1367 w 4954502"/>
              <a:gd name="connsiteY47" fmla="*/ 2486827 h 2629668"/>
              <a:gd name="connsiteX48" fmla="*/ 0 w 4954502"/>
              <a:gd name="connsiteY48" fmla="*/ 0 h 2629668"/>
              <a:gd name="connsiteX0" fmla="*/ 160821 w 4953355"/>
              <a:gd name="connsiteY0" fmla="*/ 367534 h 2611828"/>
              <a:gd name="connsiteX1" fmla="*/ 4952609 w 4953355"/>
              <a:gd name="connsiteY1" fmla="*/ 0 h 2611828"/>
              <a:gd name="connsiteX2" fmla="*/ 4952610 w 4953355"/>
              <a:gd name="connsiteY2" fmla="*/ 2468987 h 2611828"/>
              <a:gd name="connsiteX3" fmla="*/ 4893539 w 4953355"/>
              <a:gd name="connsiteY3" fmla="*/ 2568516 h 2611828"/>
              <a:gd name="connsiteX4" fmla="*/ 4761693 w 4953355"/>
              <a:gd name="connsiteY4" fmla="*/ 2598942 h 2611828"/>
              <a:gd name="connsiteX5" fmla="*/ 4569177 w 4953355"/>
              <a:gd name="connsiteY5" fmla="*/ 2510764 h 2611828"/>
              <a:gd name="connsiteX6" fmla="*/ 4399232 w 4953355"/>
              <a:gd name="connsiteY6" fmla="*/ 2560842 h 2611828"/>
              <a:gd name="connsiteX7" fmla="*/ 4209033 w 4953355"/>
              <a:gd name="connsiteY7" fmla="*/ 2531920 h 2611828"/>
              <a:gd name="connsiteX8" fmla="*/ 3996563 w 4953355"/>
              <a:gd name="connsiteY8" fmla="*/ 2515790 h 2611828"/>
              <a:gd name="connsiteX9" fmla="*/ 3836725 w 4953355"/>
              <a:gd name="connsiteY9" fmla="*/ 2398672 h 2611828"/>
              <a:gd name="connsiteX10" fmla="*/ 3689380 w 4953355"/>
              <a:gd name="connsiteY10" fmla="*/ 2433341 h 2611828"/>
              <a:gd name="connsiteX11" fmla="*/ 3575778 w 4953355"/>
              <a:gd name="connsiteY11" fmla="*/ 2512269 h 2611828"/>
              <a:gd name="connsiteX12" fmla="*/ 3512072 w 4953355"/>
              <a:gd name="connsiteY12" fmla="*/ 2452751 h 2611828"/>
              <a:gd name="connsiteX13" fmla="*/ 3364357 w 4953355"/>
              <a:gd name="connsiteY13" fmla="*/ 2511347 h 2611828"/>
              <a:gd name="connsiteX14" fmla="*/ 3262447 w 4953355"/>
              <a:gd name="connsiteY14" fmla="*/ 2498086 h 2611828"/>
              <a:gd name="connsiteX15" fmla="*/ 3161013 w 4953355"/>
              <a:gd name="connsiteY15" fmla="*/ 2508236 h 2611828"/>
              <a:gd name="connsiteX16" fmla="*/ 3070185 w 4953355"/>
              <a:gd name="connsiteY16" fmla="*/ 2426800 h 2611828"/>
              <a:gd name="connsiteX17" fmla="*/ 2970903 w 4953355"/>
              <a:gd name="connsiteY17" fmla="*/ 2445248 h 2611828"/>
              <a:gd name="connsiteX18" fmla="*/ 2835651 w 4953355"/>
              <a:gd name="connsiteY18" fmla="*/ 2320666 h 2611828"/>
              <a:gd name="connsiteX19" fmla="*/ 2746725 w 4953355"/>
              <a:gd name="connsiteY19" fmla="*/ 2355440 h 2611828"/>
              <a:gd name="connsiteX20" fmla="*/ 2709951 w 4953355"/>
              <a:gd name="connsiteY20" fmla="*/ 2410368 h 2611828"/>
              <a:gd name="connsiteX21" fmla="*/ 2640638 w 4953355"/>
              <a:gd name="connsiteY21" fmla="*/ 2459342 h 2611828"/>
              <a:gd name="connsiteX22" fmla="*/ 2529834 w 4953355"/>
              <a:gd name="connsiteY22" fmla="*/ 2507936 h 2611828"/>
              <a:gd name="connsiteX23" fmla="*/ 2384987 w 4953355"/>
              <a:gd name="connsiteY23" fmla="*/ 2474771 h 2611828"/>
              <a:gd name="connsiteX24" fmla="*/ 2300812 w 4953355"/>
              <a:gd name="connsiteY24" fmla="*/ 2505618 h 2611828"/>
              <a:gd name="connsiteX25" fmla="*/ 2098931 w 4953355"/>
              <a:gd name="connsiteY25" fmla="*/ 2437675 h 2611828"/>
              <a:gd name="connsiteX26" fmla="*/ 1942805 w 4953355"/>
              <a:gd name="connsiteY26" fmla="*/ 2455721 h 2611828"/>
              <a:gd name="connsiteX27" fmla="*/ 1875664 w 4953355"/>
              <a:gd name="connsiteY27" fmla="*/ 2499569 h 2611828"/>
              <a:gd name="connsiteX28" fmla="*/ 1691568 w 4953355"/>
              <a:gd name="connsiteY28" fmla="*/ 2498346 h 2611828"/>
              <a:gd name="connsiteX29" fmla="*/ 1587561 w 4953355"/>
              <a:gd name="connsiteY29" fmla="*/ 2420341 h 2611828"/>
              <a:gd name="connsiteX30" fmla="*/ 1461920 w 4953355"/>
              <a:gd name="connsiteY30" fmla="*/ 2511757 h 2611828"/>
              <a:gd name="connsiteX31" fmla="*/ 1355849 w 4953355"/>
              <a:gd name="connsiteY31" fmla="*/ 2604382 h 2611828"/>
              <a:gd name="connsiteX32" fmla="*/ 1275054 w 4953355"/>
              <a:gd name="connsiteY32" fmla="*/ 2608360 h 2611828"/>
              <a:gd name="connsiteX33" fmla="*/ 1240868 w 4953355"/>
              <a:gd name="connsiteY33" fmla="*/ 2550350 h 2611828"/>
              <a:gd name="connsiteX34" fmla="*/ 1132527 w 4953355"/>
              <a:gd name="connsiteY34" fmla="*/ 2550349 h 2611828"/>
              <a:gd name="connsiteX35" fmla="*/ 1054316 w 4953355"/>
              <a:gd name="connsiteY35" fmla="*/ 2513473 h 2611828"/>
              <a:gd name="connsiteX36" fmla="*/ 959181 w 4953355"/>
              <a:gd name="connsiteY36" fmla="*/ 2554684 h 2611828"/>
              <a:gd name="connsiteX37" fmla="*/ 840797 w 4953355"/>
              <a:gd name="connsiteY37" fmla="*/ 2556925 h 2611828"/>
              <a:gd name="connsiteX38" fmla="*/ 781778 w 4953355"/>
              <a:gd name="connsiteY38" fmla="*/ 2600357 h 2611828"/>
              <a:gd name="connsiteX39" fmla="*/ 713576 w 4953355"/>
              <a:gd name="connsiteY39" fmla="*/ 2556926 h 2611828"/>
              <a:gd name="connsiteX40" fmla="*/ 629824 w 4953355"/>
              <a:gd name="connsiteY40" fmla="*/ 2563351 h 2611828"/>
              <a:gd name="connsiteX41" fmla="*/ 554550 w 4953355"/>
              <a:gd name="connsiteY41" fmla="*/ 2533072 h 2611828"/>
              <a:gd name="connsiteX42" fmla="*/ 486759 w 4953355"/>
              <a:gd name="connsiteY42" fmla="*/ 2473357 h 2611828"/>
              <a:gd name="connsiteX43" fmla="*/ 404474 w 4953355"/>
              <a:gd name="connsiteY43" fmla="*/ 2563351 h 2611828"/>
              <a:gd name="connsiteX44" fmla="*/ 269745 w 4953355"/>
              <a:gd name="connsiteY44" fmla="*/ 2600356 h 2611828"/>
              <a:gd name="connsiteX45" fmla="*/ 157457 w 4953355"/>
              <a:gd name="connsiteY45" fmla="*/ 2576352 h 2611828"/>
              <a:gd name="connsiteX46" fmla="*/ 62393 w 4953355"/>
              <a:gd name="connsiteY46" fmla="*/ 2599651 h 2611828"/>
              <a:gd name="connsiteX47" fmla="*/ 220 w 4953355"/>
              <a:gd name="connsiteY47" fmla="*/ 2468987 h 2611828"/>
              <a:gd name="connsiteX48" fmla="*/ 160821 w 4953355"/>
              <a:gd name="connsiteY48" fmla="*/ 367534 h 2611828"/>
              <a:gd name="connsiteX0" fmla="*/ 0 w 4965673"/>
              <a:gd name="connsiteY0" fmla="*/ 0 h 2618498"/>
              <a:gd name="connsiteX1" fmla="*/ 4964927 w 4965673"/>
              <a:gd name="connsiteY1" fmla="*/ 6670 h 2618498"/>
              <a:gd name="connsiteX2" fmla="*/ 4964928 w 4965673"/>
              <a:gd name="connsiteY2" fmla="*/ 2475657 h 2618498"/>
              <a:gd name="connsiteX3" fmla="*/ 4905857 w 4965673"/>
              <a:gd name="connsiteY3" fmla="*/ 2575186 h 2618498"/>
              <a:gd name="connsiteX4" fmla="*/ 4774011 w 4965673"/>
              <a:gd name="connsiteY4" fmla="*/ 2605612 h 2618498"/>
              <a:gd name="connsiteX5" fmla="*/ 4581495 w 4965673"/>
              <a:gd name="connsiteY5" fmla="*/ 2517434 h 2618498"/>
              <a:gd name="connsiteX6" fmla="*/ 4411550 w 4965673"/>
              <a:gd name="connsiteY6" fmla="*/ 2567512 h 2618498"/>
              <a:gd name="connsiteX7" fmla="*/ 4221351 w 4965673"/>
              <a:gd name="connsiteY7" fmla="*/ 2538590 h 2618498"/>
              <a:gd name="connsiteX8" fmla="*/ 4008881 w 4965673"/>
              <a:gd name="connsiteY8" fmla="*/ 2522460 h 2618498"/>
              <a:gd name="connsiteX9" fmla="*/ 3849043 w 4965673"/>
              <a:gd name="connsiteY9" fmla="*/ 2405342 h 2618498"/>
              <a:gd name="connsiteX10" fmla="*/ 3701698 w 4965673"/>
              <a:gd name="connsiteY10" fmla="*/ 2440011 h 2618498"/>
              <a:gd name="connsiteX11" fmla="*/ 3588096 w 4965673"/>
              <a:gd name="connsiteY11" fmla="*/ 2518939 h 2618498"/>
              <a:gd name="connsiteX12" fmla="*/ 3524390 w 4965673"/>
              <a:gd name="connsiteY12" fmla="*/ 2459421 h 2618498"/>
              <a:gd name="connsiteX13" fmla="*/ 3376675 w 4965673"/>
              <a:gd name="connsiteY13" fmla="*/ 2518017 h 2618498"/>
              <a:gd name="connsiteX14" fmla="*/ 3274765 w 4965673"/>
              <a:gd name="connsiteY14" fmla="*/ 2504756 h 2618498"/>
              <a:gd name="connsiteX15" fmla="*/ 3173331 w 4965673"/>
              <a:gd name="connsiteY15" fmla="*/ 2514906 h 2618498"/>
              <a:gd name="connsiteX16" fmla="*/ 3082503 w 4965673"/>
              <a:gd name="connsiteY16" fmla="*/ 2433470 h 2618498"/>
              <a:gd name="connsiteX17" fmla="*/ 2983221 w 4965673"/>
              <a:gd name="connsiteY17" fmla="*/ 2451918 h 2618498"/>
              <a:gd name="connsiteX18" fmla="*/ 2847969 w 4965673"/>
              <a:gd name="connsiteY18" fmla="*/ 2327336 h 2618498"/>
              <a:gd name="connsiteX19" fmla="*/ 2759043 w 4965673"/>
              <a:gd name="connsiteY19" fmla="*/ 2362110 h 2618498"/>
              <a:gd name="connsiteX20" fmla="*/ 2722269 w 4965673"/>
              <a:gd name="connsiteY20" fmla="*/ 2417038 h 2618498"/>
              <a:gd name="connsiteX21" fmla="*/ 2652956 w 4965673"/>
              <a:gd name="connsiteY21" fmla="*/ 2466012 h 2618498"/>
              <a:gd name="connsiteX22" fmla="*/ 2542152 w 4965673"/>
              <a:gd name="connsiteY22" fmla="*/ 2514606 h 2618498"/>
              <a:gd name="connsiteX23" fmla="*/ 2397305 w 4965673"/>
              <a:gd name="connsiteY23" fmla="*/ 2481441 h 2618498"/>
              <a:gd name="connsiteX24" fmla="*/ 2313130 w 4965673"/>
              <a:gd name="connsiteY24" fmla="*/ 2512288 h 2618498"/>
              <a:gd name="connsiteX25" fmla="*/ 2111249 w 4965673"/>
              <a:gd name="connsiteY25" fmla="*/ 2444345 h 2618498"/>
              <a:gd name="connsiteX26" fmla="*/ 1955123 w 4965673"/>
              <a:gd name="connsiteY26" fmla="*/ 2462391 h 2618498"/>
              <a:gd name="connsiteX27" fmla="*/ 1887982 w 4965673"/>
              <a:gd name="connsiteY27" fmla="*/ 2506239 h 2618498"/>
              <a:gd name="connsiteX28" fmla="*/ 1703886 w 4965673"/>
              <a:gd name="connsiteY28" fmla="*/ 2505016 h 2618498"/>
              <a:gd name="connsiteX29" fmla="*/ 1599879 w 4965673"/>
              <a:gd name="connsiteY29" fmla="*/ 2427011 h 2618498"/>
              <a:gd name="connsiteX30" fmla="*/ 1474238 w 4965673"/>
              <a:gd name="connsiteY30" fmla="*/ 2518427 h 2618498"/>
              <a:gd name="connsiteX31" fmla="*/ 1368167 w 4965673"/>
              <a:gd name="connsiteY31" fmla="*/ 2611052 h 2618498"/>
              <a:gd name="connsiteX32" fmla="*/ 1287372 w 4965673"/>
              <a:gd name="connsiteY32" fmla="*/ 2615030 h 2618498"/>
              <a:gd name="connsiteX33" fmla="*/ 1253186 w 4965673"/>
              <a:gd name="connsiteY33" fmla="*/ 2557020 h 2618498"/>
              <a:gd name="connsiteX34" fmla="*/ 1144845 w 4965673"/>
              <a:gd name="connsiteY34" fmla="*/ 2557019 h 2618498"/>
              <a:gd name="connsiteX35" fmla="*/ 1066634 w 4965673"/>
              <a:gd name="connsiteY35" fmla="*/ 2520143 h 2618498"/>
              <a:gd name="connsiteX36" fmla="*/ 971499 w 4965673"/>
              <a:gd name="connsiteY36" fmla="*/ 2561354 h 2618498"/>
              <a:gd name="connsiteX37" fmla="*/ 853115 w 4965673"/>
              <a:gd name="connsiteY37" fmla="*/ 2563595 h 2618498"/>
              <a:gd name="connsiteX38" fmla="*/ 794096 w 4965673"/>
              <a:gd name="connsiteY38" fmla="*/ 2607027 h 2618498"/>
              <a:gd name="connsiteX39" fmla="*/ 725894 w 4965673"/>
              <a:gd name="connsiteY39" fmla="*/ 2563596 h 2618498"/>
              <a:gd name="connsiteX40" fmla="*/ 642142 w 4965673"/>
              <a:gd name="connsiteY40" fmla="*/ 2570021 h 2618498"/>
              <a:gd name="connsiteX41" fmla="*/ 566868 w 4965673"/>
              <a:gd name="connsiteY41" fmla="*/ 2539742 h 2618498"/>
              <a:gd name="connsiteX42" fmla="*/ 499077 w 4965673"/>
              <a:gd name="connsiteY42" fmla="*/ 2480027 h 2618498"/>
              <a:gd name="connsiteX43" fmla="*/ 416792 w 4965673"/>
              <a:gd name="connsiteY43" fmla="*/ 2570021 h 2618498"/>
              <a:gd name="connsiteX44" fmla="*/ 282063 w 4965673"/>
              <a:gd name="connsiteY44" fmla="*/ 2607026 h 2618498"/>
              <a:gd name="connsiteX45" fmla="*/ 169775 w 4965673"/>
              <a:gd name="connsiteY45" fmla="*/ 2583022 h 2618498"/>
              <a:gd name="connsiteX46" fmla="*/ 74711 w 4965673"/>
              <a:gd name="connsiteY46" fmla="*/ 2606321 h 2618498"/>
              <a:gd name="connsiteX47" fmla="*/ 12538 w 4965673"/>
              <a:gd name="connsiteY47" fmla="*/ 2475657 h 2618498"/>
              <a:gd name="connsiteX48" fmla="*/ 0 w 4965673"/>
              <a:gd name="connsiteY48" fmla="*/ 0 h 2618498"/>
              <a:gd name="connsiteX0" fmla="*/ 480 w 4966153"/>
              <a:gd name="connsiteY0" fmla="*/ 0 h 2618498"/>
              <a:gd name="connsiteX1" fmla="*/ 4965407 w 4966153"/>
              <a:gd name="connsiteY1" fmla="*/ 6670 h 2618498"/>
              <a:gd name="connsiteX2" fmla="*/ 4965408 w 4966153"/>
              <a:gd name="connsiteY2" fmla="*/ 2475657 h 2618498"/>
              <a:gd name="connsiteX3" fmla="*/ 4906337 w 4966153"/>
              <a:gd name="connsiteY3" fmla="*/ 2575186 h 2618498"/>
              <a:gd name="connsiteX4" fmla="*/ 4774491 w 4966153"/>
              <a:gd name="connsiteY4" fmla="*/ 2605612 h 2618498"/>
              <a:gd name="connsiteX5" fmla="*/ 4581975 w 4966153"/>
              <a:gd name="connsiteY5" fmla="*/ 2517434 h 2618498"/>
              <a:gd name="connsiteX6" fmla="*/ 4412030 w 4966153"/>
              <a:gd name="connsiteY6" fmla="*/ 2567512 h 2618498"/>
              <a:gd name="connsiteX7" fmla="*/ 4221831 w 4966153"/>
              <a:gd name="connsiteY7" fmla="*/ 2538590 h 2618498"/>
              <a:gd name="connsiteX8" fmla="*/ 4009361 w 4966153"/>
              <a:gd name="connsiteY8" fmla="*/ 2522460 h 2618498"/>
              <a:gd name="connsiteX9" fmla="*/ 3849523 w 4966153"/>
              <a:gd name="connsiteY9" fmla="*/ 2405342 h 2618498"/>
              <a:gd name="connsiteX10" fmla="*/ 3702178 w 4966153"/>
              <a:gd name="connsiteY10" fmla="*/ 2440011 h 2618498"/>
              <a:gd name="connsiteX11" fmla="*/ 3588576 w 4966153"/>
              <a:gd name="connsiteY11" fmla="*/ 2518939 h 2618498"/>
              <a:gd name="connsiteX12" fmla="*/ 3524870 w 4966153"/>
              <a:gd name="connsiteY12" fmla="*/ 2459421 h 2618498"/>
              <a:gd name="connsiteX13" fmla="*/ 3377155 w 4966153"/>
              <a:gd name="connsiteY13" fmla="*/ 2518017 h 2618498"/>
              <a:gd name="connsiteX14" fmla="*/ 3275245 w 4966153"/>
              <a:gd name="connsiteY14" fmla="*/ 2504756 h 2618498"/>
              <a:gd name="connsiteX15" fmla="*/ 3173811 w 4966153"/>
              <a:gd name="connsiteY15" fmla="*/ 2514906 h 2618498"/>
              <a:gd name="connsiteX16" fmla="*/ 3082983 w 4966153"/>
              <a:gd name="connsiteY16" fmla="*/ 2433470 h 2618498"/>
              <a:gd name="connsiteX17" fmla="*/ 2983701 w 4966153"/>
              <a:gd name="connsiteY17" fmla="*/ 2451918 h 2618498"/>
              <a:gd name="connsiteX18" fmla="*/ 2848449 w 4966153"/>
              <a:gd name="connsiteY18" fmla="*/ 2327336 h 2618498"/>
              <a:gd name="connsiteX19" fmla="*/ 2759523 w 4966153"/>
              <a:gd name="connsiteY19" fmla="*/ 2362110 h 2618498"/>
              <a:gd name="connsiteX20" fmla="*/ 2722749 w 4966153"/>
              <a:gd name="connsiteY20" fmla="*/ 2417038 h 2618498"/>
              <a:gd name="connsiteX21" fmla="*/ 2653436 w 4966153"/>
              <a:gd name="connsiteY21" fmla="*/ 2466012 h 2618498"/>
              <a:gd name="connsiteX22" fmla="*/ 2542632 w 4966153"/>
              <a:gd name="connsiteY22" fmla="*/ 2514606 h 2618498"/>
              <a:gd name="connsiteX23" fmla="*/ 2397785 w 4966153"/>
              <a:gd name="connsiteY23" fmla="*/ 2481441 h 2618498"/>
              <a:gd name="connsiteX24" fmla="*/ 2313610 w 4966153"/>
              <a:gd name="connsiteY24" fmla="*/ 2512288 h 2618498"/>
              <a:gd name="connsiteX25" fmla="*/ 2111729 w 4966153"/>
              <a:gd name="connsiteY25" fmla="*/ 2444345 h 2618498"/>
              <a:gd name="connsiteX26" fmla="*/ 1955603 w 4966153"/>
              <a:gd name="connsiteY26" fmla="*/ 2462391 h 2618498"/>
              <a:gd name="connsiteX27" fmla="*/ 1888462 w 4966153"/>
              <a:gd name="connsiteY27" fmla="*/ 2506239 h 2618498"/>
              <a:gd name="connsiteX28" fmla="*/ 1704366 w 4966153"/>
              <a:gd name="connsiteY28" fmla="*/ 2505016 h 2618498"/>
              <a:gd name="connsiteX29" fmla="*/ 1600359 w 4966153"/>
              <a:gd name="connsiteY29" fmla="*/ 2427011 h 2618498"/>
              <a:gd name="connsiteX30" fmla="*/ 1474718 w 4966153"/>
              <a:gd name="connsiteY30" fmla="*/ 2518427 h 2618498"/>
              <a:gd name="connsiteX31" fmla="*/ 1368647 w 4966153"/>
              <a:gd name="connsiteY31" fmla="*/ 2611052 h 2618498"/>
              <a:gd name="connsiteX32" fmla="*/ 1287852 w 4966153"/>
              <a:gd name="connsiteY32" fmla="*/ 2615030 h 2618498"/>
              <a:gd name="connsiteX33" fmla="*/ 1253666 w 4966153"/>
              <a:gd name="connsiteY33" fmla="*/ 2557020 h 2618498"/>
              <a:gd name="connsiteX34" fmla="*/ 1145325 w 4966153"/>
              <a:gd name="connsiteY34" fmla="*/ 2557019 h 2618498"/>
              <a:gd name="connsiteX35" fmla="*/ 1067114 w 4966153"/>
              <a:gd name="connsiteY35" fmla="*/ 2520143 h 2618498"/>
              <a:gd name="connsiteX36" fmla="*/ 971979 w 4966153"/>
              <a:gd name="connsiteY36" fmla="*/ 2561354 h 2618498"/>
              <a:gd name="connsiteX37" fmla="*/ 853595 w 4966153"/>
              <a:gd name="connsiteY37" fmla="*/ 2563595 h 2618498"/>
              <a:gd name="connsiteX38" fmla="*/ 794576 w 4966153"/>
              <a:gd name="connsiteY38" fmla="*/ 2607027 h 2618498"/>
              <a:gd name="connsiteX39" fmla="*/ 726374 w 4966153"/>
              <a:gd name="connsiteY39" fmla="*/ 2563596 h 2618498"/>
              <a:gd name="connsiteX40" fmla="*/ 642622 w 4966153"/>
              <a:gd name="connsiteY40" fmla="*/ 2570021 h 2618498"/>
              <a:gd name="connsiteX41" fmla="*/ 567348 w 4966153"/>
              <a:gd name="connsiteY41" fmla="*/ 2539742 h 2618498"/>
              <a:gd name="connsiteX42" fmla="*/ 499557 w 4966153"/>
              <a:gd name="connsiteY42" fmla="*/ 2480027 h 2618498"/>
              <a:gd name="connsiteX43" fmla="*/ 417272 w 4966153"/>
              <a:gd name="connsiteY43" fmla="*/ 2570021 h 2618498"/>
              <a:gd name="connsiteX44" fmla="*/ 282543 w 4966153"/>
              <a:gd name="connsiteY44" fmla="*/ 2607026 h 2618498"/>
              <a:gd name="connsiteX45" fmla="*/ 170255 w 4966153"/>
              <a:gd name="connsiteY45" fmla="*/ 2583022 h 2618498"/>
              <a:gd name="connsiteX46" fmla="*/ 75191 w 4966153"/>
              <a:gd name="connsiteY46" fmla="*/ 2606321 h 2618498"/>
              <a:gd name="connsiteX47" fmla="*/ 13018 w 4966153"/>
              <a:gd name="connsiteY47" fmla="*/ 2475657 h 2618498"/>
              <a:gd name="connsiteX48" fmla="*/ 480 w 4966153"/>
              <a:gd name="connsiteY48" fmla="*/ 0 h 2618498"/>
              <a:gd name="connsiteX0" fmla="*/ 323200 w 5288873"/>
              <a:gd name="connsiteY0" fmla="*/ 80689 h 2699187"/>
              <a:gd name="connsiteX1" fmla="*/ 4735198 w 5288873"/>
              <a:gd name="connsiteY1" fmla="*/ 556511 h 2699187"/>
              <a:gd name="connsiteX2" fmla="*/ 5288128 w 5288873"/>
              <a:gd name="connsiteY2" fmla="*/ 2556346 h 2699187"/>
              <a:gd name="connsiteX3" fmla="*/ 5229057 w 5288873"/>
              <a:gd name="connsiteY3" fmla="*/ 2655875 h 2699187"/>
              <a:gd name="connsiteX4" fmla="*/ 5097211 w 5288873"/>
              <a:gd name="connsiteY4" fmla="*/ 2686301 h 2699187"/>
              <a:gd name="connsiteX5" fmla="*/ 4904695 w 5288873"/>
              <a:gd name="connsiteY5" fmla="*/ 2598123 h 2699187"/>
              <a:gd name="connsiteX6" fmla="*/ 4734750 w 5288873"/>
              <a:gd name="connsiteY6" fmla="*/ 2648201 h 2699187"/>
              <a:gd name="connsiteX7" fmla="*/ 4544551 w 5288873"/>
              <a:gd name="connsiteY7" fmla="*/ 2619279 h 2699187"/>
              <a:gd name="connsiteX8" fmla="*/ 4332081 w 5288873"/>
              <a:gd name="connsiteY8" fmla="*/ 2603149 h 2699187"/>
              <a:gd name="connsiteX9" fmla="*/ 4172243 w 5288873"/>
              <a:gd name="connsiteY9" fmla="*/ 2486031 h 2699187"/>
              <a:gd name="connsiteX10" fmla="*/ 4024898 w 5288873"/>
              <a:gd name="connsiteY10" fmla="*/ 2520700 h 2699187"/>
              <a:gd name="connsiteX11" fmla="*/ 3911296 w 5288873"/>
              <a:gd name="connsiteY11" fmla="*/ 2599628 h 2699187"/>
              <a:gd name="connsiteX12" fmla="*/ 3847590 w 5288873"/>
              <a:gd name="connsiteY12" fmla="*/ 2540110 h 2699187"/>
              <a:gd name="connsiteX13" fmla="*/ 3699875 w 5288873"/>
              <a:gd name="connsiteY13" fmla="*/ 2598706 h 2699187"/>
              <a:gd name="connsiteX14" fmla="*/ 3597965 w 5288873"/>
              <a:gd name="connsiteY14" fmla="*/ 2585445 h 2699187"/>
              <a:gd name="connsiteX15" fmla="*/ 3496531 w 5288873"/>
              <a:gd name="connsiteY15" fmla="*/ 2595595 h 2699187"/>
              <a:gd name="connsiteX16" fmla="*/ 3405703 w 5288873"/>
              <a:gd name="connsiteY16" fmla="*/ 2514159 h 2699187"/>
              <a:gd name="connsiteX17" fmla="*/ 3306421 w 5288873"/>
              <a:gd name="connsiteY17" fmla="*/ 2532607 h 2699187"/>
              <a:gd name="connsiteX18" fmla="*/ 3171169 w 5288873"/>
              <a:gd name="connsiteY18" fmla="*/ 2408025 h 2699187"/>
              <a:gd name="connsiteX19" fmla="*/ 3082243 w 5288873"/>
              <a:gd name="connsiteY19" fmla="*/ 2442799 h 2699187"/>
              <a:gd name="connsiteX20" fmla="*/ 3045469 w 5288873"/>
              <a:gd name="connsiteY20" fmla="*/ 2497727 h 2699187"/>
              <a:gd name="connsiteX21" fmla="*/ 2976156 w 5288873"/>
              <a:gd name="connsiteY21" fmla="*/ 2546701 h 2699187"/>
              <a:gd name="connsiteX22" fmla="*/ 2865352 w 5288873"/>
              <a:gd name="connsiteY22" fmla="*/ 2595295 h 2699187"/>
              <a:gd name="connsiteX23" fmla="*/ 2720505 w 5288873"/>
              <a:gd name="connsiteY23" fmla="*/ 2562130 h 2699187"/>
              <a:gd name="connsiteX24" fmla="*/ 2636330 w 5288873"/>
              <a:gd name="connsiteY24" fmla="*/ 2592977 h 2699187"/>
              <a:gd name="connsiteX25" fmla="*/ 2434449 w 5288873"/>
              <a:gd name="connsiteY25" fmla="*/ 2525034 h 2699187"/>
              <a:gd name="connsiteX26" fmla="*/ 2278323 w 5288873"/>
              <a:gd name="connsiteY26" fmla="*/ 2543080 h 2699187"/>
              <a:gd name="connsiteX27" fmla="*/ 2211182 w 5288873"/>
              <a:gd name="connsiteY27" fmla="*/ 2586928 h 2699187"/>
              <a:gd name="connsiteX28" fmla="*/ 2027086 w 5288873"/>
              <a:gd name="connsiteY28" fmla="*/ 2585705 h 2699187"/>
              <a:gd name="connsiteX29" fmla="*/ 1923079 w 5288873"/>
              <a:gd name="connsiteY29" fmla="*/ 2507700 h 2699187"/>
              <a:gd name="connsiteX30" fmla="*/ 1797438 w 5288873"/>
              <a:gd name="connsiteY30" fmla="*/ 2599116 h 2699187"/>
              <a:gd name="connsiteX31" fmla="*/ 1691367 w 5288873"/>
              <a:gd name="connsiteY31" fmla="*/ 2691741 h 2699187"/>
              <a:gd name="connsiteX32" fmla="*/ 1610572 w 5288873"/>
              <a:gd name="connsiteY32" fmla="*/ 2695719 h 2699187"/>
              <a:gd name="connsiteX33" fmla="*/ 1576386 w 5288873"/>
              <a:gd name="connsiteY33" fmla="*/ 2637709 h 2699187"/>
              <a:gd name="connsiteX34" fmla="*/ 1468045 w 5288873"/>
              <a:gd name="connsiteY34" fmla="*/ 2637708 h 2699187"/>
              <a:gd name="connsiteX35" fmla="*/ 1389834 w 5288873"/>
              <a:gd name="connsiteY35" fmla="*/ 2600832 h 2699187"/>
              <a:gd name="connsiteX36" fmla="*/ 1294699 w 5288873"/>
              <a:gd name="connsiteY36" fmla="*/ 2642043 h 2699187"/>
              <a:gd name="connsiteX37" fmla="*/ 1176315 w 5288873"/>
              <a:gd name="connsiteY37" fmla="*/ 2644284 h 2699187"/>
              <a:gd name="connsiteX38" fmla="*/ 1117296 w 5288873"/>
              <a:gd name="connsiteY38" fmla="*/ 2687716 h 2699187"/>
              <a:gd name="connsiteX39" fmla="*/ 1049094 w 5288873"/>
              <a:gd name="connsiteY39" fmla="*/ 2644285 h 2699187"/>
              <a:gd name="connsiteX40" fmla="*/ 965342 w 5288873"/>
              <a:gd name="connsiteY40" fmla="*/ 2650710 h 2699187"/>
              <a:gd name="connsiteX41" fmla="*/ 890068 w 5288873"/>
              <a:gd name="connsiteY41" fmla="*/ 2620431 h 2699187"/>
              <a:gd name="connsiteX42" fmla="*/ 822277 w 5288873"/>
              <a:gd name="connsiteY42" fmla="*/ 2560716 h 2699187"/>
              <a:gd name="connsiteX43" fmla="*/ 739992 w 5288873"/>
              <a:gd name="connsiteY43" fmla="*/ 2650710 h 2699187"/>
              <a:gd name="connsiteX44" fmla="*/ 605263 w 5288873"/>
              <a:gd name="connsiteY44" fmla="*/ 2687715 h 2699187"/>
              <a:gd name="connsiteX45" fmla="*/ 492975 w 5288873"/>
              <a:gd name="connsiteY45" fmla="*/ 2663711 h 2699187"/>
              <a:gd name="connsiteX46" fmla="*/ 397911 w 5288873"/>
              <a:gd name="connsiteY46" fmla="*/ 2687010 h 2699187"/>
              <a:gd name="connsiteX47" fmla="*/ 335738 w 5288873"/>
              <a:gd name="connsiteY47" fmla="*/ 2556346 h 2699187"/>
              <a:gd name="connsiteX48" fmla="*/ 323200 w 5288873"/>
              <a:gd name="connsiteY48" fmla="*/ 80689 h 2699187"/>
              <a:gd name="connsiteX0" fmla="*/ 364156 w 5329829"/>
              <a:gd name="connsiteY0" fmla="*/ 183515 h 2802013"/>
              <a:gd name="connsiteX1" fmla="*/ 5329083 w 5329829"/>
              <a:gd name="connsiteY1" fmla="*/ 184600 h 2802013"/>
              <a:gd name="connsiteX2" fmla="*/ 5329084 w 5329829"/>
              <a:gd name="connsiteY2" fmla="*/ 2659172 h 2802013"/>
              <a:gd name="connsiteX3" fmla="*/ 5270013 w 5329829"/>
              <a:gd name="connsiteY3" fmla="*/ 2758701 h 2802013"/>
              <a:gd name="connsiteX4" fmla="*/ 5138167 w 5329829"/>
              <a:gd name="connsiteY4" fmla="*/ 2789127 h 2802013"/>
              <a:gd name="connsiteX5" fmla="*/ 4945651 w 5329829"/>
              <a:gd name="connsiteY5" fmla="*/ 2700949 h 2802013"/>
              <a:gd name="connsiteX6" fmla="*/ 4775706 w 5329829"/>
              <a:gd name="connsiteY6" fmla="*/ 2751027 h 2802013"/>
              <a:gd name="connsiteX7" fmla="*/ 4585507 w 5329829"/>
              <a:gd name="connsiteY7" fmla="*/ 2722105 h 2802013"/>
              <a:gd name="connsiteX8" fmla="*/ 4373037 w 5329829"/>
              <a:gd name="connsiteY8" fmla="*/ 2705975 h 2802013"/>
              <a:gd name="connsiteX9" fmla="*/ 4213199 w 5329829"/>
              <a:gd name="connsiteY9" fmla="*/ 2588857 h 2802013"/>
              <a:gd name="connsiteX10" fmla="*/ 4065854 w 5329829"/>
              <a:gd name="connsiteY10" fmla="*/ 2623526 h 2802013"/>
              <a:gd name="connsiteX11" fmla="*/ 3952252 w 5329829"/>
              <a:gd name="connsiteY11" fmla="*/ 2702454 h 2802013"/>
              <a:gd name="connsiteX12" fmla="*/ 3888546 w 5329829"/>
              <a:gd name="connsiteY12" fmla="*/ 2642936 h 2802013"/>
              <a:gd name="connsiteX13" fmla="*/ 3740831 w 5329829"/>
              <a:gd name="connsiteY13" fmla="*/ 2701532 h 2802013"/>
              <a:gd name="connsiteX14" fmla="*/ 3638921 w 5329829"/>
              <a:gd name="connsiteY14" fmla="*/ 2688271 h 2802013"/>
              <a:gd name="connsiteX15" fmla="*/ 3537487 w 5329829"/>
              <a:gd name="connsiteY15" fmla="*/ 2698421 h 2802013"/>
              <a:gd name="connsiteX16" fmla="*/ 3446659 w 5329829"/>
              <a:gd name="connsiteY16" fmla="*/ 2616985 h 2802013"/>
              <a:gd name="connsiteX17" fmla="*/ 3347377 w 5329829"/>
              <a:gd name="connsiteY17" fmla="*/ 2635433 h 2802013"/>
              <a:gd name="connsiteX18" fmla="*/ 3212125 w 5329829"/>
              <a:gd name="connsiteY18" fmla="*/ 2510851 h 2802013"/>
              <a:gd name="connsiteX19" fmla="*/ 3123199 w 5329829"/>
              <a:gd name="connsiteY19" fmla="*/ 2545625 h 2802013"/>
              <a:gd name="connsiteX20" fmla="*/ 3086425 w 5329829"/>
              <a:gd name="connsiteY20" fmla="*/ 2600553 h 2802013"/>
              <a:gd name="connsiteX21" fmla="*/ 3017112 w 5329829"/>
              <a:gd name="connsiteY21" fmla="*/ 2649527 h 2802013"/>
              <a:gd name="connsiteX22" fmla="*/ 2906308 w 5329829"/>
              <a:gd name="connsiteY22" fmla="*/ 2698121 h 2802013"/>
              <a:gd name="connsiteX23" fmla="*/ 2761461 w 5329829"/>
              <a:gd name="connsiteY23" fmla="*/ 2664956 h 2802013"/>
              <a:gd name="connsiteX24" fmla="*/ 2677286 w 5329829"/>
              <a:gd name="connsiteY24" fmla="*/ 2695803 h 2802013"/>
              <a:gd name="connsiteX25" fmla="*/ 2475405 w 5329829"/>
              <a:gd name="connsiteY25" fmla="*/ 2627860 h 2802013"/>
              <a:gd name="connsiteX26" fmla="*/ 2319279 w 5329829"/>
              <a:gd name="connsiteY26" fmla="*/ 2645906 h 2802013"/>
              <a:gd name="connsiteX27" fmla="*/ 2252138 w 5329829"/>
              <a:gd name="connsiteY27" fmla="*/ 2689754 h 2802013"/>
              <a:gd name="connsiteX28" fmla="*/ 2068042 w 5329829"/>
              <a:gd name="connsiteY28" fmla="*/ 2688531 h 2802013"/>
              <a:gd name="connsiteX29" fmla="*/ 1964035 w 5329829"/>
              <a:gd name="connsiteY29" fmla="*/ 2610526 h 2802013"/>
              <a:gd name="connsiteX30" fmla="*/ 1838394 w 5329829"/>
              <a:gd name="connsiteY30" fmla="*/ 2701942 h 2802013"/>
              <a:gd name="connsiteX31" fmla="*/ 1732323 w 5329829"/>
              <a:gd name="connsiteY31" fmla="*/ 2794567 h 2802013"/>
              <a:gd name="connsiteX32" fmla="*/ 1651528 w 5329829"/>
              <a:gd name="connsiteY32" fmla="*/ 2798545 h 2802013"/>
              <a:gd name="connsiteX33" fmla="*/ 1617342 w 5329829"/>
              <a:gd name="connsiteY33" fmla="*/ 2740535 h 2802013"/>
              <a:gd name="connsiteX34" fmla="*/ 1509001 w 5329829"/>
              <a:gd name="connsiteY34" fmla="*/ 2740534 h 2802013"/>
              <a:gd name="connsiteX35" fmla="*/ 1430790 w 5329829"/>
              <a:gd name="connsiteY35" fmla="*/ 2703658 h 2802013"/>
              <a:gd name="connsiteX36" fmla="*/ 1335655 w 5329829"/>
              <a:gd name="connsiteY36" fmla="*/ 2744869 h 2802013"/>
              <a:gd name="connsiteX37" fmla="*/ 1217271 w 5329829"/>
              <a:gd name="connsiteY37" fmla="*/ 2747110 h 2802013"/>
              <a:gd name="connsiteX38" fmla="*/ 1158252 w 5329829"/>
              <a:gd name="connsiteY38" fmla="*/ 2790542 h 2802013"/>
              <a:gd name="connsiteX39" fmla="*/ 1090050 w 5329829"/>
              <a:gd name="connsiteY39" fmla="*/ 2747111 h 2802013"/>
              <a:gd name="connsiteX40" fmla="*/ 1006298 w 5329829"/>
              <a:gd name="connsiteY40" fmla="*/ 2753536 h 2802013"/>
              <a:gd name="connsiteX41" fmla="*/ 931024 w 5329829"/>
              <a:gd name="connsiteY41" fmla="*/ 2723257 h 2802013"/>
              <a:gd name="connsiteX42" fmla="*/ 863233 w 5329829"/>
              <a:gd name="connsiteY42" fmla="*/ 2663542 h 2802013"/>
              <a:gd name="connsiteX43" fmla="*/ 780948 w 5329829"/>
              <a:gd name="connsiteY43" fmla="*/ 2753536 h 2802013"/>
              <a:gd name="connsiteX44" fmla="*/ 646219 w 5329829"/>
              <a:gd name="connsiteY44" fmla="*/ 2790541 h 2802013"/>
              <a:gd name="connsiteX45" fmla="*/ 533931 w 5329829"/>
              <a:gd name="connsiteY45" fmla="*/ 2766537 h 2802013"/>
              <a:gd name="connsiteX46" fmla="*/ 438867 w 5329829"/>
              <a:gd name="connsiteY46" fmla="*/ 2789836 h 2802013"/>
              <a:gd name="connsiteX47" fmla="*/ 376694 w 5329829"/>
              <a:gd name="connsiteY47" fmla="*/ 2659172 h 2802013"/>
              <a:gd name="connsiteX48" fmla="*/ 364156 w 5329829"/>
              <a:gd name="connsiteY48" fmla="*/ 183515 h 2802013"/>
              <a:gd name="connsiteX0" fmla="*/ 364156 w 5329829"/>
              <a:gd name="connsiteY0" fmla="*/ 181056 h 2799554"/>
              <a:gd name="connsiteX1" fmla="*/ 5329083 w 5329829"/>
              <a:gd name="connsiteY1" fmla="*/ 182141 h 2799554"/>
              <a:gd name="connsiteX2" fmla="*/ 5329084 w 5329829"/>
              <a:gd name="connsiteY2" fmla="*/ 2656713 h 2799554"/>
              <a:gd name="connsiteX3" fmla="*/ 5270013 w 5329829"/>
              <a:gd name="connsiteY3" fmla="*/ 2756242 h 2799554"/>
              <a:gd name="connsiteX4" fmla="*/ 5138167 w 5329829"/>
              <a:gd name="connsiteY4" fmla="*/ 2786668 h 2799554"/>
              <a:gd name="connsiteX5" fmla="*/ 4945651 w 5329829"/>
              <a:gd name="connsiteY5" fmla="*/ 2698490 h 2799554"/>
              <a:gd name="connsiteX6" fmla="*/ 4775706 w 5329829"/>
              <a:gd name="connsiteY6" fmla="*/ 2748568 h 2799554"/>
              <a:gd name="connsiteX7" fmla="*/ 4585507 w 5329829"/>
              <a:gd name="connsiteY7" fmla="*/ 2719646 h 2799554"/>
              <a:gd name="connsiteX8" fmla="*/ 4373037 w 5329829"/>
              <a:gd name="connsiteY8" fmla="*/ 2703516 h 2799554"/>
              <a:gd name="connsiteX9" fmla="*/ 4213199 w 5329829"/>
              <a:gd name="connsiteY9" fmla="*/ 2586398 h 2799554"/>
              <a:gd name="connsiteX10" fmla="*/ 4065854 w 5329829"/>
              <a:gd name="connsiteY10" fmla="*/ 2621067 h 2799554"/>
              <a:gd name="connsiteX11" fmla="*/ 3952252 w 5329829"/>
              <a:gd name="connsiteY11" fmla="*/ 2699995 h 2799554"/>
              <a:gd name="connsiteX12" fmla="*/ 3888546 w 5329829"/>
              <a:gd name="connsiteY12" fmla="*/ 2640477 h 2799554"/>
              <a:gd name="connsiteX13" fmla="*/ 3740831 w 5329829"/>
              <a:gd name="connsiteY13" fmla="*/ 2699073 h 2799554"/>
              <a:gd name="connsiteX14" fmla="*/ 3638921 w 5329829"/>
              <a:gd name="connsiteY14" fmla="*/ 2685812 h 2799554"/>
              <a:gd name="connsiteX15" fmla="*/ 3537487 w 5329829"/>
              <a:gd name="connsiteY15" fmla="*/ 2695962 h 2799554"/>
              <a:gd name="connsiteX16" fmla="*/ 3446659 w 5329829"/>
              <a:gd name="connsiteY16" fmla="*/ 2614526 h 2799554"/>
              <a:gd name="connsiteX17" fmla="*/ 3347377 w 5329829"/>
              <a:gd name="connsiteY17" fmla="*/ 2632974 h 2799554"/>
              <a:gd name="connsiteX18" fmla="*/ 3212125 w 5329829"/>
              <a:gd name="connsiteY18" fmla="*/ 2508392 h 2799554"/>
              <a:gd name="connsiteX19" fmla="*/ 3123199 w 5329829"/>
              <a:gd name="connsiteY19" fmla="*/ 2543166 h 2799554"/>
              <a:gd name="connsiteX20" fmla="*/ 3086425 w 5329829"/>
              <a:gd name="connsiteY20" fmla="*/ 2598094 h 2799554"/>
              <a:gd name="connsiteX21" fmla="*/ 3017112 w 5329829"/>
              <a:gd name="connsiteY21" fmla="*/ 2647068 h 2799554"/>
              <a:gd name="connsiteX22" fmla="*/ 2906308 w 5329829"/>
              <a:gd name="connsiteY22" fmla="*/ 2695662 h 2799554"/>
              <a:gd name="connsiteX23" fmla="*/ 2761461 w 5329829"/>
              <a:gd name="connsiteY23" fmla="*/ 2662497 h 2799554"/>
              <a:gd name="connsiteX24" fmla="*/ 2677286 w 5329829"/>
              <a:gd name="connsiteY24" fmla="*/ 2693344 h 2799554"/>
              <a:gd name="connsiteX25" fmla="*/ 2475405 w 5329829"/>
              <a:gd name="connsiteY25" fmla="*/ 2625401 h 2799554"/>
              <a:gd name="connsiteX26" fmla="*/ 2319279 w 5329829"/>
              <a:gd name="connsiteY26" fmla="*/ 2643447 h 2799554"/>
              <a:gd name="connsiteX27" fmla="*/ 2252138 w 5329829"/>
              <a:gd name="connsiteY27" fmla="*/ 2687295 h 2799554"/>
              <a:gd name="connsiteX28" fmla="*/ 2068042 w 5329829"/>
              <a:gd name="connsiteY28" fmla="*/ 2686072 h 2799554"/>
              <a:gd name="connsiteX29" fmla="*/ 1964035 w 5329829"/>
              <a:gd name="connsiteY29" fmla="*/ 2608067 h 2799554"/>
              <a:gd name="connsiteX30" fmla="*/ 1838394 w 5329829"/>
              <a:gd name="connsiteY30" fmla="*/ 2699483 h 2799554"/>
              <a:gd name="connsiteX31" fmla="*/ 1732323 w 5329829"/>
              <a:gd name="connsiteY31" fmla="*/ 2792108 h 2799554"/>
              <a:gd name="connsiteX32" fmla="*/ 1651528 w 5329829"/>
              <a:gd name="connsiteY32" fmla="*/ 2796086 h 2799554"/>
              <a:gd name="connsiteX33" fmla="*/ 1617342 w 5329829"/>
              <a:gd name="connsiteY33" fmla="*/ 2738076 h 2799554"/>
              <a:gd name="connsiteX34" fmla="*/ 1509001 w 5329829"/>
              <a:gd name="connsiteY34" fmla="*/ 2738075 h 2799554"/>
              <a:gd name="connsiteX35" fmla="*/ 1430790 w 5329829"/>
              <a:gd name="connsiteY35" fmla="*/ 2701199 h 2799554"/>
              <a:gd name="connsiteX36" fmla="*/ 1335655 w 5329829"/>
              <a:gd name="connsiteY36" fmla="*/ 2742410 h 2799554"/>
              <a:gd name="connsiteX37" fmla="*/ 1217271 w 5329829"/>
              <a:gd name="connsiteY37" fmla="*/ 2744651 h 2799554"/>
              <a:gd name="connsiteX38" fmla="*/ 1158252 w 5329829"/>
              <a:gd name="connsiteY38" fmla="*/ 2788083 h 2799554"/>
              <a:gd name="connsiteX39" fmla="*/ 1090050 w 5329829"/>
              <a:gd name="connsiteY39" fmla="*/ 2744652 h 2799554"/>
              <a:gd name="connsiteX40" fmla="*/ 1006298 w 5329829"/>
              <a:gd name="connsiteY40" fmla="*/ 2751077 h 2799554"/>
              <a:gd name="connsiteX41" fmla="*/ 931024 w 5329829"/>
              <a:gd name="connsiteY41" fmla="*/ 2720798 h 2799554"/>
              <a:gd name="connsiteX42" fmla="*/ 863233 w 5329829"/>
              <a:gd name="connsiteY42" fmla="*/ 2661083 h 2799554"/>
              <a:gd name="connsiteX43" fmla="*/ 780948 w 5329829"/>
              <a:gd name="connsiteY43" fmla="*/ 2751077 h 2799554"/>
              <a:gd name="connsiteX44" fmla="*/ 646219 w 5329829"/>
              <a:gd name="connsiteY44" fmla="*/ 2788082 h 2799554"/>
              <a:gd name="connsiteX45" fmla="*/ 533931 w 5329829"/>
              <a:gd name="connsiteY45" fmla="*/ 2764078 h 2799554"/>
              <a:gd name="connsiteX46" fmla="*/ 438867 w 5329829"/>
              <a:gd name="connsiteY46" fmla="*/ 2787377 h 2799554"/>
              <a:gd name="connsiteX47" fmla="*/ 376694 w 5329829"/>
              <a:gd name="connsiteY47" fmla="*/ 2656713 h 2799554"/>
              <a:gd name="connsiteX48" fmla="*/ 364156 w 5329829"/>
              <a:gd name="connsiteY48" fmla="*/ 181056 h 2799554"/>
              <a:gd name="connsiteX0" fmla="*/ 364156 w 5329829"/>
              <a:gd name="connsiteY0" fmla="*/ 181056 h 2799554"/>
              <a:gd name="connsiteX1" fmla="*/ 5329083 w 5329829"/>
              <a:gd name="connsiteY1" fmla="*/ 182141 h 2799554"/>
              <a:gd name="connsiteX2" fmla="*/ 5329084 w 5329829"/>
              <a:gd name="connsiteY2" fmla="*/ 2656713 h 2799554"/>
              <a:gd name="connsiteX3" fmla="*/ 5270013 w 5329829"/>
              <a:gd name="connsiteY3" fmla="*/ 2756242 h 2799554"/>
              <a:gd name="connsiteX4" fmla="*/ 5138167 w 5329829"/>
              <a:gd name="connsiteY4" fmla="*/ 2786668 h 2799554"/>
              <a:gd name="connsiteX5" fmla="*/ 4945651 w 5329829"/>
              <a:gd name="connsiteY5" fmla="*/ 2698490 h 2799554"/>
              <a:gd name="connsiteX6" fmla="*/ 4775706 w 5329829"/>
              <a:gd name="connsiteY6" fmla="*/ 2748568 h 2799554"/>
              <a:gd name="connsiteX7" fmla="*/ 4585507 w 5329829"/>
              <a:gd name="connsiteY7" fmla="*/ 2719646 h 2799554"/>
              <a:gd name="connsiteX8" fmla="*/ 4373037 w 5329829"/>
              <a:gd name="connsiteY8" fmla="*/ 2703516 h 2799554"/>
              <a:gd name="connsiteX9" fmla="*/ 4213199 w 5329829"/>
              <a:gd name="connsiteY9" fmla="*/ 2586398 h 2799554"/>
              <a:gd name="connsiteX10" fmla="*/ 4065854 w 5329829"/>
              <a:gd name="connsiteY10" fmla="*/ 2621067 h 2799554"/>
              <a:gd name="connsiteX11" fmla="*/ 3952252 w 5329829"/>
              <a:gd name="connsiteY11" fmla="*/ 2699995 h 2799554"/>
              <a:gd name="connsiteX12" fmla="*/ 3888546 w 5329829"/>
              <a:gd name="connsiteY12" fmla="*/ 2640477 h 2799554"/>
              <a:gd name="connsiteX13" fmla="*/ 3740831 w 5329829"/>
              <a:gd name="connsiteY13" fmla="*/ 2699073 h 2799554"/>
              <a:gd name="connsiteX14" fmla="*/ 3638921 w 5329829"/>
              <a:gd name="connsiteY14" fmla="*/ 2685812 h 2799554"/>
              <a:gd name="connsiteX15" fmla="*/ 3537487 w 5329829"/>
              <a:gd name="connsiteY15" fmla="*/ 2695962 h 2799554"/>
              <a:gd name="connsiteX16" fmla="*/ 3446659 w 5329829"/>
              <a:gd name="connsiteY16" fmla="*/ 2614526 h 2799554"/>
              <a:gd name="connsiteX17" fmla="*/ 3347377 w 5329829"/>
              <a:gd name="connsiteY17" fmla="*/ 2632974 h 2799554"/>
              <a:gd name="connsiteX18" fmla="*/ 3212125 w 5329829"/>
              <a:gd name="connsiteY18" fmla="*/ 2508392 h 2799554"/>
              <a:gd name="connsiteX19" fmla="*/ 3123199 w 5329829"/>
              <a:gd name="connsiteY19" fmla="*/ 2543166 h 2799554"/>
              <a:gd name="connsiteX20" fmla="*/ 3086425 w 5329829"/>
              <a:gd name="connsiteY20" fmla="*/ 2598094 h 2799554"/>
              <a:gd name="connsiteX21" fmla="*/ 3017112 w 5329829"/>
              <a:gd name="connsiteY21" fmla="*/ 2647068 h 2799554"/>
              <a:gd name="connsiteX22" fmla="*/ 2906308 w 5329829"/>
              <a:gd name="connsiteY22" fmla="*/ 2695662 h 2799554"/>
              <a:gd name="connsiteX23" fmla="*/ 2761461 w 5329829"/>
              <a:gd name="connsiteY23" fmla="*/ 2662497 h 2799554"/>
              <a:gd name="connsiteX24" fmla="*/ 2677286 w 5329829"/>
              <a:gd name="connsiteY24" fmla="*/ 2693344 h 2799554"/>
              <a:gd name="connsiteX25" fmla="*/ 2475405 w 5329829"/>
              <a:gd name="connsiteY25" fmla="*/ 2625401 h 2799554"/>
              <a:gd name="connsiteX26" fmla="*/ 2319279 w 5329829"/>
              <a:gd name="connsiteY26" fmla="*/ 2643447 h 2799554"/>
              <a:gd name="connsiteX27" fmla="*/ 2252138 w 5329829"/>
              <a:gd name="connsiteY27" fmla="*/ 2687295 h 2799554"/>
              <a:gd name="connsiteX28" fmla="*/ 2068042 w 5329829"/>
              <a:gd name="connsiteY28" fmla="*/ 2686072 h 2799554"/>
              <a:gd name="connsiteX29" fmla="*/ 1964035 w 5329829"/>
              <a:gd name="connsiteY29" fmla="*/ 2608067 h 2799554"/>
              <a:gd name="connsiteX30" fmla="*/ 1838394 w 5329829"/>
              <a:gd name="connsiteY30" fmla="*/ 2699483 h 2799554"/>
              <a:gd name="connsiteX31" fmla="*/ 1732323 w 5329829"/>
              <a:gd name="connsiteY31" fmla="*/ 2792108 h 2799554"/>
              <a:gd name="connsiteX32" fmla="*/ 1651528 w 5329829"/>
              <a:gd name="connsiteY32" fmla="*/ 2796086 h 2799554"/>
              <a:gd name="connsiteX33" fmla="*/ 1617342 w 5329829"/>
              <a:gd name="connsiteY33" fmla="*/ 2738076 h 2799554"/>
              <a:gd name="connsiteX34" fmla="*/ 1509001 w 5329829"/>
              <a:gd name="connsiteY34" fmla="*/ 2738075 h 2799554"/>
              <a:gd name="connsiteX35" fmla="*/ 1430790 w 5329829"/>
              <a:gd name="connsiteY35" fmla="*/ 2701199 h 2799554"/>
              <a:gd name="connsiteX36" fmla="*/ 1335655 w 5329829"/>
              <a:gd name="connsiteY36" fmla="*/ 2742410 h 2799554"/>
              <a:gd name="connsiteX37" fmla="*/ 1217271 w 5329829"/>
              <a:gd name="connsiteY37" fmla="*/ 2744651 h 2799554"/>
              <a:gd name="connsiteX38" fmla="*/ 1158252 w 5329829"/>
              <a:gd name="connsiteY38" fmla="*/ 2788083 h 2799554"/>
              <a:gd name="connsiteX39" fmla="*/ 1090050 w 5329829"/>
              <a:gd name="connsiteY39" fmla="*/ 2744652 h 2799554"/>
              <a:gd name="connsiteX40" fmla="*/ 1006298 w 5329829"/>
              <a:gd name="connsiteY40" fmla="*/ 2751077 h 2799554"/>
              <a:gd name="connsiteX41" fmla="*/ 931024 w 5329829"/>
              <a:gd name="connsiteY41" fmla="*/ 2720798 h 2799554"/>
              <a:gd name="connsiteX42" fmla="*/ 863233 w 5329829"/>
              <a:gd name="connsiteY42" fmla="*/ 2661083 h 2799554"/>
              <a:gd name="connsiteX43" fmla="*/ 780948 w 5329829"/>
              <a:gd name="connsiteY43" fmla="*/ 2751077 h 2799554"/>
              <a:gd name="connsiteX44" fmla="*/ 646219 w 5329829"/>
              <a:gd name="connsiteY44" fmla="*/ 2788082 h 2799554"/>
              <a:gd name="connsiteX45" fmla="*/ 533931 w 5329829"/>
              <a:gd name="connsiteY45" fmla="*/ 2764078 h 2799554"/>
              <a:gd name="connsiteX46" fmla="*/ 438867 w 5329829"/>
              <a:gd name="connsiteY46" fmla="*/ 2787377 h 2799554"/>
              <a:gd name="connsiteX47" fmla="*/ 376694 w 5329829"/>
              <a:gd name="connsiteY47" fmla="*/ 2656713 h 2799554"/>
              <a:gd name="connsiteX48" fmla="*/ 364156 w 5329829"/>
              <a:gd name="connsiteY48" fmla="*/ 181056 h 2799554"/>
              <a:gd name="connsiteX0" fmla="*/ 7 w 4965680"/>
              <a:gd name="connsiteY0" fmla="*/ 192 h 2618690"/>
              <a:gd name="connsiteX1" fmla="*/ 4964934 w 4965680"/>
              <a:gd name="connsiteY1" fmla="*/ 1277 h 2618690"/>
              <a:gd name="connsiteX2" fmla="*/ 4964935 w 4965680"/>
              <a:gd name="connsiteY2" fmla="*/ 2475849 h 2618690"/>
              <a:gd name="connsiteX3" fmla="*/ 4905864 w 4965680"/>
              <a:gd name="connsiteY3" fmla="*/ 2575378 h 2618690"/>
              <a:gd name="connsiteX4" fmla="*/ 4774018 w 4965680"/>
              <a:gd name="connsiteY4" fmla="*/ 2605804 h 2618690"/>
              <a:gd name="connsiteX5" fmla="*/ 4581502 w 4965680"/>
              <a:gd name="connsiteY5" fmla="*/ 2517626 h 2618690"/>
              <a:gd name="connsiteX6" fmla="*/ 4411557 w 4965680"/>
              <a:gd name="connsiteY6" fmla="*/ 2567704 h 2618690"/>
              <a:gd name="connsiteX7" fmla="*/ 4221358 w 4965680"/>
              <a:gd name="connsiteY7" fmla="*/ 2538782 h 2618690"/>
              <a:gd name="connsiteX8" fmla="*/ 4008888 w 4965680"/>
              <a:gd name="connsiteY8" fmla="*/ 2522652 h 2618690"/>
              <a:gd name="connsiteX9" fmla="*/ 3849050 w 4965680"/>
              <a:gd name="connsiteY9" fmla="*/ 2405534 h 2618690"/>
              <a:gd name="connsiteX10" fmla="*/ 3701705 w 4965680"/>
              <a:gd name="connsiteY10" fmla="*/ 2440203 h 2618690"/>
              <a:gd name="connsiteX11" fmla="*/ 3588103 w 4965680"/>
              <a:gd name="connsiteY11" fmla="*/ 2519131 h 2618690"/>
              <a:gd name="connsiteX12" fmla="*/ 3524397 w 4965680"/>
              <a:gd name="connsiteY12" fmla="*/ 2459613 h 2618690"/>
              <a:gd name="connsiteX13" fmla="*/ 3376682 w 4965680"/>
              <a:gd name="connsiteY13" fmla="*/ 2518209 h 2618690"/>
              <a:gd name="connsiteX14" fmla="*/ 3274772 w 4965680"/>
              <a:gd name="connsiteY14" fmla="*/ 2504948 h 2618690"/>
              <a:gd name="connsiteX15" fmla="*/ 3173338 w 4965680"/>
              <a:gd name="connsiteY15" fmla="*/ 2515098 h 2618690"/>
              <a:gd name="connsiteX16" fmla="*/ 3082510 w 4965680"/>
              <a:gd name="connsiteY16" fmla="*/ 2433662 h 2618690"/>
              <a:gd name="connsiteX17" fmla="*/ 2983228 w 4965680"/>
              <a:gd name="connsiteY17" fmla="*/ 2452110 h 2618690"/>
              <a:gd name="connsiteX18" fmla="*/ 2847976 w 4965680"/>
              <a:gd name="connsiteY18" fmla="*/ 2327528 h 2618690"/>
              <a:gd name="connsiteX19" fmla="*/ 2759050 w 4965680"/>
              <a:gd name="connsiteY19" fmla="*/ 2362302 h 2618690"/>
              <a:gd name="connsiteX20" fmla="*/ 2722276 w 4965680"/>
              <a:gd name="connsiteY20" fmla="*/ 2417230 h 2618690"/>
              <a:gd name="connsiteX21" fmla="*/ 2652963 w 4965680"/>
              <a:gd name="connsiteY21" fmla="*/ 2466204 h 2618690"/>
              <a:gd name="connsiteX22" fmla="*/ 2542159 w 4965680"/>
              <a:gd name="connsiteY22" fmla="*/ 2514798 h 2618690"/>
              <a:gd name="connsiteX23" fmla="*/ 2397312 w 4965680"/>
              <a:gd name="connsiteY23" fmla="*/ 2481633 h 2618690"/>
              <a:gd name="connsiteX24" fmla="*/ 2313137 w 4965680"/>
              <a:gd name="connsiteY24" fmla="*/ 2512480 h 2618690"/>
              <a:gd name="connsiteX25" fmla="*/ 2111256 w 4965680"/>
              <a:gd name="connsiteY25" fmla="*/ 2444537 h 2618690"/>
              <a:gd name="connsiteX26" fmla="*/ 1955130 w 4965680"/>
              <a:gd name="connsiteY26" fmla="*/ 2462583 h 2618690"/>
              <a:gd name="connsiteX27" fmla="*/ 1887989 w 4965680"/>
              <a:gd name="connsiteY27" fmla="*/ 2506431 h 2618690"/>
              <a:gd name="connsiteX28" fmla="*/ 1703893 w 4965680"/>
              <a:gd name="connsiteY28" fmla="*/ 2505208 h 2618690"/>
              <a:gd name="connsiteX29" fmla="*/ 1599886 w 4965680"/>
              <a:gd name="connsiteY29" fmla="*/ 2427203 h 2618690"/>
              <a:gd name="connsiteX30" fmla="*/ 1474245 w 4965680"/>
              <a:gd name="connsiteY30" fmla="*/ 2518619 h 2618690"/>
              <a:gd name="connsiteX31" fmla="*/ 1368174 w 4965680"/>
              <a:gd name="connsiteY31" fmla="*/ 2611244 h 2618690"/>
              <a:gd name="connsiteX32" fmla="*/ 1287379 w 4965680"/>
              <a:gd name="connsiteY32" fmla="*/ 2615222 h 2618690"/>
              <a:gd name="connsiteX33" fmla="*/ 1253193 w 4965680"/>
              <a:gd name="connsiteY33" fmla="*/ 2557212 h 2618690"/>
              <a:gd name="connsiteX34" fmla="*/ 1144852 w 4965680"/>
              <a:gd name="connsiteY34" fmla="*/ 2557211 h 2618690"/>
              <a:gd name="connsiteX35" fmla="*/ 1066641 w 4965680"/>
              <a:gd name="connsiteY35" fmla="*/ 2520335 h 2618690"/>
              <a:gd name="connsiteX36" fmla="*/ 971506 w 4965680"/>
              <a:gd name="connsiteY36" fmla="*/ 2561546 h 2618690"/>
              <a:gd name="connsiteX37" fmla="*/ 853122 w 4965680"/>
              <a:gd name="connsiteY37" fmla="*/ 2563787 h 2618690"/>
              <a:gd name="connsiteX38" fmla="*/ 794103 w 4965680"/>
              <a:gd name="connsiteY38" fmla="*/ 2607219 h 2618690"/>
              <a:gd name="connsiteX39" fmla="*/ 725901 w 4965680"/>
              <a:gd name="connsiteY39" fmla="*/ 2563788 h 2618690"/>
              <a:gd name="connsiteX40" fmla="*/ 642149 w 4965680"/>
              <a:gd name="connsiteY40" fmla="*/ 2570213 h 2618690"/>
              <a:gd name="connsiteX41" fmla="*/ 566875 w 4965680"/>
              <a:gd name="connsiteY41" fmla="*/ 2539934 h 2618690"/>
              <a:gd name="connsiteX42" fmla="*/ 499084 w 4965680"/>
              <a:gd name="connsiteY42" fmla="*/ 2480219 h 2618690"/>
              <a:gd name="connsiteX43" fmla="*/ 416799 w 4965680"/>
              <a:gd name="connsiteY43" fmla="*/ 2570213 h 2618690"/>
              <a:gd name="connsiteX44" fmla="*/ 282070 w 4965680"/>
              <a:gd name="connsiteY44" fmla="*/ 2607218 h 2618690"/>
              <a:gd name="connsiteX45" fmla="*/ 169782 w 4965680"/>
              <a:gd name="connsiteY45" fmla="*/ 2583214 h 2618690"/>
              <a:gd name="connsiteX46" fmla="*/ 74718 w 4965680"/>
              <a:gd name="connsiteY46" fmla="*/ 2606513 h 2618690"/>
              <a:gd name="connsiteX47" fmla="*/ 12545 w 4965680"/>
              <a:gd name="connsiteY47" fmla="*/ 2475849 h 2618690"/>
              <a:gd name="connsiteX48" fmla="*/ 7 w 4965680"/>
              <a:gd name="connsiteY48" fmla="*/ 192 h 2618690"/>
              <a:gd name="connsiteX0" fmla="*/ 7 w 4965680"/>
              <a:gd name="connsiteY0" fmla="*/ 192 h 2618690"/>
              <a:gd name="connsiteX1" fmla="*/ 4964934 w 4965680"/>
              <a:gd name="connsiteY1" fmla="*/ 1277 h 2618690"/>
              <a:gd name="connsiteX2" fmla="*/ 4964935 w 4965680"/>
              <a:gd name="connsiteY2" fmla="*/ 2475849 h 2618690"/>
              <a:gd name="connsiteX3" fmla="*/ 4905864 w 4965680"/>
              <a:gd name="connsiteY3" fmla="*/ 2575378 h 2618690"/>
              <a:gd name="connsiteX4" fmla="*/ 4774018 w 4965680"/>
              <a:gd name="connsiteY4" fmla="*/ 2605804 h 2618690"/>
              <a:gd name="connsiteX5" fmla="*/ 4581502 w 4965680"/>
              <a:gd name="connsiteY5" fmla="*/ 2517626 h 2618690"/>
              <a:gd name="connsiteX6" fmla="*/ 4411557 w 4965680"/>
              <a:gd name="connsiteY6" fmla="*/ 2567704 h 2618690"/>
              <a:gd name="connsiteX7" fmla="*/ 4221358 w 4965680"/>
              <a:gd name="connsiteY7" fmla="*/ 2538782 h 2618690"/>
              <a:gd name="connsiteX8" fmla="*/ 4008888 w 4965680"/>
              <a:gd name="connsiteY8" fmla="*/ 2522652 h 2618690"/>
              <a:gd name="connsiteX9" fmla="*/ 3849050 w 4965680"/>
              <a:gd name="connsiteY9" fmla="*/ 2405534 h 2618690"/>
              <a:gd name="connsiteX10" fmla="*/ 3701705 w 4965680"/>
              <a:gd name="connsiteY10" fmla="*/ 2440203 h 2618690"/>
              <a:gd name="connsiteX11" fmla="*/ 3588103 w 4965680"/>
              <a:gd name="connsiteY11" fmla="*/ 2519131 h 2618690"/>
              <a:gd name="connsiteX12" fmla="*/ 3524397 w 4965680"/>
              <a:gd name="connsiteY12" fmla="*/ 2459613 h 2618690"/>
              <a:gd name="connsiteX13" fmla="*/ 3376682 w 4965680"/>
              <a:gd name="connsiteY13" fmla="*/ 2518209 h 2618690"/>
              <a:gd name="connsiteX14" fmla="*/ 3274772 w 4965680"/>
              <a:gd name="connsiteY14" fmla="*/ 2504948 h 2618690"/>
              <a:gd name="connsiteX15" fmla="*/ 3173338 w 4965680"/>
              <a:gd name="connsiteY15" fmla="*/ 2515098 h 2618690"/>
              <a:gd name="connsiteX16" fmla="*/ 3082510 w 4965680"/>
              <a:gd name="connsiteY16" fmla="*/ 2433662 h 2618690"/>
              <a:gd name="connsiteX17" fmla="*/ 2983228 w 4965680"/>
              <a:gd name="connsiteY17" fmla="*/ 2452110 h 2618690"/>
              <a:gd name="connsiteX18" fmla="*/ 2847976 w 4965680"/>
              <a:gd name="connsiteY18" fmla="*/ 2327528 h 2618690"/>
              <a:gd name="connsiteX19" fmla="*/ 2759050 w 4965680"/>
              <a:gd name="connsiteY19" fmla="*/ 2362302 h 2618690"/>
              <a:gd name="connsiteX20" fmla="*/ 2722276 w 4965680"/>
              <a:gd name="connsiteY20" fmla="*/ 2417230 h 2618690"/>
              <a:gd name="connsiteX21" fmla="*/ 2652963 w 4965680"/>
              <a:gd name="connsiteY21" fmla="*/ 2466204 h 2618690"/>
              <a:gd name="connsiteX22" fmla="*/ 2542159 w 4965680"/>
              <a:gd name="connsiteY22" fmla="*/ 2514798 h 2618690"/>
              <a:gd name="connsiteX23" fmla="*/ 2397312 w 4965680"/>
              <a:gd name="connsiteY23" fmla="*/ 2481633 h 2618690"/>
              <a:gd name="connsiteX24" fmla="*/ 2313137 w 4965680"/>
              <a:gd name="connsiteY24" fmla="*/ 2512480 h 2618690"/>
              <a:gd name="connsiteX25" fmla="*/ 2111256 w 4965680"/>
              <a:gd name="connsiteY25" fmla="*/ 2444537 h 2618690"/>
              <a:gd name="connsiteX26" fmla="*/ 1955130 w 4965680"/>
              <a:gd name="connsiteY26" fmla="*/ 2462583 h 2618690"/>
              <a:gd name="connsiteX27" fmla="*/ 1887989 w 4965680"/>
              <a:gd name="connsiteY27" fmla="*/ 2506431 h 2618690"/>
              <a:gd name="connsiteX28" fmla="*/ 1703893 w 4965680"/>
              <a:gd name="connsiteY28" fmla="*/ 2505208 h 2618690"/>
              <a:gd name="connsiteX29" fmla="*/ 1599886 w 4965680"/>
              <a:gd name="connsiteY29" fmla="*/ 2427203 h 2618690"/>
              <a:gd name="connsiteX30" fmla="*/ 1474245 w 4965680"/>
              <a:gd name="connsiteY30" fmla="*/ 2518619 h 2618690"/>
              <a:gd name="connsiteX31" fmla="*/ 1368174 w 4965680"/>
              <a:gd name="connsiteY31" fmla="*/ 2611244 h 2618690"/>
              <a:gd name="connsiteX32" fmla="*/ 1287379 w 4965680"/>
              <a:gd name="connsiteY32" fmla="*/ 2615222 h 2618690"/>
              <a:gd name="connsiteX33" fmla="*/ 1253193 w 4965680"/>
              <a:gd name="connsiteY33" fmla="*/ 2557212 h 2618690"/>
              <a:gd name="connsiteX34" fmla="*/ 1144852 w 4965680"/>
              <a:gd name="connsiteY34" fmla="*/ 2557211 h 2618690"/>
              <a:gd name="connsiteX35" fmla="*/ 1066641 w 4965680"/>
              <a:gd name="connsiteY35" fmla="*/ 2520335 h 2618690"/>
              <a:gd name="connsiteX36" fmla="*/ 971506 w 4965680"/>
              <a:gd name="connsiteY36" fmla="*/ 2561546 h 2618690"/>
              <a:gd name="connsiteX37" fmla="*/ 853122 w 4965680"/>
              <a:gd name="connsiteY37" fmla="*/ 2563787 h 2618690"/>
              <a:gd name="connsiteX38" fmla="*/ 794103 w 4965680"/>
              <a:gd name="connsiteY38" fmla="*/ 2607219 h 2618690"/>
              <a:gd name="connsiteX39" fmla="*/ 725901 w 4965680"/>
              <a:gd name="connsiteY39" fmla="*/ 2563788 h 2618690"/>
              <a:gd name="connsiteX40" fmla="*/ 642149 w 4965680"/>
              <a:gd name="connsiteY40" fmla="*/ 2570213 h 2618690"/>
              <a:gd name="connsiteX41" fmla="*/ 566875 w 4965680"/>
              <a:gd name="connsiteY41" fmla="*/ 2539934 h 2618690"/>
              <a:gd name="connsiteX42" fmla="*/ 499084 w 4965680"/>
              <a:gd name="connsiteY42" fmla="*/ 2480219 h 2618690"/>
              <a:gd name="connsiteX43" fmla="*/ 416799 w 4965680"/>
              <a:gd name="connsiteY43" fmla="*/ 2570213 h 2618690"/>
              <a:gd name="connsiteX44" fmla="*/ 282070 w 4965680"/>
              <a:gd name="connsiteY44" fmla="*/ 2607218 h 2618690"/>
              <a:gd name="connsiteX45" fmla="*/ 169782 w 4965680"/>
              <a:gd name="connsiteY45" fmla="*/ 2583214 h 2618690"/>
              <a:gd name="connsiteX46" fmla="*/ 74718 w 4965680"/>
              <a:gd name="connsiteY46" fmla="*/ 2606513 h 2618690"/>
              <a:gd name="connsiteX47" fmla="*/ 12545 w 4965680"/>
              <a:gd name="connsiteY47" fmla="*/ 2475849 h 2618690"/>
              <a:gd name="connsiteX48" fmla="*/ 7 w 4965680"/>
              <a:gd name="connsiteY48" fmla="*/ 192 h 2618690"/>
              <a:gd name="connsiteX0" fmla="*/ 7 w 4965680"/>
              <a:gd name="connsiteY0" fmla="*/ 0 h 2618498"/>
              <a:gd name="connsiteX1" fmla="*/ 4964934 w 4965680"/>
              <a:gd name="connsiteY1" fmla="*/ 1085 h 2618498"/>
              <a:gd name="connsiteX2" fmla="*/ 4964935 w 4965680"/>
              <a:gd name="connsiteY2" fmla="*/ 2475657 h 2618498"/>
              <a:gd name="connsiteX3" fmla="*/ 4905864 w 4965680"/>
              <a:gd name="connsiteY3" fmla="*/ 2575186 h 2618498"/>
              <a:gd name="connsiteX4" fmla="*/ 4774018 w 4965680"/>
              <a:gd name="connsiteY4" fmla="*/ 2605612 h 2618498"/>
              <a:gd name="connsiteX5" fmla="*/ 4581502 w 4965680"/>
              <a:gd name="connsiteY5" fmla="*/ 2517434 h 2618498"/>
              <a:gd name="connsiteX6" fmla="*/ 4411557 w 4965680"/>
              <a:gd name="connsiteY6" fmla="*/ 2567512 h 2618498"/>
              <a:gd name="connsiteX7" fmla="*/ 4221358 w 4965680"/>
              <a:gd name="connsiteY7" fmla="*/ 2538590 h 2618498"/>
              <a:gd name="connsiteX8" fmla="*/ 4008888 w 4965680"/>
              <a:gd name="connsiteY8" fmla="*/ 2522460 h 2618498"/>
              <a:gd name="connsiteX9" fmla="*/ 3849050 w 4965680"/>
              <a:gd name="connsiteY9" fmla="*/ 2405342 h 2618498"/>
              <a:gd name="connsiteX10" fmla="*/ 3701705 w 4965680"/>
              <a:gd name="connsiteY10" fmla="*/ 2440011 h 2618498"/>
              <a:gd name="connsiteX11" fmla="*/ 3588103 w 4965680"/>
              <a:gd name="connsiteY11" fmla="*/ 2518939 h 2618498"/>
              <a:gd name="connsiteX12" fmla="*/ 3524397 w 4965680"/>
              <a:gd name="connsiteY12" fmla="*/ 2459421 h 2618498"/>
              <a:gd name="connsiteX13" fmla="*/ 3376682 w 4965680"/>
              <a:gd name="connsiteY13" fmla="*/ 2518017 h 2618498"/>
              <a:gd name="connsiteX14" fmla="*/ 3274772 w 4965680"/>
              <a:gd name="connsiteY14" fmla="*/ 2504756 h 2618498"/>
              <a:gd name="connsiteX15" fmla="*/ 3173338 w 4965680"/>
              <a:gd name="connsiteY15" fmla="*/ 2514906 h 2618498"/>
              <a:gd name="connsiteX16" fmla="*/ 3082510 w 4965680"/>
              <a:gd name="connsiteY16" fmla="*/ 2433470 h 2618498"/>
              <a:gd name="connsiteX17" fmla="*/ 2983228 w 4965680"/>
              <a:gd name="connsiteY17" fmla="*/ 2451918 h 2618498"/>
              <a:gd name="connsiteX18" fmla="*/ 2847976 w 4965680"/>
              <a:gd name="connsiteY18" fmla="*/ 2327336 h 2618498"/>
              <a:gd name="connsiteX19" fmla="*/ 2759050 w 4965680"/>
              <a:gd name="connsiteY19" fmla="*/ 2362110 h 2618498"/>
              <a:gd name="connsiteX20" fmla="*/ 2722276 w 4965680"/>
              <a:gd name="connsiteY20" fmla="*/ 2417038 h 2618498"/>
              <a:gd name="connsiteX21" fmla="*/ 2652963 w 4965680"/>
              <a:gd name="connsiteY21" fmla="*/ 2466012 h 2618498"/>
              <a:gd name="connsiteX22" fmla="*/ 2542159 w 4965680"/>
              <a:gd name="connsiteY22" fmla="*/ 2514606 h 2618498"/>
              <a:gd name="connsiteX23" fmla="*/ 2397312 w 4965680"/>
              <a:gd name="connsiteY23" fmla="*/ 2481441 h 2618498"/>
              <a:gd name="connsiteX24" fmla="*/ 2313137 w 4965680"/>
              <a:gd name="connsiteY24" fmla="*/ 2512288 h 2618498"/>
              <a:gd name="connsiteX25" fmla="*/ 2111256 w 4965680"/>
              <a:gd name="connsiteY25" fmla="*/ 2444345 h 2618498"/>
              <a:gd name="connsiteX26" fmla="*/ 1955130 w 4965680"/>
              <a:gd name="connsiteY26" fmla="*/ 2462391 h 2618498"/>
              <a:gd name="connsiteX27" fmla="*/ 1887989 w 4965680"/>
              <a:gd name="connsiteY27" fmla="*/ 2506239 h 2618498"/>
              <a:gd name="connsiteX28" fmla="*/ 1703893 w 4965680"/>
              <a:gd name="connsiteY28" fmla="*/ 2505016 h 2618498"/>
              <a:gd name="connsiteX29" fmla="*/ 1599886 w 4965680"/>
              <a:gd name="connsiteY29" fmla="*/ 2427011 h 2618498"/>
              <a:gd name="connsiteX30" fmla="*/ 1474245 w 4965680"/>
              <a:gd name="connsiteY30" fmla="*/ 2518427 h 2618498"/>
              <a:gd name="connsiteX31" fmla="*/ 1368174 w 4965680"/>
              <a:gd name="connsiteY31" fmla="*/ 2611052 h 2618498"/>
              <a:gd name="connsiteX32" fmla="*/ 1287379 w 4965680"/>
              <a:gd name="connsiteY32" fmla="*/ 2615030 h 2618498"/>
              <a:gd name="connsiteX33" fmla="*/ 1253193 w 4965680"/>
              <a:gd name="connsiteY33" fmla="*/ 2557020 h 2618498"/>
              <a:gd name="connsiteX34" fmla="*/ 1144852 w 4965680"/>
              <a:gd name="connsiteY34" fmla="*/ 2557019 h 2618498"/>
              <a:gd name="connsiteX35" fmla="*/ 1066641 w 4965680"/>
              <a:gd name="connsiteY35" fmla="*/ 2520143 h 2618498"/>
              <a:gd name="connsiteX36" fmla="*/ 971506 w 4965680"/>
              <a:gd name="connsiteY36" fmla="*/ 2561354 h 2618498"/>
              <a:gd name="connsiteX37" fmla="*/ 853122 w 4965680"/>
              <a:gd name="connsiteY37" fmla="*/ 2563595 h 2618498"/>
              <a:gd name="connsiteX38" fmla="*/ 794103 w 4965680"/>
              <a:gd name="connsiteY38" fmla="*/ 2607027 h 2618498"/>
              <a:gd name="connsiteX39" fmla="*/ 725901 w 4965680"/>
              <a:gd name="connsiteY39" fmla="*/ 2563596 h 2618498"/>
              <a:gd name="connsiteX40" fmla="*/ 642149 w 4965680"/>
              <a:gd name="connsiteY40" fmla="*/ 2570021 h 2618498"/>
              <a:gd name="connsiteX41" fmla="*/ 566875 w 4965680"/>
              <a:gd name="connsiteY41" fmla="*/ 2539742 h 2618498"/>
              <a:gd name="connsiteX42" fmla="*/ 499084 w 4965680"/>
              <a:gd name="connsiteY42" fmla="*/ 2480027 h 2618498"/>
              <a:gd name="connsiteX43" fmla="*/ 416799 w 4965680"/>
              <a:gd name="connsiteY43" fmla="*/ 2570021 h 2618498"/>
              <a:gd name="connsiteX44" fmla="*/ 282070 w 4965680"/>
              <a:gd name="connsiteY44" fmla="*/ 2607026 h 2618498"/>
              <a:gd name="connsiteX45" fmla="*/ 169782 w 4965680"/>
              <a:gd name="connsiteY45" fmla="*/ 2583022 h 2618498"/>
              <a:gd name="connsiteX46" fmla="*/ 74718 w 4965680"/>
              <a:gd name="connsiteY46" fmla="*/ 2606321 h 2618498"/>
              <a:gd name="connsiteX47" fmla="*/ 12545 w 4965680"/>
              <a:gd name="connsiteY47" fmla="*/ 2475657 h 2618498"/>
              <a:gd name="connsiteX48" fmla="*/ 7 w 4965680"/>
              <a:gd name="connsiteY48" fmla="*/ 0 h 2618498"/>
              <a:gd name="connsiteX0" fmla="*/ 0 w 4965673"/>
              <a:gd name="connsiteY0" fmla="*/ 128934 h 2747432"/>
              <a:gd name="connsiteX1" fmla="*/ 4964927 w 4965673"/>
              <a:gd name="connsiteY1" fmla="*/ 130019 h 2747432"/>
              <a:gd name="connsiteX2" fmla="*/ 4964928 w 4965673"/>
              <a:gd name="connsiteY2" fmla="*/ 2604591 h 2747432"/>
              <a:gd name="connsiteX3" fmla="*/ 4905857 w 4965673"/>
              <a:gd name="connsiteY3" fmla="*/ 2704120 h 2747432"/>
              <a:gd name="connsiteX4" fmla="*/ 4774011 w 4965673"/>
              <a:gd name="connsiteY4" fmla="*/ 2734546 h 2747432"/>
              <a:gd name="connsiteX5" fmla="*/ 4581495 w 4965673"/>
              <a:gd name="connsiteY5" fmla="*/ 2646368 h 2747432"/>
              <a:gd name="connsiteX6" fmla="*/ 4411550 w 4965673"/>
              <a:gd name="connsiteY6" fmla="*/ 2696446 h 2747432"/>
              <a:gd name="connsiteX7" fmla="*/ 4221351 w 4965673"/>
              <a:gd name="connsiteY7" fmla="*/ 2667524 h 2747432"/>
              <a:gd name="connsiteX8" fmla="*/ 4008881 w 4965673"/>
              <a:gd name="connsiteY8" fmla="*/ 2651394 h 2747432"/>
              <a:gd name="connsiteX9" fmla="*/ 3849043 w 4965673"/>
              <a:gd name="connsiteY9" fmla="*/ 2534276 h 2747432"/>
              <a:gd name="connsiteX10" fmla="*/ 3701698 w 4965673"/>
              <a:gd name="connsiteY10" fmla="*/ 2568945 h 2747432"/>
              <a:gd name="connsiteX11" fmla="*/ 3588096 w 4965673"/>
              <a:gd name="connsiteY11" fmla="*/ 2647873 h 2747432"/>
              <a:gd name="connsiteX12" fmla="*/ 3524390 w 4965673"/>
              <a:gd name="connsiteY12" fmla="*/ 2588355 h 2747432"/>
              <a:gd name="connsiteX13" fmla="*/ 3376675 w 4965673"/>
              <a:gd name="connsiteY13" fmla="*/ 2646951 h 2747432"/>
              <a:gd name="connsiteX14" fmla="*/ 3274765 w 4965673"/>
              <a:gd name="connsiteY14" fmla="*/ 2633690 h 2747432"/>
              <a:gd name="connsiteX15" fmla="*/ 3173331 w 4965673"/>
              <a:gd name="connsiteY15" fmla="*/ 2643840 h 2747432"/>
              <a:gd name="connsiteX16" fmla="*/ 3082503 w 4965673"/>
              <a:gd name="connsiteY16" fmla="*/ 2562404 h 2747432"/>
              <a:gd name="connsiteX17" fmla="*/ 2983221 w 4965673"/>
              <a:gd name="connsiteY17" fmla="*/ 2580852 h 2747432"/>
              <a:gd name="connsiteX18" fmla="*/ 2847969 w 4965673"/>
              <a:gd name="connsiteY18" fmla="*/ 2456270 h 2747432"/>
              <a:gd name="connsiteX19" fmla="*/ 2759043 w 4965673"/>
              <a:gd name="connsiteY19" fmla="*/ 2491044 h 2747432"/>
              <a:gd name="connsiteX20" fmla="*/ 2722269 w 4965673"/>
              <a:gd name="connsiteY20" fmla="*/ 2545972 h 2747432"/>
              <a:gd name="connsiteX21" fmla="*/ 2652956 w 4965673"/>
              <a:gd name="connsiteY21" fmla="*/ 2594946 h 2747432"/>
              <a:gd name="connsiteX22" fmla="*/ 2542152 w 4965673"/>
              <a:gd name="connsiteY22" fmla="*/ 2643540 h 2747432"/>
              <a:gd name="connsiteX23" fmla="*/ 2397305 w 4965673"/>
              <a:gd name="connsiteY23" fmla="*/ 2610375 h 2747432"/>
              <a:gd name="connsiteX24" fmla="*/ 2313130 w 4965673"/>
              <a:gd name="connsiteY24" fmla="*/ 2641222 h 2747432"/>
              <a:gd name="connsiteX25" fmla="*/ 2111249 w 4965673"/>
              <a:gd name="connsiteY25" fmla="*/ 2573279 h 2747432"/>
              <a:gd name="connsiteX26" fmla="*/ 1955123 w 4965673"/>
              <a:gd name="connsiteY26" fmla="*/ 2591325 h 2747432"/>
              <a:gd name="connsiteX27" fmla="*/ 1887982 w 4965673"/>
              <a:gd name="connsiteY27" fmla="*/ 2635173 h 2747432"/>
              <a:gd name="connsiteX28" fmla="*/ 1703886 w 4965673"/>
              <a:gd name="connsiteY28" fmla="*/ 2633950 h 2747432"/>
              <a:gd name="connsiteX29" fmla="*/ 1599879 w 4965673"/>
              <a:gd name="connsiteY29" fmla="*/ 2555945 h 2747432"/>
              <a:gd name="connsiteX30" fmla="*/ 1474238 w 4965673"/>
              <a:gd name="connsiteY30" fmla="*/ 2647361 h 2747432"/>
              <a:gd name="connsiteX31" fmla="*/ 1368167 w 4965673"/>
              <a:gd name="connsiteY31" fmla="*/ 2739986 h 2747432"/>
              <a:gd name="connsiteX32" fmla="*/ 1287372 w 4965673"/>
              <a:gd name="connsiteY32" fmla="*/ 2743964 h 2747432"/>
              <a:gd name="connsiteX33" fmla="*/ 1253186 w 4965673"/>
              <a:gd name="connsiteY33" fmla="*/ 2685954 h 2747432"/>
              <a:gd name="connsiteX34" fmla="*/ 1144845 w 4965673"/>
              <a:gd name="connsiteY34" fmla="*/ 2685953 h 2747432"/>
              <a:gd name="connsiteX35" fmla="*/ 1066634 w 4965673"/>
              <a:gd name="connsiteY35" fmla="*/ 2649077 h 2747432"/>
              <a:gd name="connsiteX36" fmla="*/ 971499 w 4965673"/>
              <a:gd name="connsiteY36" fmla="*/ 2690288 h 2747432"/>
              <a:gd name="connsiteX37" fmla="*/ 853115 w 4965673"/>
              <a:gd name="connsiteY37" fmla="*/ 2692529 h 2747432"/>
              <a:gd name="connsiteX38" fmla="*/ 794096 w 4965673"/>
              <a:gd name="connsiteY38" fmla="*/ 2735961 h 2747432"/>
              <a:gd name="connsiteX39" fmla="*/ 725894 w 4965673"/>
              <a:gd name="connsiteY39" fmla="*/ 2692530 h 2747432"/>
              <a:gd name="connsiteX40" fmla="*/ 642142 w 4965673"/>
              <a:gd name="connsiteY40" fmla="*/ 2698955 h 2747432"/>
              <a:gd name="connsiteX41" fmla="*/ 566868 w 4965673"/>
              <a:gd name="connsiteY41" fmla="*/ 2668676 h 2747432"/>
              <a:gd name="connsiteX42" fmla="*/ 499077 w 4965673"/>
              <a:gd name="connsiteY42" fmla="*/ 2608961 h 2747432"/>
              <a:gd name="connsiteX43" fmla="*/ 416792 w 4965673"/>
              <a:gd name="connsiteY43" fmla="*/ 2698955 h 2747432"/>
              <a:gd name="connsiteX44" fmla="*/ 282063 w 4965673"/>
              <a:gd name="connsiteY44" fmla="*/ 2735960 h 2747432"/>
              <a:gd name="connsiteX45" fmla="*/ 169775 w 4965673"/>
              <a:gd name="connsiteY45" fmla="*/ 2711956 h 2747432"/>
              <a:gd name="connsiteX46" fmla="*/ 74711 w 4965673"/>
              <a:gd name="connsiteY46" fmla="*/ 2735255 h 2747432"/>
              <a:gd name="connsiteX47" fmla="*/ 12538 w 4965673"/>
              <a:gd name="connsiteY47" fmla="*/ 2604591 h 2747432"/>
              <a:gd name="connsiteX48" fmla="*/ 0 w 4965673"/>
              <a:gd name="connsiteY48" fmla="*/ 128934 h 2747432"/>
              <a:gd name="connsiteX0" fmla="*/ 0 w 4965673"/>
              <a:gd name="connsiteY0" fmla="*/ 0 h 2618498"/>
              <a:gd name="connsiteX1" fmla="*/ 4964927 w 4965673"/>
              <a:gd name="connsiteY1" fmla="*/ 1085 h 2618498"/>
              <a:gd name="connsiteX2" fmla="*/ 4964928 w 4965673"/>
              <a:gd name="connsiteY2" fmla="*/ 2475657 h 2618498"/>
              <a:gd name="connsiteX3" fmla="*/ 4905857 w 4965673"/>
              <a:gd name="connsiteY3" fmla="*/ 2575186 h 2618498"/>
              <a:gd name="connsiteX4" fmla="*/ 4774011 w 4965673"/>
              <a:gd name="connsiteY4" fmla="*/ 2605612 h 2618498"/>
              <a:gd name="connsiteX5" fmla="*/ 4581495 w 4965673"/>
              <a:gd name="connsiteY5" fmla="*/ 2517434 h 2618498"/>
              <a:gd name="connsiteX6" fmla="*/ 4411550 w 4965673"/>
              <a:gd name="connsiteY6" fmla="*/ 2567512 h 2618498"/>
              <a:gd name="connsiteX7" fmla="*/ 4221351 w 4965673"/>
              <a:gd name="connsiteY7" fmla="*/ 2538590 h 2618498"/>
              <a:gd name="connsiteX8" fmla="*/ 4008881 w 4965673"/>
              <a:gd name="connsiteY8" fmla="*/ 2522460 h 2618498"/>
              <a:gd name="connsiteX9" fmla="*/ 3849043 w 4965673"/>
              <a:gd name="connsiteY9" fmla="*/ 2405342 h 2618498"/>
              <a:gd name="connsiteX10" fmla="*/ 3701698 w 4965673"/>
              <a:gd name="connsiteY10" fmla="*/ 2440011 h 2618498"/>
              <a:gd name="connsiteX11" fmla="*/ 3588096 w 4965673"/>
              <a:gd name="connsiteY11" fmla="*/ 2518939 h 2618498"/>
              <a:gd name="connsiteX12" fmla="*/ 3524390 w 4965673"/>
              <a:gd name="connsiteY12" fmla="*/ 2459421 h 2618498"/>
              <a:gd name="connsiteX13" fmla="*/ 3376675 w 4965673"/>
              <a:gd name="connsiteY13" fmla="*/ 2518017 h 2618498"/>
              <a:gd name="connsiteX14" fmla="*/ 3274765 w 4965673"/>
              <a:gd name="connsiteY14" fmla="*/ 2504756 h 2618498"/>
              <a:gd name="connsiteX15" fmla="*/ 3173331 w 4965673"/>
              <a:gd name="connsiteY15" fmla="*/ 2514906 h 2618498"/>
              <a:gd name="connsiteX16" fmla="*/ 3082503 w 4965673"/>
              <a:gd name="connsiteY16" fmla="*/ 2433470 h 2618498"/>
              <a:gd name="connsiteX17" fmla="*/ 2983221 w 4965673"/>
              <a:gd name="connsiteY17" fmla="*/ 2451918 h 2618498"/>
              <a:gd name="connsiteX18" fmla="*/ 2847969 w 4965673"/>
              <a:gd name="connsiteY18" fmla="*/ 2327336 h 2618498"/>
              <a:gd name="connsiteX19" fmla="*/ 2759043 w 4965673"/>
              <a:gd name="connsiteY19" fmla="*/ 2362110 h 2618498"/>
              <a:gd name="connsiteX20" fmla="*/ 2722269 w 4965673"/>
              <a:gd name="connsiteY20" fmla="*/ 2417038 h 2618498"/>
              <a:gd name="connsiteX21" fmla="*/ 2652956 w 4965673"/>
              <a:gd name="connsiteY21" fmla="*/ 2466012 h 2618498"/>
              <a:gd name="connsiteX22" fmla="*/ 2542152 w 4965673"/>
              <a:gd name="connsiteY22" fmla="*/ 2514606 h 2618498"/>
              <a:gd name="connsiteX23" fmla="*/ 2397305 w 4965673"/>
              <a:gd name="connsiteY23" fmla="*/ 2481441 h 2618498"/>
              <a:gd name="connsiteX24" fmla="*/ 2313130 w 4965673"/>
              <a:gd name="connsiteY24" fmla="*/ 2512288 h 2618498"/>
              <a:gd name="connsiteX25" fmla="*/ 2111249 w 4965673"/>
              <a:gd name="connsiteY25" fmla="*/ 2444345 h 2618498"/>
              <a:gd name="connsiteX26" fmla="*/ 1955123 w 4965673"/>
              <a:gd name="connsiteY26" fmla="*/ 2462391 h 2618498"/>
              <a:gd name="connsiteX27" fmla="*/ 1887982 w 4965673"/>
              <a:gd name="connsiteY27" fmla="*/ 2506239 h 2618498"/>
              <a:gd name="connsiteX28" fmla="*/ 1703886 w 4965673"/>
              <a:gd name="connsiteY28" fmla="*/ 2505016 h 2618498"/>
              <a:gd name="connsiteX29" fmla="*/ 1599879 w 4965673"/>
              <a:gd name="connsiteY29" fmla="*/ 2427011 h 2618498"/>
              <a:gd name="connsiteX30" fmla="*/ 1474238 w 4965673"/>
              <a:gd name="connsiteY30" fmla="*/ 2518427 h 2618498"/>
              <a:gd name="connsiteX31" fmla="*/ 1368167 w 4965673"/>
              <a:gd name="connsiteY31" fmla="*/ 2611052 h 2618498"/>
              <a:gd name="connsiteX32" fmla="*/ 1287372 w 4965673"/>
              <a:gd name="connsiteY32" fmla="*/ 2615030 h 2618498"/>
              <a:gd name="connsiteX33" fmla="*/ 1253186 w 4965673"/>
              <a:gd name="connsiteY33" fmla="*/ 2557020 h 2618498"/>
              <a:gd name="connsiteX34" fmla="*/ 1144845 w 4965673"/>
              <a:gd name="connsiteY34" fmla="*/ 2557019 h 2618498"/>
              <a:gd name="connsiteX35" fmla="*/ 1066634 w 4965673"/>
              <a:gd name="connsiteY35" fmla="*/ 2520143 h 2618498"/>
              <a:gd name="connsiteX36" fmla="*/ 971499 w 4965673"/>
              <a:gd name="connsiteY36" fmla="*/ 2561354 h 2618498"/>
              <a:gd name="connsiteX37" fmla="*/ 853115 w 4965673"/>
              <a:gd name="connsiteY37" fmla="*/ 2563595 h 2618498"/>
              <a:gd name="connsiteX38" fmla="*/ 794096 w 4965673"/>
              <a:gd name="connsiteY38" fmla="*/ 2607027 h 2618498"/>
              <a:gd name="connsiteX39" fmla="*/ 725894 w 4965673"/>
              <a:gd name="connsiteY39" fmla="*/ 2563596 h 2618498"/>
              <a:gd name="connsiteX40" fmla="*/ 642142 w 4965673"/>
              <a:gd name="connsiteY40" fmla="*/ 2570021 h 2618498"/>
              <a:gd name="connsiteX41" fmla="*/ 566868 w 4965673"/>
              <a:gd name="connsiteY41" fmla="*/ 2539742 h 2618498"/>
              <a:gd name="connsiteX42" fmla="*/ 499077 w 4965673"/>
              <a:gd name="connsiteY42" fmla="*/ 2480027 h 2618498"/>
              <a:gd name="connsiteX43" fmla="*/ 416792 w 4965673"/>
              <a:gd name="connsiteY43" fmla="*/ 2570021 h 2618498"/>
              <a:gd name="connsiteX44" fmla="*/ 282063 w 4965673"/>
              <a:gd name="connsiteY44" fmla="*/ 2607026 h 2618498"/>
              <a:gd name="connsiteX45" fmla="*/ 169775 w 4965673"/>
              <a:gd name="connsiteY45" fmla="*/ 2583022 h 2618498"/>
              <a:gd name="connsiteX46" fmla="*/ 74711 w 4965673"/>
              <a:gd name="connsiteY46" fmla="*/ 2606321 h 2618498"/>
              <a:gd name="connsiteX47" fmla="*/ 12538 w 4965673"/>
              <a:gd name="connsiteY47" fmla="*/ 2475657 h 2618498"/>
              <a:gd name="connsiteX48" fmla="*/ 0 w 4965673"/>
              <a:gd name="connsiteY48" fmla="*/ 0 h 2618498"/>
              <a:gd name="connsiteX0" fmla="*/ 2759 w 4968432"/>
              <a:gd name="connsiteY0" fmla="*/ 0 h 2618498"/>
              <a:gd name="connsiteX1" fmla="*/ 4967686 w 4968432"/>
              <a:gd name="connsiteY1" fmla="*/ 1085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4968432"/>
              <a:gd name="connsiteY0" fmla="*/ 0 h 2618498"/>
              <a:gd name="connsiteX1" fmla="*/ 4788963 w 4968432"/>
              <a:gd name="connsiteY1" fmla="*/ 224491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4973271"/>
              <a:gd name="connsiteY0" fmla="*/ 0 h 2618498"/>
              <a:gd name="connsiteX1" fmla="*/ 4973271 w 4973271"/>
              <a:gd name="connsiteY1" fmla="*/ 12258 h 2618498"/>
              <a:gd name="connsiteX2" fmla="*/ 4967687 w 4973271"/>
              <a:gd name="connsiteY2" fmla="*/ 2475657 h 2618498"/>
              <a:gd name="connsiteX3" fmla="*/ 4908616 w 4973271"/>
              <a:gd name="connsiteY3" fmla="*/ 2575186 h 2618498"/>
              <a:gd name="connsiteX4" fmla="*/ 4776770 w 4973271"/>
              <a:gd name="connsiteY4" fmla="*/ 2605612 h 2618498"/>
              <a:gd name="connsiteX5" fmla="*/ 4584254 w 4973271"/>
              <a:gd name="connsiteY5" fmla="*/ 2517434 h 2618498"/>
              <a:gd name="connsiteX6" fmla="*/ 4414309 w 4973271"/>
              <a:gd name="connsiteY6" fmla="*/ 2567512 h 2618498"/>
              <a:gd name="connsiteX7" fmla="*/ 4224110 w 4973271"/>
              <a:gd name="connsiteY7" fmla="*/ 2538590 h 2618498"/>
              <a:gd name="connsiteX8" fmla="*/ 4011640 w 4973271"/>
              <a:gd name="connsiteY8" fmla="*/ 2522460 h 2618498"/>
              <a:gd name="connsiteX9" fmla="*/ 3851802 w 4973271"/>
              <a:gd name="connsiteY9" fmla="*/ 2405342 h 2618498"/>
              <a:gd name="connsiteX10" fmla="*/ 3704457 w 4973271"/>
              <a:gd name="connsiteY10" fmla="*/ 2440011 h 2618498"/>
              <a:gd name="connsiteX11" fmla="*/ 3590855 w 4973271"/>
              <a:gd name="connsiteY11" fmla="*/ 2518939 h 2618498"/>
              <a:gd name="connsiteX12" fmla="*/ 3527149 w 4973271"/>
              <a:gd name="connsiteY12" fmla="*/ 2459421 h 2618498"/>
              <a:gd name="connsiteX13" fmla="*/ 3379434 w 4973271"/>
              <a:gd name="connsiteY13" fmla="*/ 2518017 h 2618498"/>
              <a:gd name="connsiteX14" fmla="*/ 3277524 w 4973271"/>
              <a:gd name="connsiteY14" fmla="*/ 2504756 h 2618498"/>
              <a:gd name="connsiteX15" fmla="*/ 3176090 w 4973271"/>
              <a:gd name="connsiteY15" fmla="*/ 2514906 h 2618498"/>
              <a:gd name="connsiteX16" fmla="*/ 3085262 w 4973271"/>
              <a:gd name="connsiteY16" fmla="*/ 2433470 h 2618498"/>
              <a:gd name="connsiteX17" fmla="*/ 2985980 w 4973271"/>
              <a:gd name="connsiteY17" fmla="*/ 2451918 h 2618498"/>
              <a:gd name="connsiteX18" fmla="*/ 2850728 w 4973271"/>
              <a:gd name="connsiteY18" fmla="*/ 2327336 h 2618498"/>
              <a:gd name="connsiteX19" fmla="*/ 2761802 w 4973271"/>
              <a:gd name="connsiteY19" fmla="*/ 2362110 h 2618498"/>
              <a:gd name="connsiteX20" fmla="*/ 2725028 w 4973271"/>
              <a:gd name="connsiteY20" fmla="*/ 2417038 h 2618498"/>
              <a:gd name="connsiteX21" fmla="*/ 2655715 w 4973271"/>
              <a:gd name="connsiteY21" fmla="*/ 2466012 h 2618498"/>
              <a:gd name="connsiteX22" fmla="*/ 2544911 w 4973271"/>
              <a:gd name="connsiteY22" fmla="*/ 2514606 h 2618498"/>
              <a:gd name="connsiteX23" fmla="*/ 2400064 w 4973271"/>
              <a:gd name="connsiteY23" fmla="*/ 2481441 h 2618498"/>
              <a:gd name="connsiteX24" fmla="*/ 2315889 w 4973271"/>
              <a:gd name="connsiteY24" fmla="*/ 2512288 h 2618498"/>
              <a:gd name="connsiteX25" fmla="*/ 2114008 w 4973271"/>
              <a:gd name="connsiteY25" fmla="*/ 2444345 h 2618498"/>
              <a:gd name="connsiteX26" fmla="*/ 1957882 w 4973271"/>
              <a:gd name="connsiteY26" fmla="*/ 2462391 h 2618498"/>
              <a:gd name="connsiteX27" fmla="*/ 1890741 w 4973271"/>
              <a:gd name="connsiteY27" fmla="*/ 2506239 h 2618498"/>
              <a:gd name="connsiteX28" fmla="*/ 1706645 w 4973271"/>
              <a:gd name="connsiteY28" fmla="*/ 2505016 h 2618498"/>
              <a:gd name="connsiteX29" fmla="*/ 1602638 w 4973271"/>
              <a:gd name="connsiteY29" fmla="*/ 2427011 h 2618498"/>
              <a:gd name="connsiteX30" fmla="*/ 1476997 w 4973271"/>
              <a:gd name="connsiteY30" fmla="*/ 2518427 h 2618498"/>
              <a:gd name="connsiteX31" fmla="*/ 1370926 w 4973271"/>
              <a:gd name="connsiteY31" fmla="*/ 2611052 h 2618498"/>
              <a:gd name="connsiteX32" fmla="*/ 1290131 w 4973271"/>
              <a:gd name="connsiteY32" fmla="*/ 2615030 h 2618498"/>
              <a:gd name="connsiteX33" fmla="*/ 1255945 w 4973271"/>
              <a:gd name="connsiteY33" fmla="*/ 2557020 h 2618498"/>
              <a:gd name="connsiteX34" fmla="*/ 1147604 w 4973271"/>
              <a:gd name="connsiteY34" fmla="*/ 2557019 h 2618498"/>
              <a:gd name="connsiteX35" fmla="*/ 1069393 w 4973271"/>
              <a:gd name="connsiteY35" fmla="*/ 2520143 h 2618498"/>
              <a:gd name="connsiteX36" fmla="*/ 974258 w 4973271"/>
              <a:gd name="connsiteY36" fmla="*/ 2561354 h 2618498"/>
              <a:gd name="connsiteX37" fmla="*/ 855874 w 4973271"/>
              <a:gd name="connsiteY37" fmla="*/ 2563595 h 2618498"/>
              <a:gd name="connsiteX38" fmla="*/ 796855 w 4973271"/>
              <a:gd name="connsiteY38" fmla="*/ 2607027 h 2618498"/>
              <a:gd name="connsiteX39" fmla="*/ 728653 w 4973271"/>
              <a:gd name="connsiteY39" fmla="*/ 2563596 h 2618498"/>
              <a:gd name="connsiteX40" fmla="*/ 644901 w 4973271"/>
              <a:gd name="connsiteY40" fmla="*/ 2570021 h 2618498"/>
              <a:gd name="connsiteX41" fmla="*/ 569627 w 4973271"/>
              <a:gd name="connsiteY41" fmla="*/ 2539742 h 2618498"/>
              <a:gd name="connsiteX42" fmla="*/ 501836 w 4973271"/>
              <a:gd name="connsiteY42" fmla="*/ 2480027 h 2618498"/>
              <a:gd name="connsiteX43" fmla="*/ 419551 w 4973271"/>
              <a:gd name="connsiteY43" fmla="*/ 2570021 h 2618498"/>
              <a:gd name="connsiteX44" fmla="*/ 284822 w 4973271"/>
              <a:gd name="connsiteY44" fmla="*/ 2607026 h 2618498"/>
              <a:gd name="connsiteX45" fmla="*/ 172534 w 4973271"/>
              <a:gd name="connsiteY45" fmla="*/ 2583022 h 2618498"/>
              <a:gd name="connsiteX46" fmla="*/ 77470 w 4973271"/>
              <a:gd name="connsiteY46" fmla="*/ 2606321 h 2618498"/>
              <a:gd name="connsiteX47" fmla="*/ 15297 w 4973271"/>
              <a:gd name="connsiteY47" fmla="*/ 2475657 h 2618498"/>
              <a:gd name="connsiteX48" fmla="*/ 2759 w 4973271"/>
              <a:gd name="connsiteY48" fmla="*/ 0 h 2618498"/>
              <a:gd name="connsiteX0" fmla="*/ 2759 w 4973276"/>
              <a:gd name="connsiteY0" fmla="*/ 0 h 2618498"/>
              <a:gd name="connsiteX1" fmla="*/ 4973271 w 4973276"/>
              <a:gd name="connsiteY1" fmla="*/ 12258 h 2618498"/>
              <a:gd name="connsiteX2" fmla="*/ 4967687 w 4973276"/>
              <a:gd name="connsiteY2" fmla="*/ 2475657 h 2618498"/>
              <a:gd name="connsiteX3" fmla="*/ 4908616 w 4973276"/>
              <a:gd name="connsiteY3" fmla="*/ 2575186 h 2618498"/>
              <a:gd name="connsiteX4" fmla="*/ 4776770 w 4973276"/>
              <a:gd name="connsiteY4" fmla="*/ 2605612 h 2618498"/>
              <a:gd name="connsiteX5" fmla="*/ 4584254 w 4973276"/>
              <a:gd name="connsiteY5" fmla="*/ 2517434 h 2618498"/>
              <a:gd name="connsiteX6" fmla="*/ 4414309 w 4973276"/>
              <a:gd name="connsiteY6" fmla="*/ 2567512 h 2618498"/>
              <a:gd name="connsiteX7" fmla="*/ 4224110 w 4973276"/>
              <a:gd name="connsiteY7" fmla="*/ 2538590 h 2618498"/>
              <a:gd name="connsiteX8" fmla="*/ 4011640 w 4973276"/>
              <a:gd name="connsiteY8" fmla="*/ 2522460 h 2618498"/>
              <a:gd name="connsiteX9" fmla="*/ 3851802 w 4973276"/>
              <a:gd name="connsiteY9" fmla="*/ 2405342 h 2618498"/>
              <a:gd name="connsiteX10" fmla="*/ 3704457 w 4973276"/>
              <a:gd name="connsiteY10" fmla="*/ 2440011 h 2618498"/>
              <a:gd name="connsiteX11" fmla="*/ 3590855 w 4973276"/>
              <a:gd name="connsiteY11" fmla="*/ 2518939 h 2618498"/>
              <a:gd name="connsiteX12" fmla="*/ 3527149 w 4973276"/>
              <a:gd name="connsiteY12" fmla="*/ 2459421 h 2618498"/>
              <a:gd name="connsiteX13" fmla="*/ 3379434 w 4973276"/>
              <a:gd name="connsiteY13" fmla="*/ 2518017 h 2618498"/>
              <a:gd name="connsiteX14" fmla="*/ 3277524 w 4973276"/>
              <a:gd name="connsiteY14" fmla="*/ 2504756 h 2618498"/>
              <a:gd name="connsiteX15" fmla="*/ 3176090 w 4973276"/>
              <a:gd name="connsiteY15" fmla="*/ 2514906 h 2618498"/>
              <a:gd name="connsiteX16" fmla="*/ 3085262 w 4973276"/>
              <a:gd name="connsiteY16" fmla="*/ 2433470 h 2618498"/>
              <a:gd name="connsiteX17" fmla="*/ 2985980 w 4973276"/>
              <a:gd name="connsiteY17" fmla="*/ 2451918 h 2618498"/>
              <a:gd name="connsiteX18" fmla="*/ 2850728 w 4973276"/>
              <a:gd name="connsiteY18" fmla="*/ 2327336 h 2618498"/>
              <a:gd name="connsiteX19" fmla="*/ 2761802 w 4973276"/>
              <a:gd name="connsiteY19" fmla="*/ 2362110 h 2618498"/>
              <a:gd name="connsiteX20" fmla="*/ 2725028 w 4973276"/>
              <a:gd name="connsiteY20" fmla="*/ 2417038 h 2618498"/>
              <a:gd name="connsiteX21" fmla="*/ 2655715 w 4973276"/>
              <a:gd name="connsiteY21" fmla="*/ 2466012 h 2618498"/>
              <a:gd name="connsiteX22" fmla="*/ 2544911 w 4973276"/>
              <a:gd name="connsiteY22" fmla="*/ 2514606 h 2618498"/>
              <a:gd name="connsiteX23" fmla="*/ 2400064 w 4973276"/>
              <a:gd name="connsiteY23" fmla="*/ 2481441 h 2618498"/>
              <a:gd name="connsiteX24" fmla="*/ 2315889 w 4973276"/>
              <a:gd name="connsiteY24" fmla="*/ 2512288 h 2618498"/>
              <a:gd name="connsiteX25" fmla="*/ 2114008 w 4973276"/>
              <a:gd name="connsiteY25" fmla="*/ 2444345 h 2618498"/>
              <a:gd name="connsiteX26" fmla="*/ 1957882 w 4973276"/>
              <a:gd name="connsiteY26" fmla="*/ 2462391 h 2618498"/>
              <a:gd name="connsiteX27" fmla="*/ 1890741 w 4973276"/>
              <a:gd name="connsiteY27" fmla="*/ 2506239 h 2618498"/>
              <a:gd name="connsiteX28" fmla="*/ 1706645 w 4973276"/>
              <a:gd name="connsiteY28" fmla="*/ 2505016 h 2618498"/>
              <a:gd name="connsiteX29" fmla="*/ 1602638 w 4973276"/>
              <a:gd name="connsiteY29" fmla="*/ 2427011 h 2618498"/>
              <a:gd name="connsiteX30" fmla="*/ 1476997 w 4973276"/>
              <a:gd name="connsiteY30" fmla="*/ 2518427 h 2618498"/>
              <a:gd name="connsiteX31" fmla="*/ 1370926 w 4973276"/>
              <a:gd name="connsiteY31" fmla="*/ 2611052 h 2618498"/>
              <a:gd name="connsiteX32" fmla="*/ 1290131 w 4973276"/>
              <a:gd name="connsiteY32" fmla="*/ 2615030 h 2618498"/>
              <a:gd name="connsiteX33" fmla="*/ 1255945 w 4973276"/>
              <a:gd name="connsiteY33" fmla="*/ 2557020 h 2618498"/>
              <a:gd name="connsiteX34" fmla="*/ 1147604 w 4973276"/>
              <a:gd name="connsiteY34" fmla="*/ 2557019 h 2618498"/>
              <a:gd name="connsiteX35" fmla="*/ 1069393 w 4973276"/>
              <a:gd name="connsiteY35" fmla="*/ 2520143 h 2618498"/>
              <a:gd name="connsiteX36" fmla="*/ 974258 w 4973276"/>
              <a:gd name="connsiteY36" fmla="*/ 2561354 h 2618498"/>
              <a:gd name="connsiteX37" fmla="*/ 855874 w 4973276"/>
              <a:gd name="connsiteY37" fmla="*/ 2563595 h 2618498"/>
              <a:gd name="connsiteX38" fmla="*/ 796855 w 4973276"/>
              <a:gd name="connsiteY38" fmla="*/ 2607027 h 2618498"/>
              <a:gd name="connsiteX39" fmla="*/ 728653 w 4973276"/>
              <a:gd name="connsiteY39" fmla="*/ 2563596 h 2618498"/>
              <a:gd name="connsiteX40" fmla="*/ 644901 w 4973276"/>
              <a:gd name="connsiteY40" fmla="*/ 2570021 h 2618498"/>
              <a:gd name="connsiteX41" fmla="*/ 569627 w 4973276"/>
              <a:gd name="connsiteY41" fmla="*/ 2539742 h 2618498"/>
              <a:gd name="connsiteX42" fmla="*/ 501836 w 4973276"/>
              <a:gd name="connsiteY42" fmla="*/ 2480027 h 2618498"/>
              <a:gd name="connsiteX43" fmla="*/ 419551 w 4973276"/>
              <a:gd name="connsiteY43" fmla="*/ 2570021 h 2618498"/>
              <a:gd name="connsiteX44" fmla="*/ 284822 w 4973276"/>
              <a:gd name="connsiteY44" fmla="*/ 2607026 h 2618498"/>
              <a:gd name="connsiteX45" fmla="*/ 172534 w 4973276"/>
              <a:gd name="connsiteY45" fmla="*/ 2583022 h 2618498"/>
              <a:gd name="connsiteX46" fmla="*/ 77470 w 4973276"/>
              <a:gd name="connsiteY46" fmla="*/ 2606321 h 2618498"/>
              <a:gd name="connsiteX47" fmla="*/ 15297 w 4973276"/>
              <a:gd name="connsiteY47" fmla="*/ 2475657 h 2618498"/>
              <a:gd name="connsiteX48" fmla="*/ 2759 w 4973276"/>
              <a:gd name="connsiteY48" fmla="*/ 0 h 2618498"/>
              <a:gd name="connsiteX0" fmla="*/ 2759 w 4968432"/>
              <a:gd name="connsiteY0" fmla="*/ 0 h 2618498"/>
              <a:gd name="connsiteX1" fmla="*/ 4766621 w 4968432"/>
              <a:gd name="connsiteY1" fmla="*/ 246833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5017954"/>
              <a:gd name="connsiteY0" fmla="*/ 1000 h 2619498"/>
              <a:gd name="connsiteX1" fmla="*/ 4766621 w 5017954"/>
              <a:gd name="connsiteY1" fmla="*/ 247833 h 2619498"/>
              <a:gd name="connsiteX2" fmla="*/ 4967687 w 5017954"/>
              <a:gd name="connsiteY2" fmla="*/ 2476657 h 2619498"/>
              <a:gd name="connsiteX3" fmla="*/ 4908616 w 5017954"/>
              <a:gd name="connsiteY3" fmla="*/ 2576186 h 2619498"/>
              <a:gd name="connsiteX4" fmla="*/ 4776770 w 5017954"/>
              <a:gd name="connsiteY4" fmla="*/ 2606612 h 2619498"/>
              <a:gd name="connsiteX5" fmla="*/ 4584254 w 5017954"/>
              <a:gd name="connsiteY5" fmla="*/ 2518434 h 2619498"/>
              <a:gd name="connsiteX6" fmla="*/ 4414309 w 5017954"/>
              <a:gd name="connsiteY6" fmla="*/ 2568512 h 2619498"/>
              <a:gd name="connsiteX7" fmla="*/ 4224110 w 5017954"/>
              <a:gd name="connsiteY7" fmla="*/ 2539590 h 2619498"/>
              <a:gd name="connsiteX8" fmla="*/ 4011640 w 5017954"/>
              <a:gd name="connsiteY8" fmla="*/ 2523460 h 2619498"/>
              <a:gd name="connsiteX9" fmla="*/ 3851802 w 5017954"/>
              <a:gd name="connsiteY9" fmla="*/ 2406342 h 2619498"/>
              <a:gd name="connsiteX10" fmla="*/ 3704457 w 5017954"/>
              <a:gd name="connsiteY10" fmla="*/ 2441011 h 2619498"/>
              <a:gd name="connsiteX11" fmla="*/ 3590855 w 5017954"/>
              <a:gd name="connsiteY11" fmla="*/ 2519939 h 2619498"/>
              <a:gd name="connsiteX12" fmla="*/ 3527149 w 5017954"/>
              <a:gd name="connsiteY12" fmla="*/ 2460421 h 2619498"/>
              <a:gd name="connsiteX13" fmla="*/ 3379434 w 5017954"/>
              <a:gd name="connsiteY13" fmla="*/ 2519017 h 2619498"/>
              <a:gd name="connsiteX14" fmla="*/ 3277524 w 5017954"/>
              <a:gd name="connsiteY14" fmla="*/ 2505756 h 2619498"/>
              <a:gd name="connsiteX15" fmla="*/ 3176090 w 5017954"/>
              <a:gd name="connsiteY15" fmla="*/ 2515906 h 2619498"/>
              <a:gd name="connsiteX16" fmla="*/ 3085262 w 5017954"/>
              <a:gd name="connsiteY16" fmla="*/ 2434470 h 2619498"/>
              <a:gd name="connsiteX17" fmla="*/ 2985980 w 5017954"/>
              <a:gd name="connsiteY17" fmla="*/ 2452918 h 2619498"/>
              <a:gd name="connsiteX18" fmla="*/ 2850728 w 5017954"/>
              <a:gd name="connsiteY18" fmla="*/ 2328336 h 2619498"/>
              <a:gd name="connsiteX19" fmla="*/ 2761802 w 5017954"/>
              <a:gd name="connsiteY19" fmla="*/ 2363110 h 2619498"/>
              <a:gd name="connsiteX20" fmla="*/ 2725028 w 5017954"/>
              <a:gd name="connsiteY20" fmla="*/ 2418038 h 2619498"/>
              <a:gd name="connsiteX21" fmla="*/ 2655715 w 5017954"/>
              <a:gd name="connsiteY21" fmla="*/ 2467012 h 2619498"/>
              <a:gd name="connsiteX22" fmla="*/ 2544911 w 5017954"/>
              <a:gd name="connsiteY22" fmla="*/ 2515606 h 2619498"/>
              <a:gd name="connsiteX23" fmla="*/ 2400064 w 5017954"/>
              <a:gd name="connsiteY23" fmla="*/ 2482441 h 2619498"/>
              <a:gd name="connsiteX24" fmla="*/ 2315889 w 5017954"/>
              <a:gd name="connsiteY24" fmla="*/ 2513288 h 2619498"/>
              <a:gd name="connsiteX25" fmla="*/ 2114008 w 5017954"/>
              <a:gd name="connsiteY25" fmla="*/ 2445345 h 2619498"/>
              <a:gd name="connsiteX26" fmla="*/ 1957882 w 5017954"/>
              <a:gd name="connsiteY26" fmla="*/ 2463391 h 2619498"/>
              <a:gd name="connsiteX27" fmla="*/ 1890741 w 5017954"/>
              <a:gd name="connsiteY27" fmla="*/ 2507239 h 2619498"/>
              <a:gd name="connsiteX28" fmla="*/ 1706645 w 5017954"/>
              <a:gd name="connsiteY28" fmla="*/ 2506016 h 2619498"/>
              <a:gd name="connsiteX29" fmla="*/ 1602638 w 5017954"/>
              <a:gd name="connsiteY29" fmla="*/ 2428011 h 2619498"/>
              <a:gd name="connsiteX30" fmla="*/ 1476997 w 5017954"/>
              <a:gd name="connsiteY30" fmla="*/ 2519427 h 2619498"/>
              <a:gd name="connsiteX31" fmla="*/ 1370926 w 5017954"/>
              <a:gd name="connsiteY31" fmla="*/ 2612052 h 2619498"/>
              <a:gd name="connsiteX32" fmla="*/ 1290131 w 5017954"/>
              <a:gd name="connsiteY32" fmla="*/ 2616030 h 2619498"/>
              <a:gd name="connsiteX33" fmla="*/ 1255945 w 5017954"/>
              <a:gd name="connsiteY33" fmla="*/ 2558020 h 2619498"/>
              <a:gd name="connsiteX34" fmla="*/ 1147604 w 5017954"/>
              <a:gd name="connsiteY34" fmla="*/ 2558019 h 2619498"/>
              <a:gd name="connsiteX35" fmla="*/ 1069393 w 5017954"/>
              <a:gd name="connsiteY35" fmla="*/ 2521143 h 2619498"/>
              <a:gd name="connsiteX36" fmla="*/ 974258 w 5017954"/>
              <a:gd name="connsiteY36" fmla="*/ 2562354 h 2619498"/>
              <a:gd name="connsiteX37" fmla="*/ 855874 w 5017954"/>
              <a:gd name="connsiteY37" fmla="*/ 2564595 h 2619498"/>
              <a:gd name="connsiteX38" fmla="*/ 796855 w 5017954"/>
              <a:gd name="connsiteY38" fmla="*/ 2608027 h 2619498"/>
              <a:gd name="connsiteX39" fmla="*/ 728653 w 5017954"/>
              <a:gd name="connsiteY39" fmla="*/ 2564596 h 2619498"/>
              <a:gd name="connsiteX40" fmla="*/ 644901 w 5017954"/>
              <a:gd name="connsiteY40" fmla="*/ 2571021 h 2619498"/>
              <a:gd name="connsiteX41" fmla="*/ 569627 w 5017954"/>
              <a:gd name="connsiteY41" fmla="*/ 2540742 h 2619498"/>
              <a:gd name="connsiteX42" fmla="*/ 501836 w 5017954"/>
              <a:gd name="connsiteY42" fmla="*/ 2481027 h 2619498"/>
              <a:gd name="connsiteX43" fmla="*/ 419551 w 5017954"/>
              <a:gd name="connsiteY43" fmla="*/ 2571021 h 2619498"/>
              <a:gd name="connsiteX44" fmla="*/ 284822 w 5017954"/>
              <a:gd name="connsiteY44" fmla="*/ 2608026 h 2619498"/>
              <a:gd name="connsiteX45" fmla="*/ 172534 w 5017954"/>
              <a:gd name="connsiteY45" fmla="*/ 2584022 h 2619498"/>
              <a:gd name="connsiteX46" fmla="*/ 77470 w 5017954"/>
              <a:gd name="connsiteY46" fmla="*/ 2607321 h 2619498"/>
              <a:gd name="connsiteX47" fmla="*/ 15297 w 5017954"/>
              <a:gd name="connsiteY47" fmla="*/ 2476657 h 2619498"/>
              <a:gd name="connsiteX48" fmla="*/ 2759 w 5017954"/>
              <a:gd name="connsiteY48" fmla="*/ 1000 h 2619498"/>
              <a:gd name="connsiteX0" fmla="*/ 2759 w 5146412"/>
              <a:gd name="connsiteY0" fmla="*/ 599254 h 3217752"/>
              <a:gd name="connsiteX1" fmla="*/ 4967686 w 5146412"/>
              <a:gd name="connsiteY1" fmla="*/ 58581 h 3217752"/>
              <a:gd name="connsiteX2" fmla="*/ 4967687 w 5146412"/>
              <a:gd name="connsiteY2" fmla="*/ 3074911 h 3217752"/>
              <a:gd name="connsiteX3" fmla="*/ 4908616 w 5146412"/>
              <a:gd name="connsiteY3" fmla="*/ 3174440 h 3217752"/>
              <a:gd name="connsiteX4" fmla="*/ 4776770 w 5146412"/>
              <a:gd name="connsiteY4" fmla="*/ 3204866 h 3217752"/>
              <a:gd name="connsiteX5" fmla="*/ 4584254 w 5146412"/>
              <a:gd name="connsiteY5" fmla="*/ 3116688 h 3217752"/>
              <a:gd name="connsiteX6" fmla="*/ 4414309 w 5146412"/>
              <a:gd name="connsiteY6" fmla="*/ 3166766 h 3217752"/>
              <a:gd name="connsiteX7" fmla="*/ 4224110 w 5146412"/>
              <a:gd name="connsiteY7" fmla="*/ 3137844 h 3217752"/>
              <a:gd name="connsiteX8" fmla="*/ 4011640 w 5146412"/>
              <a:gd name="connsiteY8" fmla="*/ 3121714 h 3217752"/>
              <a:gd name="connsiteX9" fmla="*/ 3851802 w 5146412"/>
              <a:gd name="connsiteY9" fmla="*/ 3004596 h 3217752"/>
              <a:gd name="connsiteX10" fmla="*/ 3704457 w 5146412"/>
              <a:gd name="connsiteY10" fmla="*/ 3039265 h 3217752"/>
              <a:gd name="connsiteX11" fmla="*/ 3590855 w 5146412"/>
              <a:gd name="connsiteY11" fmla="*/ 3118193 h 3217752"/>
              <a:gd name="connsiteX12" fmla="*/ 3527149 w 5146412"/>
              <a:gd name="connsiteY12" fmla="*/ 3058675 h 3217752"/>
              <a:gd name="connsiteX13" fmla="*/ 3379434 w 5146412"/>
              <a:gd name="connsiteY13" fmla="*/ 3117271 h 3217752"/>
              <a:gd name="connsiteX14" fmla="*/ 3277524 w 5146412"/>
              <a:gd name="connsiteY14" fmla="*/ 3104010 h 3217752"/>
              <a:gd name="connsiteX15" fmla="*/ 3176090 w 5146412"/>
              <a:gd name="connsiteY15" fmla="*/ 3114160 h 3217752"/>
              <a:gd name="connsiteX16" fmla="*/ 3085262 w 5146412"/>
              <a:gd name="connsiteY16" fmla="*/ 3032724 h 3217752"/>
              <a:gd name="connsiteX17" fmla="*/ 2985980 w 5146412"/>
              <a:gd name="connsiteY17" fmla="*/ 3051172 h 3217752"/>
              <a:gd name="connsiteX18" fmla="*/ 2850728 w 5146412"/>
              <a:gd name="connsiteY18" fmla="*/ 2926590 h 3217752"/>
              <a:gd name="connsiteX19" fmla="*/ 2761802 w 5146412"/>
              <a:gd name="connsiteY19" fmla="*/ 2961364 h 3217752"/>
              <a:gd name="connsiteX20" fmla="*/ 2725028 w 5146412"/>
              <a:gd name="connsiteY20" fmla="*/ 3016292 h 3217752"/>
              <a:gd name="connsiteX21" fmla="*/ 2655715 w 5146412"/>
              <a:gd name="connsiteY21" fmla="*/ 3065266 h 3217752"/>
              <a:gd name="connsiteX22" fmla="*/ 2544911 w 5146412"/>
              <a:gd name="connsiteY22" fmla="*/ 3113860 h 3217752"/>
              <a:gd name="connsiteX23" fmla="*/ 2400064 w 5146412"/>
              <a:gd name="connsiteY23" fmla="*/ 3080695 h 3217752"/>
              <a:gd name="connsiteX24" fmla="*/ 2315889 w 5146412"/>
              <a:gd name="connsiteY24" fmla="*/ 3111542 h 3217752"/>
              <a:gd name="connsiteX25" fmla="*/ 2114008 w 5146412"/>
              <a:gd name="connsiteY25" fmla="*/ 3043599 h 3217752"/>
              <a:gd name="connsiteX26" fmla="*/ 1957882 w 5146412"/>
              <a:gd name="connsiteY26" fmla="*/ 3061645 h 3217752"/>
              <a:gd name="connsiteX27" fmla="*/ 1890741 w 5146412"/>
              <a:gd name="connsiteY27" fmla="*/ 3105493 h 3217752"/>
              <a:gd name="connsiteX28" fmla="*/ 1706645 w 5146412"/>
              <a:gd name="connsiteY28" fmla="*/ 3104270 h 3217752"/>
              <a:gd name="connsiteX29" fmla="*/ 1602638 w 5146412"/>
              <a:gd name="connsiteY29" fmla="*/ 3026265 h 3217752"/>
              <a:gd name="connsiteX30" fmla="*/ 1476997 w 5146412"/>
              <a:gd name="connsiteY30" fmla="*/ 3117681 h 3217752"/>
              <a:gd name="connsiteX31" fmla="*/ 1370926 w 5146412"/>
              <a:gd name="connsiteY31" fmla="*/ 3210306 h 3217752"/>
              <a:gd name="connsiteX32" fmla="*/ 1290131 w 5146412"/>
              <a:gd name="connsiteY32" fmla="*/ 3214284 h 3217752"/>
              <a:gd name="connsiteX33" fmla="*/ 1255945 w 5146412"/>
              <a:gd name="connsiteY33" fmla="*/ 3156274 h 3217752"/>
              <a:gd name="connsiteX34" fmla="*/ 1147604 w 5146412"/>
              <a:gd name="connsiteY34" fmla="*/ 3156273 h 3217752"/>
              <a:gd name="connsiteX35" fmla="*/ 1069393 w 5146412"/>
              <a:gd name="connsiteY35" fmla="*/ 3119397 h 3217752"/>
              <a:gd name="connsiteX36" fmla="*/ 974258 w 5146412"/>
              <a:gd name="connsiteY36" fmla="*/ 3160608 h 3217752"/>
              <a:gd name="connsiteX37" fmla="*/ 855874 w 5146412"/>
              <a:gd name="connsiteY37" fmla="*/ 3162849 h 3217752"/>
              <a:gd name="connsiteX38" fmla="*/ 796855 w 5146412"/>
              <a:gd name="connsiteY38" fmla="*/ 3206281 h 3217752"/>
              <a:gd name="connsiteX39" fmla="*/ 728653 w 5146412"/>
              <a:gd name="connsiteY39" fmla="*/ 3162850 h 3217752"/>
              <a:gd name="connsiteX40" fmla="*/ 644901 w 5146412"/>
              <a:gd name="connsiteY40" fmla="*/ 3169275 h 3217752"/>
              <a:gd name="connsiteX41" fmla="*/ 569627 w 5146412"/>
              <a:gd name="connsiteY41" fmla="*/ 3138996 h 3217752"/>
              <a:gd name="connsiteX42" fmla="*/ 501836 w 5146412"/>
              <a:gd name="connsiteY42" fmla="*/ 3079281 h 3217752"/>
              <a:gd name="connsiteX43" fmla="*/ 419551 w 5146412"/>
              <a:gd name="connsiteY43" fmla="*/ 3169275 h 3217752"/>
              <a:gd name="connsiteX44" fmla="*/ 284822 w 5146412"/>
              <a:gd name="connsiteY44" fmla="*/ 3206280 h 3217752"/>
              <a:gd name="connsiteX45" fmla="*/ 172534 w 5146412"/>
              <a:gd name="connsiteY45" fmla="*/ 3182276 h 3217752"/>
              <a:gd name="connsiteX46" fmla="*/ 77470 w 5146412"/>
              <a:gd name="connsiteY46" fmla="*/ 3205575 h 3217752"/>
              <a:gd name="connsiteX47" fmla="*/ 15297 w 5146412"/>
              <a:gd name="connsiteY47" fmla="*/ 3074911 h 3217752"/>
              <a:gd name="connsiteX48" fmla="*/ 2759 w 5146412"/>
              <a:gd name="connsiteY48" fmla="*/ 599254 h 3217752"/>
              <a:gd name="connsiteX0" fmla="*/ 2759 w 5335458"/>
              <a:gd name="connsiteY0" fmla="*/ 218800 h 3384643"/>
              <a:gd name="connsiteX1" fmla="*/ 4967686 w 5335458"/>
              <a:gd name="connsiteY1" fmla="*/ 225472 h 3384643"/>
              <a:gd name="connsiteX2" fmla="*/ 4967687 w 5335458"/>
              <a:gd name="connsiteY2" fmla="*/ 3241802 h 3384643"/>
              <a:gd name="connsiteX3" fmla="*/ 4908616 w 5335458"/>
              <a:gd name="connsiteY3" fmla="*/ 3341331 h 3384643"/>
              <a:gd name="connsiteX4" fmla="*/ 4776770 w 5335458"/>
              <a:gd name="connsiteY4" fmla="*/ 3371757 h 3384643"/>
              <a:gd name="connsiteX5" fmla="*/ 4584254 w 5335458"/>
              <a:gd name="connsiteY5" fmla="*/ 3283579 h 3384643"/>
              <a:gd name="connsiteX6" fmla="*/ 4414309 w 5335458"/>
              <a:gd name="connsiteY6" fmla="*/ 3333657 h 3384643"/>
              <a:gd name="connsiteX7" fmla="*/ 4224110 w 5335458"/>
              <a:gd name="connsiteY7" fmla="*/ 3304735 h 3384643"/>
              <a:gd name="connsiteX8" fmla="*/ 4011640 w 5335458"/>
              <a:gd name="connsiteY8" fmla="*/ 3288605 h 3384643"/>
              <a:gd name="connsiteX9" fmla="*/ 3851802 w 5335458"/>
              <a:gd name="connsiteY9" fmla="*/ 3171487 h 3384643"/>
              <a:gd name="connsiteX10" fmla="*/ 3704457 w 5335458"/>
              <a:gd name="connsiteY10" fmla="*/ 3206156 h 3384643"/>
              <a:gd name="connsiteX11" fmla="*/ 3590855 w 5335458"/>
              <a:gd name="connsiteY11" fmla="*/ 3285084 h 3384643"/>
              <a:gd name="connsiteX12" fmla="*/ 3527149 w 5335458"/>
              <a:gd name="connsiteY12" fmla="*/ 3225566 h 3384643"/>
              <a:gd name="connsiteX13" fmla="*/ 3379434 w 5335458"/>
              <a:gd name="connsiteY13" fmla="*/ 3284162 h 3384643"/>
              <a:gd name="connsiteX14" fmla="*/ 3277524 w 5335458"/>
              <a:gd name="connsiteY14" fmla="*/ 3270901 h 3384643"/>
              <a:gd name="connsiteX15" fmla="*/ 3176090 w 5335458"/>
              <a:gd name="connsiteY15" fmla="*/ 3281051 h 3384643"/>
              <a:gd name="connsiteX16" fmla="*/ 3085262 w 5335458"/>
              <a:gd name="connsiteY16" fmla="*/ 3199615 h 3384643"/>
              <a:gd name="connsiteX17" fmla="*/ 2985980 w 5335458"/>
              <a:gd name="connsiteY17" fmla="*/ 3218063 h 3384643"/>
              <a:gd name="connsiteX18" fmla="*/ 2850728 w 5335458"/>
              <a:gd name="connsiteY18" fmla="*/ 3093481 h 3384643"/>
              <a:gd name="connsiteX19" fmla="*/ 2761802 w 5335458"/>
              <a:gd name="connsiteY19" fmla="*/ 3128255 h 3384643"/>
              <a:gd name="connsiteX20" fmla="*/ 2725028 w 5335458"/>
              <a:gd name="connsiteY20" fmla="*/ 3183183 h 3384643"/>
              <a:gd name="connsiteX21" fmla="*/ 2655715 w 5335458"/>
              <a:gd name="connsiteY21" fmla="*/ 3232157 h 3384643"/>
              <a:gd name="connsiteX22" fmla="*/ 2544911 w 5335458"/>
              <a:gd name="connsiteY22" fmla="*/ 3280751 h 3384643"/>
              <a:gd name="connsiteX23" fmla="*/ 2400064 w 5335458"/>
              <a:gd name="connsiteY23" fmla="*/ 3247586 h 3384643"/>
              <a:gd name="connsiteX24" fmla="*/ 2315889 w 5335458"/>
              <a:gd name="connsiteY24" fmla="*/ 3278433 h 3384643"/>
              <a:gd name="connsiteX25" fmla="*/ 2114008 w 5335458"/>
              <a:gd name="connsiteY25" fmla="*/ 3210490 h 3384643"/>
              <a:gd name="connsiteX26" fmla="*/ 1957882 w 5335458"/>
              <a:gd name="connsiteY26" fmla="*/ 3228536 h 3384643"/>
              <a:gd name="connsiteX27" fmla="*/ 1890741 w 5335458"/>
              <a:gd name="connsiteY27" fmla="*/ 3272384 h 3384643"/>
              <a:gd name="connsiteX28" fmla="*/ 1706645 w 5335458"/>
              <a:gd name="connsiteY28" fmla="*/ 3271161 h 3384643"/>
              <a:gd name="connsiteX29" fmla="*/ 1602638 w 5335458"/>
              <a:gd name="connsiteY29" fmla="*/ 3193156 h 3384643"/>
              <a:gd name="connsiteX30" fmla="*/ 1476997 w 5335458"/>
              <a:gd name="connsiteY30" fmla="*/ 3284572 h 3384643"/>
              <a:gd name="connsiteX31" fmla="*/ 1370926 w 5335458"/>
              <a:gd name="connsiteY31" fmla="*/ 3377197 h 3384643"/>
              <a:gd name="connsiteX32" fmla="*/ 1290131 w 5335458"/>
              <a:gd name="connsiteY32" fmla="*/ 3381175 h 3384643"/>
              <a:gd name="connsiteX33" fmla="*/ 1255945 w 5335458"/>
              <a:gd name="connsiteY33" fmla="*/ 3323165 h 3384643"/>
              <a:gd name="connsiteX34" fmla="*/ 1147604 w 5335458"/>
              <a:gd name="connsiteY34" fmla="*/ 3323164 h 3384643"/>
              <a:gd name="connsiteX35" fmla="*/ 1069393 w 5335458"/>
              <a:gd name="connsiteY35" fmla="*/ 3286288 h 3384643"/>
              <a:gd name="connsiteX36" fmla="*/ 974258 w 5335458"/>
              <a:gd name="connsiteY36" fmla="*/ 3327499 h 3384643"/>
              <a:gd name="connsiteX37" fmla="*/ 855874 w 5335458"/>
              <a:gd name="connsiteY37" fmla="*/ 3329740 h 3384643"/>
              <a:gd name="connsiteX38" fmla="*/ 796855 w 5335458"/>
              <a:gd name="connsiteY38" fmla="*/ 3373172 h 3384643"/>
              <a:gd name="connsiteX39" fmla="*/ 728653 w 5335458"/>
              <a:gd name="connsiteY39" fmla="*/ 3329741 h 3384643"/>
              <a:gd name="connsiteX40" fmla="*/ 644901 w 5335458"/>
              <a:gd name="connsiteY40" fmla="*/ 3336166 h 3384643"/>
              <a:gd name="connsiteX41" fmla="*/ 569627 w 5335458"/>
              <a:gd name="connsiteY41" fmla="*/ 3305887 h 3384643"/>
              <a:gd name="connsiteX42" fmla="*/ 501836 w 5335458"/>
              <a:gd name="connsiteY42" fmla="*/ 3246172 h 3384643"/>
              <a:gd name="connsiteX43" fmla="*/ 419551 w 5335458"/>
              <a:gd name="connsiteY43" fmla="*/ 3336166 h 3384643"/>
              <a:gd name="connsiteX44" fmla="*/ 284822 w 5335458"/>
              <a:gd name="connsiteY44" fmla="*/ 3373171 h 3384643"/>
              <a:gd name="connsiteX45" fmla="*/ 172534 w 5335458"/>
              <a:gd name="connsiteY45" fmla="*/ 3349167 h 3384643"/>
              <a:gd name="connsiteX46" fmla="*/ 77470 w 5335458"/>
              <a:gd name="connsiteY46" fmla="*/ 3372466 h 3384643"/>
              <a:gd name="connsiteX47" fmla="*/ 15297 w 5335458"/>
              <a:gd name="connsiteY47" fmla="*/ 3241802 h 3384643"/>
              <a:gd name="connsiteX48" fmla="*/ 2759 w 5335458"/>
              <a:gd name="connsiteY48" fmla="*/ 218800 h 3384643"/>
              <a:gd name="connsiteX0" fmla="*/ 0 w 5332699"/>
              <a:gd name="connsiteY0" fmla="*/ 218800 h 3384643"/>
              <a:gd name="connsiteX1" fmla="*/ 4964927 w 5332699"/>
              <a:gd name="connsiteY1" fmla="*/ 225472 h 3384643"/>
              <a:gd name="connsiteX2" fmla="*/ 4964928 w 5332699"/>
              <a:gd name="connsiteY2" fmla="*/ 3241802 h 3384643"/>
              <a:gd name="connsiteX3" fmla="*/ 4905857 w 5332699"/>
              <a:gd name="connsiteY3" fmla="*/ 3341331 h 3384643"/>
              <a:gd name="connsiteX4" fmla="*/ 4774011 w 5332699"/>
              <a:gd name="connsiteY4" fmla="*/ 3371757 h 3384643"/>
              <a:gd name="connsiteX5" fmla="*/ 4581495 w 5332699"/>
              <a:gd name="connsiteY5" fmla="*/ 3283579 h 3384643"/>
              <a:gd name="connsiteX6" fmla="*/ 4411550 w 5332699"/>
              <a:gd name="connsiteY6" fmla="*/ 3333657 h 3384643"/>
              <a:gd name="connsiteX7" fmla="*/ 4221351 w 5332699"/>
              <a:gd name="connsiteY7" fmla="*/ 3304735 h 3384643"/>
              <a:gd name="connsiteX8" fmla="*/ 4008881 w 5332699"/>
              <a:gd name="connsiteY8" fmla="*/ 3288605 h 3384643"/>
              <a:gd name="connsiteX9" fmla="*/ 3849043 w 5332699"/>
              <a:gd name="connsiteY9" fmla="*/ 3171487 h 3384643"/>
              <a:gd name="connsiteX10" fmla="*/ 3701698 w 5332699"/>
              <a:gd name="connsiteY10" fmla="*/ 3206156 h 3384643"/>
              <a:gd name="connsiteX11" fmla="*/ 3588096 w 5332699"/>
              <a:gd name="connsiteY11" fmla="*/ 3285084 h 3384643"/>
              <a:gd name="connsiteX12" fmla="*/ 3524390 w 5332699"/>
              <a:gd name="connsiteY12" fmla="*/ 3225566 h 3384643"/>
              <a:gd name="connsiteX13" fmla="*/ 3376675 w 5332699"/>
              <a:gd name="connsiteY13" fmla="*/ 3284162 h 3384643"/>
              <a:gd name="connsiteX14" fmla="*/ 3274765 w 5332699"/>
              <a:gd name="connsiteY14" fmla="*/ 3270901 h 3384643"/>
              <a:gd name="connsiteX15" fmla="*/ 3173331 w 5332699"/>
              <a:gd name="connsiteY15" fmla="*/ 3281051 h 3384643"/>
              <a:gd name="connsiteX16" fmla="*/ 3082503 w 5332699"/>
              <a:gd name="connsiteY16" fmla="*/ 3199615 h 3384643"/>
              <a:gd name="connsiteX17" fmla="*/ 2983221 w 5332699"/>
              <a:gd name="connsiteY17" fmla="*/ 3218063 h 3384643"/>
              <a:gd name="connsiteX18" fmla="*/ 2847969 w 5332699"/>
              <a:gd name="connsiteY18" fmla="*/ 3093481 h 3384643"/>
              <a:gd name="connsiteX19" fmla="*/ 2759043 w 5332699"/>
              <a:gd name="connsiteY19" fmla="*/ 3128255 h 3384643"/>
              <a:gd name="connsiteX20" fmla="*/ 2722269 w 5332699"/>
              <a:gd name="connsiteY20" fmla="*/ 3183183 h 3384643"/>
              <a:gd name="connsiteX21" fmla="*/ 2652956 w 5332699"/>
              <a:gd name="connsiteY21" fmla="*/ 3232157 h 3384643"/>
              <a:gd name="connsiteX22" fmla="*/ 2542152 w 5332699"/>
              <a:gd name="connsiteY22" fmla="*/ 3280751 h 3384643"/>
              <a:gd name="connsiteX23" fmla="*/ 2397305 w 5332699"/>
              <a:gd name="connsiteY23" fmla="*/ 3247586 h 3384643"/>
              <a:gd name="connsiteX24" fmla="*/ 2313130 w 5332699"/>
              <a:gd name="connsiteY24" fmla="*/ 3278433 h 3384643"/>
              <a:gd name="connsiteX25" fmla="*/ 2111249 w 5332699"/>
              <a:gd name="connsiteY25" fmla="*/ 3210490 h 3384643"/>
              <a:gd name="connsiteX26" fmla="*/ 1955123 w 5332699"/>
              <a:gd name="connsiteY26" fmla="*/ 3228536 h 3384643"/>
              <a:gd name="connsiteX27" fmla="*/ 1887982 w 5332699"/>
              <a:gd name="connsiteY27" fmla="*/ 3272384 h 3384643"/>
              <a:gd name="connsiteX28" fmla="*/ 1703886 w 5332699"/>
              <a:gd name="connsiteY28" fmla="*/ 3271161 h 3384643"/>
              <a:gd name="connsiteX29" fmla="*/ 1599879 w 5332699"/>
              <a:gd name="connsiteY29" fmla="*/ 3193156 h 3384643"/>
              <a:gd name="connsiteX30" fmla="*/ 1474238 w 5332699"/>
              <a:gd name="connsiteY30" fmla="*/ 3284572 h 3384643"/>
              <a:gd name="connsiteX31" fmla="*/ 1368167 w 5332699"/>
              <a:gd name="connsiteY31" fmla="*/ 3377197 h 3384643"/>
              <a:gd name="connsiteX32" fmla="*/ 1287372 w 5332699"/>
              <a:gd name="connsiteY32" fmla="*/ 3381175 h 3384643"/>
              <a:gd name="connsiteX33" fmla="*/ 1253186 w 5332699"/>
              <a:gd name="connsiteY33" fmla="*/ 3323165 h 3384643"/>
              <a:gd name="connsiteX34" fmla="*/ 1144845 w 5332699"/>
              <a:gd name="connsiteY34" fmla="*/ 3323164 h 3384643"/>
              <a:gd name="connsiteX35" fmla="*/ 1066634 w 5332699"/>
              <a:gd name="connsiteY35" fmla="*/ 3286288 h 3384643"/>
              <a:gd name="connsiteX36" fmla="*/ 971499 w 5332699"/>
              <a:gd name="connsiteY36" fmla="*/ 3327499 h 3384643"/>
              <a:gd name="connsiteX37" fmla="*/ 853115 w 5332699"/>
              <a:gd name="connsiteY37" fmla="*/ 3329740 h 3384643"/>
              <a:gd name="connsiteX38" fmla="*/ 794096 w 5332699"/>
              <a:gd name="connsiteY38" fmla="*/ 3373172 h 3384643"/>
              <a:gd name="connsiteX39" fmla="*/ 725894 w 5332699"/>
              <a:gd name="connsiteY39" fmla="*/ 3329741 h 3384643"/>
              <a:gd name="connsiteX40" fmla="*/ 642142 w 5332699"/>
              <a:gd name="connsiteY40" fmla="*/ 3336166 h 3384643"/>
              <a:gd name="connsiteX41" fmla="*/ 566868 w 5332699"/>
              <a:gd name="connsiteY41" fmla="*/ 3305887 h 3384643"/>
              <a:gd name="connsiteX42" fmla="*/ 499077 w 5332699"/>
              <a:gd name="connsiteY42" fmla="*/ 3246172 h 3384643"/>
              <a:gd name="connsiteX43" fmla="*/ 416792 w 5332699"/>
              <a:gd name="connsiteY43" fmla="*/ 3336166 h 3384643"/>
              <a:gd name="connsiteX44" fmla="*/ 282063 w 5332699"/>
              <a:gd name="connsiteY44" fmla="*/ 3373171 h 3384643"/>
              <a:gd name="connsiteX45" fmla="*/ 169775 w 5332699"/>
              <a:gd name="connsiteY45" fmla="*/ 3349167 h 3384643"/>
              <a:gd name="connsiteX46" fmla="*/ 74711 w 5332699"/>
              <a:gd name="connsiteY46" fmla="*/ 3372466 h 3384643"/>
              <a:gd name="connsiteX47" fmla="*/ 12538 w 5332699"/>
              <a:gd name="connsiteY47" fmla="*/ 3241802 h 3384643"/>
              <a:gd name="connsiteX48" fmla="*/ 0 w 5332699"/>
              <a:gd name="connsiteY48" fmla="*/ 218800 h 3384643"/>
              <a:gd name="connsiteX0" fmla="*/ 317204 w 5295970"/>
              <a:gd name="connsiteY0" fmla="*/ 126494 h 3443135"/>
              <a:gd name="connsiteX1" fmla="*/ 4952607 w 5295970"/>
              <a:gd name="connsiteY1" fmla="*/ 283964 h 3443135"/>
              <a:gd name="connsiteX2" fmla="*/ 4952608 w 5295970"/>
              <a:gd name="connsiteY2" fmla="*/ 3300294 h 3443135"/>
              <a:gd name="connsiteX3" fmla="*/ 4893537 w 5295970"/>
              <a:gd name="connsiteY3" fmla="*/ 3399823 h 3443135"/>
              <a:gd name="connsiteX4" fmla="*/ 4761691 w 5295970"/>
              <a:gd name="connsiteY4" fmla="*/ 3430249 h 3443135"/>
              <a:gd name="connsiteX5" fmla="*/ 4569175 w 5295970"/>
              <a:gd name="connsiteY5" fmla="*/ 3342071 h 3443135"/>
              <a:gd name="connsiteX6" fmla="*/ 4399230 w 5295970"/>
              <a:gd name="connsiteY6" fmla="*/ 3392149 h 3443135"/>
              <a:gd name="connsiteX7" fmla="*/ 4209031 w 5295970"/>
              <a:gd name="connsiteY7" fmla="*/ 3363227 h 3443135"/>
              <a:gd name="connsiteX8" fmla="*/ 3996561 w 5295970"/>
              <a:gd name="connsiteY8" fmla="*/ 3347097 h 3443135"/>
              <a:gd name="connsiteX9" fmla="*/ 3836723 w 5295970"/>
              <a:gd name="connsiteY9" fmla="*/ 3229979 h 3443135"/>
              <a:gd name="connsiteX10" fmla="*/ 3689378 w 5295970"/>
              <a:gd name="connsiteY10" fmla="*/ 3264648 h 3443135"/>
              <a:gd name="connsiteX11" fmla="*/ 3575776 w 5295970"/>
              <a:gd name="connsiteY11" fmla="*/ 3343576 h 3443135"/>
              <a:gd name="connsiteX12" fmla="*/ 3512070 w 5295970"/>
              <a:gd name="connsiteY12" fmla="*/ 3284058 h 3443135"/>
              <a:gd name="connsiteX13" fmla="*/ 3364355 w 5295970"/>
              <a:gd name="connsiteY13" fmla="*/ 3342654 h 3443135"/>
              <a:gd name="connsiteX14" fmla="*/ 3262445 w 5295970"/>
              <a:gd name="connsiteY14" fmla="*/ 3329393 h 3443135"/>
              <a:gd name="connsiteX15" fmla="*/ 3161011 w 5295970"/>
              <a:gd name="connsiteY15" fmla="*/ 3339543 h 3443135"/>
              <a:gd name="connsiteX16" fmla="*/ 3070183 w 5295970"/>
              <a:gd name="connsiteY16" fmla="*/ 3258107 h 3443135"/>
              <a:gd name="connsiteX17" fmla="*/ 2970901 w 5295970"/>
              <a:gd name="connsiteY17" fmla="*/ 3276555 h 3443135"/>
              <a:gd name="connsiteX18" fmla="*/ 2835649 w 5295970"/>
              <a:gd name="connsiteY18" fmla="*/ 3151973 h 3443135"/>
              <a:gd name="connsiteX19" fmla="*/ 2746723 w 5295970"/>
              <a:gd name="connsiteY19" fmla="*/ 3186747 h 3443135"/>
              <a:gd name="connsiteX20" fmla="*/ 2709949 w 5295970"/>
              <a:gd name="connsiteY20" fmla="*/ 3241675 h 3443135"/>
              <a:gd name="connsiteX21" fmla="*/ 2640636 w 5295970"/>
              <a:gd name="connsiteY21" fmla="*/ 3290649 h 3443135"/>
              <a:gd name="connsiteX22" fmla="*/ 2529832 w 5295970"/>
              <a:gd name="connsiteY22" fmla="*/ 3339243 h 3443135"/>
              <a:gd name="connsiteX23" fmla="*/ 2384985 w 5295970"/>
              <a:gd name="connsiteY23" fmla="*/ 3306078 h 3443135"/>
              <a:gd name="connsiteX24" fmla="*/ 2300810 w 5295970"/>
              <a:gd name="connsiteY24" fmla="*/ 3336925 h 3443135"/>
              <a:gd name="connsiteX25" fmla="*/ 2098929 w 5295970"/>
              <a:gd name="connsiteY25" fmla="*/ 3268982 h 3443135"/>
              <a:gd name="connsiteX26" fmla="*/ 1942803 w 5295970"/>
              <a:gd name="connsiteY26" fmla="*/ 3287028 h 3443135"/>
              <a:gd name="connsiteX27" fmla="*/ 1875662 w 5295970"/>
              <a:gd name="connsiteY27" fmla="*/ 3330876 h 3443135"/>
              <a:gd name="connsiteX28" fmla="*/ 1691566 w 5295970"/>
              <a:gd name="connsiteY28" fmla="*/ 3329653 h 3443135"/>
              <a:gd name="connsiteX29" fmla="*/ 1587559 w 5295970"/>
              <a:gd name="connsiteY29" fmla="*/ 3251648 h 3443135"/>
              <a:gd name="connsiteX30" fmla="*/ 1461918 w 5295970"/>
              <a:gd name="connsiteY30" fmla="*/ 3343064 h 3443135"/>
              <a:gd name="connsiteX31" fmla="*/ 1355847 w 5295970"/>
              <a:gd name="connsiteY31" fmla="*/ 3435689 h 3443135"/>
              <a:gd name="connsiteX32" fmla="*/ 1275052 w 5295970"/>
              <a:gd name="connsiteY32" fmla="*/ 3439667 h 3443135"/>
              <a:gd name="connsiteX33" fmla="*/ 1240866 w 5295970"/>
              <a:gd name="connsiteY33" fmla="*/ 3381657 h 3443135"/>
              <a:gd name="connsiteX34" fmla="*/ 1132525 w 5295970"/>
              <a:gd name="connsiteY34" fmla="*/ 3381656 h 3443135"/>
              <a:gd name="connsiteX35" fmla="*/ 1054314 w 5295970"/>
              <a:gd name="connsiteY35" fmla="*/ 3344780 h 3443135"/>
              <a:gd name="connsiteX36" fmla="*/ 959179 w 5295970"/>
              <a:gd name="connsiteY36" fmla="*/ 3385991 h 3443135"/>
              <a:gd name="connsiteX37" fmla="*/ 840795 w 5295970"/>
              <a:gd name="connsiteY37" fmla="*/ 3388232 h 3443135"/>
              <a:gd name="connsiteX38" fmla="*/ 781776 w 5295970"/>
              <a:gd name="connsiteY38" fmla="*/ 3431664 h 3443135"/>
              <a:gd name="connsiteX39" fmla="*/ 713574 w 5295970"/>
              <a:gd name="connsiteY39" fmla="*/ 3388233 h 3443135"/>
              <a:gd name="connsiteX40" fmla="*/ 629822 w 5295970"/>
              <a:gd name="connsiteY40" fmla="*/ 3394658 h 3443135"/>
              <a:gd name="connsiteX41" fmla="*/ 554548 w 5295970"/>
              <a:gd name="connsiteY41" fmla="*/ 3364379 h 3443135"/>
              <a:gd name="connsiteX42" fmla="*/ 486757 w 5295970"/>
              <a:gd name="connsiteY42" fmla="*/ 3304664 h 3443135"/>
              <a:gd name="connsiteX43" fmla="*/ 404472 w 5295970"/>
              <a:gd name="connsiteY43" fmla="*/ 3394658 h 3443135"/>
              <a:gd name="connsiteX44" fmla="*/ 269743 w 5295970"/>
              <a:gd name="connsiteY44" fmla="*/ 3431663 h 3443135"/>
              <a:gd name="connsiteX45" fmla="*/ 157455 w 5295970"/>
              <a:gd name="connsiteY45" fmla="*/ 3407659 h 3443135"/>
              <a:gd name="connsiteX46" fmla="*/ 62391 w 5295970"/>
              <a:gd name="connsiteY46" fmla="*/ 3430958 h 3443135"/>
              <a:gd name="connsiteX47" fmla="*/ 218 w 5295970"/>
              <a:gd name="connsiteY47" fmla="*/ 3300294 h 3443135"/>
              <a:gd name="connsiteX48" fmla="*/ 317204 w 5295970"/>
              <a:gd name="connsiteY48" fmla="*/ 126494 h 3443135"/>
              <a:gd name="connsiteX0" fmla="*/ 389809 w 5290593"/>
              <a:gd name="connsiteY0" fmla="*/ 83274 h 3483694"/>
              <a:gd name="connsiteX1" fmla="*/ 4952607 w 5290593"/>
              <a:gd name="connsiteY1" fmla="*/ 324523 h 3483694"/>
              <a:gd name="connsiteX2" fmla="*/ 4952608 w 5290593"/>
              <a:gd name="connsiteY2" fmla="*/ 3340853 h 3483694"/>
              <a:gd name="connsiteX3" fmla="*/ 4893537 w 5290593"/>
              <a:gd name="connsiteY3" fmla="*/ 3440382 h 3483694"/>
              <a:gd name="connsiteX4" fmla="*/ 4761691 w 5290593"/>
              <a:gd name="connsiteY4" fmla="*/ 3470808 h 3483694"/>
              <a:gd name="connsiteX5" fmla="*/ 4569175 w 5290593"/>
              <a:gd name="connsiteY5" fmla="*/ 3382630 h 3483694"/>
              <a:gd name="connsiteX6" fmla="*/ 4399230 w 5290593"/>
              <a:gd name="connsiteY6" fmla="*/ 3432708 h 3483694"/>
              <a:gd name="connsiteX7" fmla="*/ 4209031 w 5290593"/>
              <a:gd name="connsiteY7" fmla="*/ 3403786 h 3483694"/>
              <a:gd name="connsiteX8" fmla="*/ 3996561 w 5290593"/>
              <a:gd name="connsiteY8" fmla="*/ 3387656 h 3483694"/>
              <a:gd name="connsiteX9" fmla="*/ 3836723 w 5290593"/>
              <a:gd name="connsiteY9" fmla="*/ 3270538 h 3483694"/>
              <a:gd name="connsiteX10" fmla="*/ 3689378 w 5290593"/>
              <a:gd name="connsiteY10" fmla="*/ 3305207 h 3483694"/>
              <a:gd name="connsiteX11" fmla="*/ 3575776 w 5290593"/>
              <a:gd name="connsiteY11" fmla="*/ 3384135 h 3483694"/>
              <a:gd name="connsiteX12" fmla="*/ 3512070 w 5290593"/>
              <a:gd name="connsiteY12" fmla="*/ 3324617 h 3483694"/>
              <a:gd name="connsiteX13" fmla="*/ 3364355 w 5290593"/>
              <a:gd name="connsiteY13" fmla="*/ 3383213 h 3483694"/>
              <a:gd name="connsiteX14" fmla="*/ 3262445 w 5290593"/>
              <a:gd name="connsiteY14" fmla="*/ 3369952 h 3483694"/>
              <a:gd name="connsiteX15" fmla="*/ 3161011 w 5290593"/>
              <a:gd name="connsiteY15" fmla="*/ 3380102 h 3483694"/>
              <a:gd name="connsiteX16" fmla="*/ 3070183 w 5290593"/>
              <a:gd name="connsiteY16" fmla="*/ 3298666 h 3483694"/>
              <a:gd name="connsiteX17" fmla="*/ 2970901 w 5290593"/>
              <a:gd name="connsiteY17" fmla="*/ 3317114 h 3483694"/>
              <a:gd name="connsiteX18" fmla="*/ 2835649 w 5290593"/>
              <a:gd name="connsiteY18" fmla="*/ 3192532 h 3483694"/>
              <a:gd name="connsiteX19" fmla="*/ 2746723 w 5290593"/>
              <a:gd name="connsiteY19" fmla="*/ 3227306 h 3483694"/>
              <a:gd name="connsiteX20" fmla="*/ 2709949 w 5290593"/>
              <a:gd name="connsiteY20" fmla="*/ 3282234 h 3483694"/>
              <a:gd name="connsiteX21" fmla="*/ 2640636 w 5290593"/>
              <a:gd name="connsiteY21" fmla="*/ 3331208 h 3483694"/>
              <a:gd name="connsiteX22" fmla="*/ 2529832 w 5290593"/>
              <a:gd name="connsiteY22" fmla="*/ 3379802 h 3483694"/>
              <a:gd name="connsiteX23" fmla="*/ 2384985 w 5290593"/>
              <a:gd name="connsiteY23" fmla="*/ 3346637 h 3483694"/>
              <a:gd name="connsiteX24" fmla="*/ 2300810 w 5290593"/>
              <a:gd name="connsiteY24" fmla="*/ 3377484 h 3483694"/>
              <a:gd name="connsiteX25" fmla="*/ 2098929 w 5290593"/>
              <a:gd name="connsiteY25" fmla="*/ 3309541 h 3483694"/>
              <a:gd name="connsiteX26" fmla="*/ 1942803 w 5290593"/>
              <a:gd name="connsiteY26" fmla="*/ 3327587 h 3483694"/>
              <a:gd name="connsiteX27" fmla="*/ 1875662 w 5290593"/>
              <a:gd name="connsiteY27" fmla="*/ 3371435 h 3483694"/>
              <a:gd name="connsiteX28" fmla="*/ 1691566 w 5290593"/>
              <a:gd name="connsiteY28" fmla="*/ 3370212 h 3483694"/>
              <a:gd name="connsiteX29" fmla="*/ 1587559 w 5290593"/>
              <a:gd name="connsiteY29" fmla="*/ 3292207 h 3483694"/>
              <a:gd name="connsiteX30" fmla="*/ 1461918 w 5290593"/>
              <a:gd name="connsiteY30" fmla="*/ 3383623 h 3483694"/>
              <a:gd name="connsiteX31" fmla="*/ 1355847 w 5290593"/>
              <a:gd name="connsiteY31" fmla="*/ 3476248 h 3483694"/>
              <a:gd name="connsiteX32" fmla="*/ 1275052 w 5290593"/>
              <a:gd name="connsiteY32" fmla="*/ 3480226 h 3483694"/>
              <a:gd name="connsiteX33" fmla="*/ 1240866 w 5290593"/>
              <a:gd name="connsiteY33" fmla="*/ 3422216 h 3483694"/>
              <a:gd name="connsiteX34" fmla="*/ 1132525 w 5290593"/>
              <a:gd name="connsiteY34" fmla="*/ 3422215 h 3483694"/>
              <a:gd name="connsiteX35" fmla="*/ 1054314 w 5290593"/>
              <a:gd name="connsiteY35" fmla="*/ 3385339 h 3483694"/>
              <a:gd name="connsiteX36" fmla="*/ 959179 w 5290593"/>
              <a:gd name="connsiteY36" fmla="*/ 3426550 h 3483694"/>
              <a:gd name="connsiteX37" fmla="*/ 840795 w 5290593"/>
              <a:gd name="connsiteY37" fmla="*/ 3428791 h 3483694"/>
              <a:gd name="connsiteX38" fmla="*/ 781776 w 5290593"/>
              <a:gd name="connsiteY38" fmla="*/ 3472223 h 3483694"/>
              <a:gd name="connsiteX39" fmla="*/ 713574 w 5290593"/>
              <a:gd name="connsiteY39" fmla="*/ 3428792 h 3483694"/>
              <a:gd name="connsiteX40" fmla="*/ 629822 w 5290593"/>
              <a:gd name="connsiteY40" fmla="*/ 3435217 h 3483694"/>
              <a:gd name="connsiteX41" fmla="*/ 554548 w 5290593"/>
              <a:gd name="connsiteY41" fmla="*/ 3404938 h 3483694"/>
              <a:gd name="connsiteX42" fmla="*/ 486757 w 5290593"/>
              <a:gd name="connsiteY42" fmla="*/ 3345223 h 3483694"/>
              <a:gd name="connsiteX43" fmla="*/ 404472 w 5290593"/>
              <a:gd name="connsiteY43" fmla="*/ 3435217 h 3483694"/>
              <a:gd name="connsiteX44" fmla="*/ 269743 w 5290593"/>
              <a:gd name="connsiteY44" fmla="*/ 3472222 h 3483694"/>
              <a:gd name="connsiteX45" fmla="*/ 157455 w 5290593"/>
              <a:gd name="connsiteY45" fmla="*/ 3448218 h 3483694"/>
              <a:gd name="connsiteX46" fmla="*/ 62391 w 5290593"/>
              <a:gd name="connsiteY46" fmla="*/ 3471517 h 3483694"/>
              <a:gd name="connsiteX47" fmla="*/ 218 w 5290593"/>
              <a:gd name="connsiteY47" fmla="*/ 3340853 h 3483694"/>
              <a:gd name="connsiteX48" fmla="*/ 389809 w 5290593"/>
              <a:gd name="connsiteY48" fmla="*/ 83274 h 3483694"/>
              <a:gd name="connsiteX0" fmla="*/ 410334 w 5311118"/>
              <a:gd name="connsiteY0" fmla="*/ 140362 h 3679332"/>
              <a:gd name="connsiteX1" fmla="*/ 4973132 w 5311118"/>
              <a:gd name="connsiteY1" fmla="*/ 381611 h 3679332"/>
              <a:gd name="connsiteX2" fmla="*/ 4973133 w 5311118"/>
              <a:gd name="connsiteY2" fmla="*/ 3397941 h 3679332"/>
              <a:gd name="connsiteX3" fmla="*/ 4914062 w 5311118"/>
              <a:gd name="connsiteY3" fmla="*/ 3497470 h 3679332"/>
              <a:gd name="connsiteX4" fmla="*/ 4782216 w 5311118"/>
              <a:gd name="connsiteY4" fmla="*/ 3527896 h 3679332"/>
              <a:gd name="connsiteX5" fmla="*/ 4589700 w 5311118"/>
              <a:gd name="connsiteY5" fmla="*/ 3439718 h 3679332"/>
              <a:gd name="connsiteX6" fmla="*/ 4419755 w 5311118"/>
              <a:gd name="connsiteY6" fmla="*/ 3489796 h 3679332"/>
              <a:gd name="connsiteX7" fmla="*/ 4229556 w 5311118"/>
              <a:gd name="connsiteY7" fmla="*/ 3460874 h 3679332"/>
              <a:gd name="connsiteX8" fmla="*/ 4017086 w 5311118"/>
              <a:gd name="connsiteY8" fmla="*/ 3444744 h 3679332"/>
              <a:gd name="connsiteX9" fmla="*/ 3857248 w 5311118"/>
              <a:gd name="connsiteY9" fmla="*/ 3327626 h 3679332"/>
              <a:gd name="connsiteX10" fmla="*/ 3709903 w 5311118"/>
              <a:gd name="connsiteY10" fmla="*/ 3362295 h 3679332"/>
              <a:gd name="connsiteX11" fmla="*/ 3596301 w 5311118"/>
              <a:gd name="connsiteY11" fmla="*/ 3441223 h 3679332"/>
              <a:gd name="connsiteX12" fmla="*/ 3532595 w 5311118"/>
              <a:gd name="connsiteY12" fmla="*/ 3381705 h 3679332"/>
              <a:gd name="connsiteX13" fmla="*/ 3384880 w 5311118"/>
              <a:gd name="connsiteY13" fmla="*/ 3440301 h 3679332"/>
              <a:gd name="connsiteX14" fmla="*/ 3282970 w 5311118"/>
              <a:gd name="connsiteY14" fmla="*/ 3427040 h 3679332"/>
              <a:gd name="connsiteX15" fmla="*/ 3181536 w 5311118"/>
              <a:gd name="connsiteY15" fmla="*/ 3437190 h 3679332"/>
              <a:gd name="connsiteX16" fmla="*/ 3090708 w 5311118"/>
              <a:gd name="connsiteY16" fmla="*/ 3355754 h 3679332"/>
              <a:gd name="connsiteX17" fmla="*/ 2991426 w 5311118"/>
              <a:gd name="connsiteY17" fmla="*/ 3374202 h 3679332"/>
              <a:gd name="connsiteX18" fmla="*/ 2856174 w 5311118"/>
              <a:gd name="connsiteY18" fmla="*/ 3249620 h 3679332"/>
              <a:gd name="connsiteX19" fmla="*/ 2767248 w 5311118"/>
              <a:gd name="connsiteY19" fmla="*/ 3284394 h 3679332"/>
              <a:gd name="connsiteX20" fmla="*/ 2730474 w 5311118"/>
              <a:gd name="connsiteY20" fmla="*/ 3339322 h 3679332"/>
              <a:gd name="connsiteX21" fmla="*/ 2661161 w 5311118"/>
              <a:gd name="connsiteY21" fmla="*/ 3388296 h 3679332"/>
              <a:gd name="connsiteX22" fmla="*/ 2550357 w 5311118"/>
              <a:gd name="connsiteY22" fmla="*/ 3436890 h 3679332"/>
              <a:gd name="connsiteX23" fmla="*/ 2405510 w 5311118"/>
              <a:gd name="connsiteY23" fmla="*/ 3403725 h 3679332"/>
              <a:gd name="connsiteX24" fmla="*/ 2321335 w 5311118"/>
              <a:gd name="connsiteY24" fmla="*/ 3434572 h 3679332"/>
              <a:gd name="connsiteX25" fmla="*/ 2119454 w 5311118"/>
              <a:gd name="connsiteY25" fmla="*/ 3366629 h 3679332"/>
              <a:gd name="connsiteX26" fmla="*/ 1963328 w 5311118"/>
              <a:gd name="connsiteY26" fmla="*/ 3384675 h 3679332"/>
              <a:gd name="connsiteX27" fmla="*/ 1896187 w 5311118"/>
              <a:gd name="connsiteY27" fmla="*/ 3428523 h 3679332"/>
              <a:gd name="connsiteX28" fmla="*/ 1712091 w 5311118"/>
              <a:gd name="connsiteY28" fmla="*/ 3427300 h 3679332"/>
              <a:gd name="connsiteX29" fmla="*/ 1608084 w 5311118"/>
              <a:gd name="connsiteY29" fmla="*/ 3349295 h 3679332"/>
              <a:gd name="connsiteX30" fmla="*/ 1482443 w 5311118"/>
              <a:gd name="connsiteY30" fmla="*/ 3440711 h 3679332"/>
              <a:gd name="connsiteX31" fmla="*/ 1376372 w 5311118"/>
              <a:gd name="connsiteY31" fmla="*/ 3533336 h 3679332"/>
              <a:gd name="connsiteX32" fmla="*/ 1295577 w 5311118"/>
              <a:gd name="connsiteY32" fmla="*/ 3537314 h 3679332"/>
              <a:gd name="connsiteX33" fmla="*/ 1261391 w 5311118"/>
              <a:gd name="connsiteY33" fmla="*/ 3479304 h 3679332"/>
              <a:gd name="connsiteX34" fmla="*/ 1153050 w 5311118"/>
              <a:gd name="connsiteY34" fmla="*/ 3479303 h 3679332"/>
              <a:gd name="connsiteX35" fmla="*/ 1074839 w 5311118"/>
              <a:gd name="connsiteY35" fmla="*/ 3442427 h 3679332"/>
              <a:gd name="connsiteX36" fmla="*/ 979704 w 5311118"/>
              <a:gd name="connsiteY36" fmla="*/ 3483638 h 3679332"/>
              <a:gd name="connsiteX37" fmla="*/ 861320 w 5311118"/>
              <a:gd name="connsiteY37" fmla="*/ 3485879 h 3679332"/>
              <a:gd name="connsiteX38" fmla="*/ 802301 w 5311118"/>
              <a:gd name="connsiteY38" fmla="*/ 3529311 h 3679332"/>
              <a:gd name="connsiteX39" fmla="*/ 734099 w 5311118"/>
              <a:gd name="connsiteY39" fmla="*/ 3485880 h 3679332"/>
              <a:gd name="connsiteX40" fmla="*/ 650347 w 5311118"/>
              <a:gd name="connsiteY40" fmla="*/ 3492305 h 3679332"/>
              <a:gd name="connsiteX41" fmla="*/ 575073 w 5311118"/>
              <a:gd name="connsiteY41" fmla="*/ 3462026 h 3679332"/>
              <a:gd name="connsiteX42" fmla="*/ 507282 w 5311118"/>
              <a:gd name="connsiteY42" fmla="*/ 3402311 h 3679332"/>
              <a:gd name="connsiteX43" fmla="*/ 424997 w 5311118"/>
              <a:gd name="connsiteY43" fmla="*/ 3492305 h 3679332"/>
              <a:gd name="connsiteX44" fmla="*/ 290268 w 5311118"/>
              <a:gd name="connsiteY44" fmla="*/ 3529310 h 3679332"/>
              <a:gd name="connsiteX45" fmla="*/ 177980 w 5311118"/>
              <a:gd name="connsiteY45" fmla="*/ 3505306 h 3679332"/>
              <a:gd name="connsiteX46" fmla="*/ 82916 w 5311118"/>
              <a:gd name="connsiteY46" fmla="*/ 3528605 h 3679332"/>
              <a:gd name="connsiteX47" fmla="*/ 20743 w 5311118"/>
              <a:gd name="connsiteY47" fmla="*/ 3397941 h 3679332"/>
              <a:gd name="connsiteX48" fmla="*/ 173300 w 5311118"/>
              <a:gd name="connsiteY48" fmla="*/ 1282030 h 3679332"/>
              <a:gd name="connsiteX49" fmla="*/ 410334 w 5311118"/>
              <a:gd name="connsiteY49" fmla="*/ 140362 h 3679332"/>
              <a:gd name="connsiteX0" fmla="*/ 485034 w 5385818"/>
              <a:gd name="connsiteY0" fmla="*/ 288627 h 3827597"/>
              <a:gd name="connsiteX1" fmla="*/ 5047832 w 5385818"/>
              <a:gd name="connsiteY1" fmla="*/ 529876 h 3827597"/>
              <a:gd name="connsiteX2" fmla="*/ 5047833 w 5385818"/>
              <a:gd name="connsiteY2" fmla="*/ 3546206 h 3827597"/>
              <a:gd name="connsiteX3" fmla="*/ 4988762 w 5385818"/>
              <a:gd name="connsiteY3" fmla="*/ 3645735 h 3827597"/>
              <a:gd name="connsiteX4" fmla="*/ 4856916 w 5385818"/>
              <a:gd name="connsiteY4" fmla="*/ 3676161 h 3827597"/>
              <a:gd name="connsiteX5" fmla="*/ 4664400 w 5385818"/>
              <a:gd name="connsiteY5" fmla="*/ 3587983 h 3827597"/>
              <a:gd name="connsiteX6" fmla="*/ 4494455 w 5385818"/>
              <a:gd name="connsiteY6" fmla="*/ 3638061 h 3827597"/>
              <a:gd name="connsiteX7" fmla="*/ 4304256 w 5385818"/>
              <a:gd name="connsiteY7" fmla="*/ 3609139 h 3827597"/>
              <a:gd name="connsiteX8" fmla="*/ 4091786 w 5385818"/>
              <a:gd name="connsiteY8" fmla="*/ 3593009 h 3827597"/>
              <a:gd name="connsiteX9" fmla="*/ 3931948 w 5385818"/>
              <a:gd name="connsiteY9" fmla="*/ 3475891 h 3827597"/>
              <a:gd name="connsiteX10" fmla="*/ 3784603 w 5385818"/>
              <a:gd name="connsiteY10" fmla="*/ 3510560 h 3827597"/>
              <a:gd name="connsiteX11" fmla="*/ 3671001 w 5385818"/>
              <a:gd name="connsiteY11" fmla="*/ 3589488 h 3827597"/>
              <a:gd name="connsiteX12" fmla="*/ 3607295 w 5385818"/>
              <a:gd name="connsiteY12" fmla="*/ 3529970 h 3827597"/>
              <a:gd name="connsiteX13" fmla="*/ 3459580 w 5385818"/>
              <a:gd name="connsiteY13" fmla="*/ 3588566 h 3827597"/>
              <a:gd name="connsiteX14" fmla="*/ 3357670 w 5385818"/>
              <a:gd name="connsiteY14" fmla="*/ 3575305 h 3827597"/>
              <a:gd name="connsiteX15" fmla="*/ 3256236 w 5385818"/>
              <a:gd name="connsiteY15" fmla="*/ 3585455 h 3827597"/>
              <a:gd name="connsiteX16" fmla="*/ 3165408 w 5385818"/>
              <a:gd name="connsiteY16" fmla="*/ 3504019 h 3827597"/>
              <a:gd name="connsiteX17" fmla="*/ 3066126 w 5385818"/>
              <a:gd name="connsiteY17" fmla="*/ 3522467 h 3827597"/>
              <a:gd name="connsiteX18" fmla="*/ 2930874 w 5385818"/>
              <a:gd name="connsiteY18" fmla="*/ 3397885 h 3827597"/>
              <a:gd name="connsiteX19" fmla="*/ 2841948 w 5385818"/>
              <a:gd name="connsiteY19" fmla="*/ 3432659 h 3827597"/>
              <a:gd name="connsiteX20" fmla="*/ 2805174 w 5385818"/>
              <a:gd name="connsiteY20" fmla="*/ 3487587 h 3827597"/>
              <a:gd name="connsiteX21" fmla="*/ 2735861 w 5385818"/>
              <a:gd name="connsiteY21" fmla="*/ 3536561 h 3827597"/>
              <a:gd name="connsiteX22" fmla="*/ 2625057 w 5385818"/>
              <a:gd name="connsiteY22" fmla="*/ 3585155 h 3827597"/>
              <a:gd name="connsiteX23" fmla="*/ 2480210 w 5385818"/>
              <a:gd name="connsiteY23" fmla="*/ 3551990 h 3827597"/>
              <a:gd name="connsiteX24" fmla="*/ 2396035 w 5385818"/>
              <a:gd name="connsiteY24" fmla="*/ 3582837 h 3827597"/>
              <a:gd name="connsiteX25" fmla="*/ 2194154 w 5385818"/>
              <a:gd name="connsiteY25" fmla="*/ 3514894 h 3827597"/>
              <a:gd name="connsiteX26" fmla="*/ 2038028 w 5385818"/>
              <a:gd name="connsiteY26" fmla="*/ 3532940 h 3827597"/>
              <a:gd name="connsiteX27" fmla="*/ 1970887 w 5385818"/>
              <a:gd name="connsiteY27" fmla="*/ 3576788 h 3827597"/>
              <a:gd name="connsiteX28" fmla="*/ 1786791 w 5385818"/>
              <a:gd name="connsiteY28" fmla="*/ 3575565 h 3827597"/>
              <a:gd name="connsiteX29" fmla="*/ 1682784 w 5385818"/>
              <a:gd name="connsiteY29" fmla="*/ 3497560 h 3827597"/>
              <a:gd name="connsiteX30" fmla="*/ 1557143 w 5385818"/>
              <a:gd name="connsiteY30" fmla="*/ 3588976 h 3827597"/>
              <a:gd name="connsiteX31" fmla="*/ 1451072 w 5385818"/>
              <a:gd name="connsiteY31" fmla="*/ 3681601 h 3827597"/>
              <a:gd name="connsiteX32" fmla="*/ 1370277 w 5385818"/>
              <a:gd name="connsiteY32" fmla="*/ 3685579 h 3827597"/>
              <a:gd name="connsiteX33" fmla="*/ 1336091 w 5385818"/>
              <a:gd name="connsiteY33" fmla="*/ 3627569 h 3827597"/>
              <a:gd name="connsiteX34" fmla="*/ 1227750 w 5385818"/>
              <a:gd name="connsiteY34" fmla="*/ 3627568 h 3827597"/>
              <a:gd name="connsiteX35" fmla="*/ 1149539 w 5385818"/>
              <a:gd name="connsiteY35" fmla="*/ 3590692 h 3827597"/>
              <a:gd name="connsiteX36" fmla="*/ 1054404 w 5385818"/>
              <a:gd name="connsiteY36" fmla="*/ 3631903 h 3827597"/>
              <a:gd name="connsiteX37" fmla="*/ 936020 w 5385818"/>
              <a:gd name="connsiteY37" fmla="*/ 3634144 h 3827597"/>
              <a:gd name="connsiteX38" fmla="*/ 877001 w 5385818"/>
              <a:gd name="connsiteY38" fmla="*/ 3677576 h 3827597"/>
              <a:gd name="connsiteX39" fmla="*/ 808799 w 5385818"/>
              <a:gd name="connsiteY39" fmla="*/ 3634145 h 3827597"/>
              <a:gd name="connsiteX40" fmla="*/ 725047 w 5385818"/>
              <a:gd name="connsiteY40" fmla="*/ 3640570 h 3827597"/>
              <a:gd name="connsiteX41" fmla="*/ 649773 w 5385818"/>
              <a:gd name="connsiteY41" fmla="*/ 3610291 h 3827597"/>
              <a:gd name="connsiteX42" fmla="*/ 581982 w 5385818"/>
              <a:gd name="connsiteY42" fmla="*/ 3550576 h 3827597"/>
              <a:gd name="connsiteX43" fmla="*/ 499697 w 5385818"/>
              <a:gd name="connsiteY43" fmla="*/ 3640570 h 3827597"/>
              <a:gd name="connsiteX44" fmla="*/ 364968 w 5385818"/>
              <a:gd name="connsiteY44" fmla="*/ 3677575 h 3827597"/>
              <a:gd name="connsiteX45" fmla="*/ 252680 w 5385818"/>
              <a:gd name="connsiteY45" fmla="*/ 3653571 h 3827597"/>
              <a:gd name="connsiteX46" fmla="*/ 157616 w 5385818"/>
              <a:gd name="connsiteY46" fmla="*/ 3676870 h 3827597"/>
              <a:gd name="connsiteX47" fmla="*/ 95443 w 5385818"/>
              <a:gd name="connsiteY47" fmla="*/ 3546206 h 3827597"/>
              <a:gd name="connsiteX48" fmla="*/ 485034 w 5385818"/>
              <a:gd name="connsiteY48" fmla="*/ 288627 h 3827597"/>
              <a:gd name="connsiteX0" fmla="*/ 351970 w 5684669"/>
              <a:gd name="connsiteY0" fmla="*/ 376566 h 3675374"/>
              <a:gd name="connsiteX1" fmla="*/ 5316897 w 5684669"/>
              <a:gd name="connsiteY1" fmla="*/ 377653 h 3675374"/>
              <a:gd name="connsiteX2" fmla="*/ 5316898 w 5684669"/>
              <a:gd name="connsiteY2" fmla="*/ 3393983 h 3675374"/>
              <a:gd name="connsiteX3" fmla="*/ 5257827 w 5684669"/>
              <a:gd name="connsiteY3" fmla="*/ 3493512 h 3675374"/>
              <a:gd name="connsiteX4" fmla="*/ 5125981 w 5684669"/>
              <a:gd name="connsiteY4" fmla="*/ 3523938 h 3675374"/>
              <a:gd name="connsiteX5" fmla="*/ 4933465 w 5684669"/>
              <a:gd name="connsiteY5" fmla="*/ 3435760 h 3675374"/>
              <a:gd name="connsiteX6" fmla="*/ 4763520 w 5684669"/>
              <a:gd name="connsiteY6" fmla="*/ 3485838 h 3675374"/>
              <a:gd name="connsiteX7" fmla="*/ 4573321 w 5684669"/>
              <a:gd name="connsiteY7" fmla="*/ 3456916 h 3675374"/>
              <a:gd name="connsiteX8" fmla="*/ 4360851 w 5684669"/>
              <a:gd name="connsiteY8" fmla="*/ 3440786 h 3675374"/>
              <a:gd name="connsiteX9" fmla="*/ 4201013 w 5684669"/>
              <a:gd name="connsiteY9" fmla="*/ 3323668 h 3675374"/>
              <a:gd name="connsiteX10" fmla="*/ 4053668 w 5684669"/>
              <a:gd name="connsiteY10" fmla="*/ 3358337 h 3675374"/>
              <a:gd name="connsiteX11" fmla="*/ 3940066 w 5684669"/>
              <a:gd name="connsiteY11" fmla="*/ 3437265 h 3675374"/>
              <a:gd name="connsiteX12" fmla="*/ 3876360 w 5684669"/>
              <a:gd name="connsiteY12" fmla="*/ 3377747 h 3675374"/>
              <a:gd name="connsiteX13" fmla="*/ 3728645 w 5684669"/>
              <a:gd name="connsiteY13" fmla="*/ 3436343 h 3675374"/>
              <a:gd name="connsiteX14" fmla="*/ 3626735 w 5684669"/>
              <a:gd name="connsiteY14" fmla="*/ 3423082 h 3675374"/>
              <a:gd name="connsiteX15" fmla="*/ 3525301 w 5684669"/>
              <a:gd name="connsiteY15" fmla="*/ 3433232 h 3675374"/>
              <a:gd name="connsiteX16" fmla="*/ 3434473 w 5684669"/>
              <a:gd name="connsiteY16" fmla="*/ 3351796 h 3675374"/>
              <a:gd name="connsiteX17" fmla="*/ 3335191 w 5684669"/>
              <a:gd name="connsiteY17" fmla="*/ 3370244 h 3675374"/>
              <a:gd name="connsiteX18" fmla="*/ 3199939 w 5684669"/>
              <a:gd name="connsiteY18" fmla="*/ 3245662 h 3675374"/>
              <a:gd name="connsiteX19" fmla="*/ 3111013 w 5684669"/>
              <a:gd name="connsiteY19" fmla="*/ 3280436 h 3675374"/>
              <a:gd name="connsiteX20" fmla="*/ 3074239 w 5684669"/>
              <a:gd name="connsiteY20" fmla="*/ 3335364 h 3675374"/>
              <a:gd name="connsiteX21" fmla="*/ 3004926 w 5684669"/>
              <a:gd name="connsiteY21" fmla="*/ 3384338 h 3675374"/>
              <a:gd name="connsiteX22" fmla="*/ 2894122 w 5684669"/>
              <a:gd name="connsiteY22" fmla="*/ 3432932 h 3675374"/>
              <a:gd name="connsiteX23" fmla="*/ 2749275 w 5684669"/>
              <a:gd name="connsiteY23" fmla="*/ 3399767 h 3675374"/>
              <a:gd name="connsiteX24" fmla="*/ 2665100 w 5684669"/>
              <a:gd name="connsiteY24" fmla="*/ 3430614 h 3675374"/>
              <a:gd name="connsiteX25" fmla="*/ 2463219 w 5684669"/>
              <a:gd name="connsiteY25" fmla="*/ 3362671 h 3675374"/>
              <a:gd name="connsiteX26" fmla="*/ 2307093 w 5684669"/>
              <a:gd name="connsiteY26" fmla="*/ 3380717 h 3675374"/>
              <a:gd name="connsiteX27" fmla="*/ 2239952 w 5684669"/>
              <a:gd name="connsiteY27" fmla="*/ 3424565 h 3675374"/>
              <a:gd name="connsiteX28" fmla="*/ 2055856 w 5684669"/>
              <a:gd name="connsiteY28" fmla="*/ 3423342 h 3675374"/>
              <a:gd name="connsiteX29" fmla="*/ 1951849 w 5684669"/>
              <a:gd name="connsiteY29" fmla="*/ 3345337 h 3675374"/>
              <a:gd name="connsiteX30" fmla="*/ 1826208 w 5684669"/>
              <a:gd name="connsiteY30" fmla="*/ 3436753 h 3675374"/>
              <a:gd name="connsiteX31" fmla="*/ 1720137 w 5684669"/>
              <a:gd name="connsiteY31" fmla="*/ 3529378 h 3675374"/>
              <a:gd name="connsiteX32" fmla="*/ 1639342 w 5684669"/>
              <a:gd name="connsiteY32" fmla="*/ 3533356 h 3675374"/>
              <a:gd name="connsiteX33" fmla="*/ 1605156 w 5684669"/>
              <a:gd name="connsiteY33" fmla="*/ 3475346 h 3675374"/>
              <a:gd name="connsiteX34" fmla="*/ 1496815 w 5684669"/>
              <a:gd name="connsiteY34" fmla="*/ 3475345 h 3675374"/>
              <a:gd name="connsiteX35" fmla="*/ 1418604 w 5684669"/>
              <a:gd name="connsiteY35" fmla="*/ 3438469 h 3675374"/>
              <a:gd name="connsiteX36" fmla="*/ 1323469 w 5684669"/>
              <a:gd name="connsiteY36" fmla="*/ 3479680 h 3675374"/>
              <a:gd name="connsiteX37" fmla="*/ 1205085 w 5684669"/>
              <a:gd name="connsiteY37" fmla="*/ 3481921 h 3675374"/>
              <a:gd name="connsiteX38" fmla="*/ 1146066 w 5684669"/>
              <a:gd name="connsiteY38" fmla="*/ 3525353 h 3675374"/>
              <a:gd name="connsiteX39" fmla="*/ 1077864 w 5684669"/>
              <a:gd name="connsiteY39" fmla="*/ 3481922 h 3675374"/>
              <a:gd name="connsiteX40" fmla="*/ 994112 w 5684669"/>
              <a:gd name="connsiteY40" fmla="*/ 3488347 h 3675374"/>
              <a:gd name="connsiteX41" fmla="*/ 918838 w 5684669"/>
              <a:gd name="connsiteY41" fmla="*/ 3458068 h 3675374"/>
              <a:gd name="connsiteX42" fmla="*/ 851047 w 5684669"/>
              <a:gd name="connsiteY42" fmla="*/ 3398353 h 3675374"/>
              <a:gd name="connsiteX43" fmla="*/ 768762 w 5684669"/>
              <a:gd name="connsiteY43" fmla="*/ 3488347 h 3675374"/>
              <a:gd name="connsiteX44" fmla="*/ 634033 w 5684669"/>
              <a:gd name="connsiteY44" fmla="*/ 3525352 h 3675374"/>
              <a:gd name="connsiteX45" fmla="*/ 521745 w 5684669"/>
              <a:gd name="connsiteY45" fmla="*/ 3501348 h 3675374"/>
              <a:gd name="connsiteX46" fmla="*/ 426681 w 5684669"/>
              <a:gd name="connsiteY46" fmla="*/ 3524647 h 3675374"/>
              <a:gd name="connsiteX47" fmla="*/ 364508 w 5684669"/>
              <a:gd name="connsiteY47" fmla="*/ 3393983 h 3675374"/>
              <a:gd name="connsiteX48" fmla="*/ 351970 w 5684669"/>
              <a:gd name="connsiteY48" fmla="*/ 376566 h 3675374"/>
              <a:gd name="connsiteX0" fmla="*/ 351970 w 5684669"/>
              <a:gd name="connsiteY0" fmla="*/ 376566 h 3675374"/>
              <a:gd name="connsiteX1" fmla="*/ 5316897 w 5684669"/>
              <a:gd name="connsiteY1" fmla="*/ 377653 h 3675374"/>
              <a:gd name="connsiteX2" fmla="*/ 5316898 w 5684669"/>
              <a:gd name="connsiteY2" fmla="*/ 3393983 h 3675374"/>
              <a:gd name="connsiteX3" fmla="*/ 5257827 w 5684669"/>
              <a:gd name="connsiteY3" fmla="*/ 3493512 h 3675374"/>
              <a:gd name="connsiteX4" fmla="*/ 5125981 w 5684669"/>
              <a:gd name="connsiteY4" fmla="*/ 3523938 h 3675374"/>
              <a:gd name="connsiteX5" fmla="*/ 4933465 w 5684669"/>
              <a:gd name="connsiteY5" fmla="*/ 3435760 h 3675374"/>
              <a:gd name="connsiteX6" fmla="*/ 4763520 w 5684669"/>
              <a:gd name="connsiteY6" fmla="*/ 3485838 h 3675374"/>
              <a:gd name="connsiteX7" fmla="*/ 4573321 w 5684669"/>
              <a:gd name="connsiteY7" fmla="*/ 3456916 h 3675374"/>
              <a:gd name="connsiteX8" fmla="*/ 4360851 w 5684669"/>
              <a:gd name="connsiteY8" fmla="*/ 3440786 h 3675374"/>
              <a:gd name="connsiteX9" fmla="*/ 4201013 w 5684669"/>
              <a:gd name="connsiteY9" fmla="*/ 3323668 h 3675374"/>
              <a:gd name="connsiteX10" fmla="*/ 4053668 w 5684669"/>
              <a:gd name="connsiteY10" fmla="*/ 3358337 h 3675374"/>
              <a:gd name="connsiteX11" fmla="*/ 3940066 w 5684669"/>
              <a:gd name="connsiteY11" fmla="*/ 3437265 h 3675374"/>
              <a:gd name="connsiteX12" fmla="*/ 3876360 w 5684669"/>
              <a:gd name="connsiteY12" fmla="*/ 3377747 h 3675374"/>
              <a:gd name="connsiteX13" fmla="*/ 3728645 w 5684669"/>
              <a:gd name="connsiteY13" fmla="*/ 3436343 h 3675374"/>
              <a:gd name="connsiteX14" fmla="*/ 3626735 w 5684669"/>
              <a:gd name="connsiteY14" fmla="*/ 3423082 h 3675374"/>
              <a:gd name="connsiteX15" fmla="*/ 3525301 w 5684669"/>
              <a:gd name="connsiteY15" fmla="*/ 3433232 h 3675374"/>
              <a:gd name="connsiteX16" fmla="*/ 3434473 w 5684669"/>
              <a:gd name="connsiteY16" fmla="*/ 3351796 h 3675374"/>
              <a:gd name="connsiteX17" fmla="*/ 3335191 w 5684669"/>
              <a:gd name="connsiteY17" fmla="*/ 3370244 h 3675374"/>
              <a:gd name="connsiteX18" fmla="*/ 3199939 w 5684669"/>
              <a:gd name="connsiteY18" fmla="*/ 3245662 h 3675374"/>
              <a:gd name="connsiteX19" fmla="*/ 3111013 w 5684669"/>
              <a:gd name="connsiteY19" fmla="*/ 3280436 h 3675374"/>
              <a:gd name="connsiteX20" fmla="*/ 3074239 w 5684669"/>
              <a:gd name="connsiteY20" fmla="*/ 3335364 h 3675374"/>
              <a:gd name="connsiteX21" fmla="*/ 3004926 w 5684669"/>
              <a:gd name="connsiteY21" fmla="*/ 3384338 h 3675374"/>
              <a:gd name="connsiteX22" fmla="*/ 2894122 w 5684669"/>
              <a:gd name="connsiteY22" fmla="*/ 3432932 h 3675374"/>
              <a:gd name="connsiteX23" fmla="*/ 2749275 w 5684669"/>
              <a:gd name="connsiteY23" fmla="*/ 3399767 h 3675374"/>
              <a:gd name="connsiteX24" fmla="*/ 2665100 w 5684669"/>
              <a:gd name="connsiteY24" fmla="*/ 3430614 h 3675374"/>
              <a:gd name="connsiteX25" fmla="*/ 2463219 w 5684669"/>
              <a:gd name="connsiteY25" fmla="*/ 3362671 h 3675374"/>
              <a:gd name="connsiteX26" fmla="*/ 2307093 w 5684669"/>
              <a:gd name="connsiteY26" fmla="*/ 3380717 h 3675374"/>
              <a:gd name="connsiteX27" fmla="*/ 2239952 w 5684669"/>
              <a:gd name="connsiteY27" fmla="*/ 3424565 h 3675374"/>
              <a:gd name="connsiteX28" fmla="*/ 2055856 w 5684669"/>
              <a:gd name="connsiteY28" fmla="*/ 3423342 h 3675374"/>
              <a:gd name="connsiteX29" fmla="*/ 1951849 w 5684669"/>
              <a:gd name="connsiteY29" fmla="*/ 3345337 h 3675374"/>
              <a:gd name="connsiteX30" fmla="*/ 1826208 w 5684669"/>
              <a:gd name="connsiteY30" fmla="*/ 3436753 h 3675374"/>
              <a:gd name="connsiteX31" fmla="*/ 1720137 w 5684669"/>
              <a:gd name="connsiteY31" fmla="*/ 3529378 h 3675374"/>
              <a:gd name="connsiteX32" fmla="*/ 1639342 w 5684669"/>
              <a:gd name="connsiteY32" fmla="*/ 3533356 h 3675374"/>
              <a:gd name="connsiteX33" fmla="*/ 1605156 w 5684669"/>
              <a:gd name="connsiteY33" fmla="*/ 3475346 h 3675374"/>
              <a:gd name="connsiteX34" fmla="*/ 1496815 w 5684669"/>
              <a:gd name="connsiteY34" fmla="*/ 3475345 h 3675374"/>
              <a:gd name="connsiteX35" fmla="*/ 1418604 w 5684669"/>
              <a:gd name="connsiteY35" fmla="*/ 3438469 h 3675374"/>
              <a:gd name="connsiteX36" fmla="*/ 1323469 w 5684669"/>
              <a:gd name="connsiteY36" fmla="*/ 3479680 h 3675374"/>
              <a:gd name="connsiteX37" fmla="*/ 1205085 w 5684669"/>
              <a:gd name="connsiteY37" fmla="*/ 3481921 h 3675374"/>
              <a:gd name="connsiteX38" fmla="*/ 1146066 w 5684669"/>
              <a:gd name="connsiteY38" fmla="*/ 3525353 h 3675374"/>
              <a:gd name="connsiteX39" fmla="*/ 1077864 w 5684669"/>
              <a:gd name="connsiteY39" fmla="*/ 3481922 h 3675374"/>
              <a:gd name="connsiteX40" fmla="*/ 994112 w 5684669"/>
              <a:gd name="connsiteY40" fmla="*/ 3488347 h 3675374"/>
              <a:gd name="connsiteX41" fmla="*/ 918838 w 5684669"/>
              <a:gd name="connsiteY41" fmla="*/ 3458068 h 3675374"/>
              <a:gd name="connsiteX42" fmla="*/ 851047 w 5684669"/>
              <a:gd name="connsiteY42" fmla="*/ 3398353 h 3675374"/>
              <a:gd name="connsiteX43" fmla="*/ 768762 w 5684669"/>
              <a:gd name="connsiteY43" fmla="*/ 3488347 h 3675374"/>
              <a:gd name="connsiteX44" fmla="*/ 634033 w 5684669"/>
              <a:gd name="connsiteY44" fmla="*/ 3525352 h 3675374"/>
              <a:gd name="connsiteX45" fmla="*/ 521745 w 5684669"/>
              <a:gd name="connsiteY45" fmla="*/ 3501348 h 3675374"/>
              <a:gd name="connsiteX46" fmla="*/ 426681 w 5684669"/>
              <a:gd name="connsiteY46" fmla="*/ 3524647 h 3675374"/>
              <a:gd name="connsiteX47" fmla="*/ 364508 w 5684669"/>
              <a:gd name="connsiteY47" fmla="*/ 3393983 h 3675374"/>
              <a:gd name="connsiteX48" fmla="*/ 351970 w 5684669"/>
              <a:gd name="connsiteY48" fmla="*/ 376566 h 3675374"/>
              <a:gd name="connsiteX0" fmla="*/ 351970 w 5684669"/>
              <a:gd name="connsiteY0" fmla="*/ 223972 h 3522780"/>
              <a:gd name="connsiteX1" fmla="*/ 5316897 w 5684669"/>
              <a:gd name="connsiteY1" fmla="*/ 225059 h 3522780"/>
              <a:gd name="connsiteX2" fmla="*/ 5316898 w 5684669"/>
              <a:gd name="connsiteY2" fmla="*/ 3241389 h 3522780"/>
              <a:gd name="connsiteX3" fmla="*/ 5257827 w 5684669"/>
              <a:gd name="connsiteY3" fmla="*/ 3340918 h 3522780"/>
              <a:gd name="connsiteX4" fmla="*/ 5125981 w 5684669"/>
              <a:gd name="connsiteY4" fmla="*/ 3371344 h 3522780"/>
              <a:gd name="connsiteX5" fmla="*/ 4933465 w 5684669"/>
              <a:gd name="connsiteY5" fmla="*/ 3283166 h 3522780"/>
              <a:gd name="connsiteX6" fmla="*/ 4763520 w 5684669"/>
              <a:gd name="connsiteY6" fmla="*/ 3333244 h 3522780"/>
              <a:gd name="connsiteX7" fmla="*/ 4573321 w 5684669"/>
              <a:gd name="connsiteY7" fmla="*/ 3304322 h 3522780"/>
              <a:gd name="connsiteX8" fmla="*/ 4360851 w 5684669"/>
              <a:gd name="connsiteY8" fmla="*/ 3288192 h 3522780"/>
              <a:gd name="connsiteX9" fmla="*/ 4201013 w 5684669"/>
              <a:gd name="connsiteY9" fmla="*/ 3171074 h 3522780"/>
              <a:gd name="connsiteX10" fmla="*/ 4053668 w 5684669"/>
              <a:gd name="connsiteY10" fmla="*/ 3205743 h 3522780"/>
              <a:gd name="connsiteX11" fmla="*/ 3940066 w 5684669"/>
              <a:gd name="connsiteY11" fmla="*/ 3284671 h 3522780"/>
              <a:gd name="connsiteX12" fmla="*/ 3876360 w 5684669"/>
              <a:gd name="connsiteY12" fmla="*/ 3225153 h 3522780"/>
              <a:gd name="connsiteX13" fmla="*/ 3728645 w 5684669"/>
              <a:gd name="connsiteY13" fmla="*/ 3283749 h 3522780"/>
              <a:gd name="connsiteX14" fmla="*/ 3626735 w 5684669"/>
              <a:gd name="connsiteY14" fmla="*/ 3270488 h 3522780"/>
              <a:gd name="connsiteX15" fmla="*/ 3525301 w 5684669"/>
              <a:gd name="connsiteY15" fmla="*/ 3280638 h 3522780"/>
              <a:gd name="connsiteX16" fmla="*/ 3434473 w 5684669"/>
              <a:gd name="connsiteY16" fmla="*/ 3199202 h 3522780"/>
              <a:gd name="connsiteX17" fmla="*/ 3335191 w 5684669"/>
              <a:gd name="connsiteY17" fmla="*/ 3217650 h 3522780"/>
              <a:gd name="connsiteX18" fmla="*/ 3199939 w 5684669"/>
              <a:gd name="connsiteY18" fmla="*/ 3093068 h 3522780"/>
              <a:gd name="connsiteX19" fmla="*/ 3111013 w 5684669"/>
              <a:gd name="connsiteY19" fmla="*/ 3127842 h 3522780"/>
              <a:gd name="connsiteX20" fmla="*/ 3074239 w 5684669"/>
              <a:gd name="connsiteY20" fmla="*/ 3182770 h 3522780"/>
              <a:gd name="connsiteX21" fmla="*/ 3004926 w 5684669"/>
              <a:gd name="connsiteY21" fmla="*/ 3231744 h 3522780"/>
              <a:gd name="connsiteX22" fmla="*/ 2894122 w 5684669"/>
              <a:gd name="connsiteY22" fmla="*/ 3280338 h 3522780"/>
              <a:gd name="connsiteX23" fmla="*/ 2749275 w 5684669"/>
              <a:gd name="connsiteY23" fmla="*/ 3247173 h 3522780"/>
              <a:gd name="connsiteX24" fmla="*/ 2665100 w 5684669"/>
              <a:gd name="connsiteY24" fmla="*/ 3278020 h 3522780"/>
              <a:gd name="connsiteX25" fmla="*/ 2463219 w 5684669"/>
              <a:gd name="connsiteY25" fmla="*/ 3210077 h 3522780"/>
              <a:gd name="connsiteX26" fmla="*/ 2307093 w 5684669"/>
              <a:gd name="connsiteY26" fmla="*/ 3228123 h 3522780"/>
              <a:gd name="connsiteX27" fmla="*/ 2239952 w 5684669"/>
              <a:gd name="connsiteY27" fmla="*/ 3271971 h 3522780"/>
              <a:gd name="connsiteX28" fmla="*/ 2055856 w 5684669"/>
              <a:gd name="connsiteY28" fmla="*/ 3270748 h 3522780"/>
              <a:gd name="connsiteX29" fmla="*/ 1951849 w 5684669"/>
              <a:gd name="connsiteY29" fmla="*/ 3192743 h 3522780"/>
              <a:gd name="connsiteX30" fmla="*/ 1826208 w 5684669"/>
              <a:gd name="connsiteY30" fmla="*/ 3284159 h 3522780"/>
              <a:gd name="connsiteX31" fmla="*/ 1720137 w 5684669"/>
              <a:gd name="connsiteY31" fmla="*/ 3376784 h 3522780"/>
              <a:gd name="connsiteX32" fmla="*/ 1639342 w 5684669"/>
              <a:gd name="connsiteY32" fmla="*/ 3380762 h 3522780"/>
              <a:gd name="connsiteX33" fmla="*/ 1605156 w 5684669"/>
              <a:gd name="connsiteY33" fmla="*/ 3322752 h 3522780"/>
              <a:gd name="connsiteX34" fmla="*/ 1496815 w 5684669"/>
              <a:gd name="connsiteY34" fmla="*/ 3322751 h 3522780"/>
              <a:gd name="connsiteX35" fmla="*/ 1418604 w 5684669"/>
              <a:gd name="connsiteY35" fmla="*/ 3285875 h 3522780"/>
              <a:gd name="connsiteX36" fmla="*/ 1323469 w 5684669"/>
              <a:gd name="connsiteY36" fmla="*/ 3327086 h 3522780"/>
              <a:gd name="connsiteX37" fmla="*/ 1205085 w 5684669"/>
              <a:gd name="connsiteY37" fmla="*/ 3329327 h 3522780"/>
              <a:gd name="connsiteX38" fmla="*/ 1146066 w 5684669"/>
              <a:gd name="connsiteY38" fmla="*/ 3372759 h 3522780"/>
              <a:gd name="connsiteX39" fmla="*/ 1077864 w 5684669"/>
              <a:gd name="connsiteY39" fmla="*/ 3329328 h 3522780"/>
              <a:gd name="connsiteX40" fmla="*/ 994112 w 5684669"/>
              <a:gd name="connsiteY40" fmla="*/ 3335753 h 3522780"/>
              <a:gd name="connsiteX41" fmla="*/ 918838 w 5684669"/>
              <a:gd name="connsiteY41" fmla="*/ 3305474 h 3522780"/>
              <a:gd name="connsiteX42" fmla="*/ 851047 w 5684669"/>
              <a:gd name="connsiteY42" fmla="*/ 3245759 h 3522780"/>
              <a:gd name="connsiteX43" fmla="*/ 768762 w 5684669"/>
              <a:gd name="connsiteY43" fmla="*/ 3335753 h 3522780"/>
              <a:gd name="connsiteX44" fmla="*/ 634033 w 5684669"/>
              <a:gd name="connsiteY44" fmla="*/ 3372758 h 3522780"/>
              <a:gd name="connsiteX45" fmla="*/ 521745 w 5684669"/>
              <a:gd name="connsiteY45" fmla="*/ 3348754 h 3522780"/>
              <a:gd name="connsiteX46" fmla="*/ 426681 w 5684669"/>
              <a:gd name="connsiteY46" fmla="*/ 3372053 h 3522780"/>
              <a:gd name="connsiteX47" fmla="*/ 364508 w 5684669"/>
              <a:gd name="connsiteY47" fmla="*/ 3241389 h 3522780"/>
              <a:gd name="connsiteX48" fmla="*/ 351970 w 5684669"/>
              <a:gd name="connsiteY48" fmla="*/ 223972 h 3522780"/>
              <a:gd name="connsiteX0" fmla="*/ 3403 w 5336102"/>
              <a:gd name="connsiteY0" fmla="*/ 223972 h 3522780"/>
              <a:gd name="connsiteX1" fmla="*/ 4968330 w 5336102"/>
              <a:gd name="connsiteY1" fmla="*/ 225059 h 3522780"/>
              <a:gd name="connsiteX2" fmla="*/ 4968331 w 5336102"/>
              <a:gd name="connsiteY2" fmla="*/ 3241389 h 3522780"/>
              <a:gd name="connsiteX3" fmla="*/ 4909260 w 5336102"/>
              <a:gd name="connsiteY3" fmla="*/ 3340918 h 3522780"/>
              <a:gd name="connsiteX4" fmla="*/ 4777414 w 5336102"/>
              <a:gd name="connsiteY4" fmla="*/ 3371344 h 3522780"/>
              <a:gd name="connsiteX5" fmla="*/ 4584898 w 5336102"/>
              <a:gd name="connsiteY5" fmla="*/ 3283166 h 3522780"/>
              <a:gd name="connsiteX6" fmla="*/ 4414953 w 5336102"/>
              <a:gd name="connsiteY6" fmla="*/ 3333244 h 3522780"/>
              <a:gd name="connsiteX7" fmla="*/ 4224754 w 5336102"/>
              <a:gd name="connsiteY7" fmla="*/ 3304322 h 3522780"/>
              <a:gd name="connsiteX8" fmla="*/ 4012284 w 5336102"/>
              <a:gd name="connsiteY8" fmla="*/ 3288192 h 3522780"/>
              <a:gd name="connsiteX9" fmla="*/ 3852446 w 5336102"/>
              <a:gd name="connsiteY9" fmla="*/ 3171074 h 3522780"/>
              <a:gd name="connsiteX10" fmla="*/ 3705101 w 5336102"/>
              <a:gd name="connsiteY10" fmla="*/ 3205743 h 3522780"/>
              <a:gd name="connsiteX11" fmla="*/ 3591499 w 5336102"/>
              <a:gd name="connsiteY11" fmla="*/ 3284671 h 3522780"/>
              <a:gd name="connsiteX12" fmla="*/ 3527793 w 5336102"/>
              <a:gd name="connsiteY12" fmla="*/ 3225153 h 3522780"/>
              <a:gd name="connsiteX13" fmla="*/ 3380078 w 5336102"/>
              <a:gd name="connsiteY13" fmla="*/ 3283749 h 3522780"/>
              <a:gd name="connsiteX14" fmla="*/ 3278168 w 5336102"/>
              <a:gd name="connsiteY14" fmla="*/ 3270488 h 3522780"/>
              <a:gd name="connsiteX15" fmla="*/ 3176734 w 5336102"/>
              <a:gd name="connsiteY15" fmla="*/ 3280638 h 3522780"/>
              <a:gd name="connsiteX16" fmla="*/ 3085906 w 5336102"/>
              <a:gd name="connsiteY16" fmla="*/ 3199202 h 3522780"/>
              <a:gd name="connsiteX17" fmla="*/ 2986624 w 5336102"/>
              <a:gd name="connsiteY17" fmla="*/ 3217650 h 3522780"/>
              <a:gd name="connsiteX18" fmla="*/ 2851372 w 5336102"/>
              <a:gd name="connsiteY18" fmla="*/ 3093068 h 3522780"/>
              <a:gd name="connsiteX19" fmla="*/ 2762446 w 5336102"/>
              <a:gd name="connsiteY19" fmla="*/ 3127842 h 3522780"/>
              <a:gd name="connsiteX20" fmla="*/ 2725672 w 5336102"/>
              <a:gd name="connsiteY20" fmla="*/ 3182770 h 3522780"/>
              <a:gd name="connsiteX21" fmla="*/ 2656359 w 5336102"/>
              <a:gd name="connsiteY21" fmla="*/ 3231744 h 3522780"/>
              <a:gd name="connsiteX22" fmla="*/ 2545555 w 5336102"/>
              <a:gd name="connsiteY22" fmla="*/ 3280338 h 3522780"/>
              <a:gd name="connsiteX23" fmla="*/ 2400708 w 5336102"/>
              <a:gd name="connsiteY23" fmla="*/ 3247173 h 3522780"/>
              <a:gd name="connsiteX24" fmla="*/ 2316533 w 5336102"/>
              <a:gd name="connsiteY24" fmla="*/ 3278020 h 3522780"/>
              <a:gd name="connsiteX25" fmla="*/ 2114652 w 5336102"/>
              <a:gd name="connsiteY25" fmla="*/ 3210077 h 3522780"/>
              <a:gd name="connsiteX26" fmla="*/ 1958526 w 5336102"/>
              <a:gd name="connsiteY26" fmla="*/ 3228123 h 3522780"/>
              <a:gd name="connsiteX27" fmla="*/ 1891385 w 5336102"/>
              <a:gd name="connsiteY27" fmla="*/ 3271971 h 3522780"/>
              <a:gd name="connsiteX28" fmla="*/ 1707289 w 5336102"/>
              <a:gd name="connsiteY28" fmla="*/ 3270748 h 3522780"/>
              <a:gd name="connsiteX29" fmla="*/ 1603282 w 5336102"/>
              <a:gd name="connsiteY29" fmla="*/ 3192743 h 3522780"/>
              <a:gd name="connsiteX30" fmla="*/ 1477641 w 5336102"/>
              <a:gd name="connsiteY30" fmla="*/ 3284159 h 3522780"/>
              <a:gd name="connsiteX31" fmla="*/ 1371570 w 5336102"/>
              <a:gd name="connsiteY31" fmla="*/ 3376784 h 3522780"/>
              <a:gd name="connsiteX32" fmla="*/ 1290775 w 5336102"/>
              <a:gd name="connsiteY32" fmla="*/ 3380762 h 3522780"/>
              <a:gd name="connsiteX33" fmla="*/ 1256589 w 5336102"/>
              <a:gd name="connsiteY33" fmla="*/ 3322752 h 3522780"/>
              <a:gd name="connsiteX34" fmla="*/ 1148248 w 5336102"/>
              <a:gd name="connsiteY34" fmla="*/ 3322751 h 3522780"/>
              <a:gd name="connsiteX35" fmla="*/ 1070037 w 5336102"/>
              <a:gd name="connsiteY35" fmla="*/ 3285875 h 3522780"/>
              <a:gd name="connsiteX36" fmla="*/ 974902 w 5336102"/>
              <a:gd name="connsiteY36" fmla="*/ 3327086 h 3522780"/>
              <a:gd name="connsiteX37" fmla="*/ 856518 w 5336102"/>
              <a:gd name="connsiteY37" fmla="*/ 3329327 h 3522780"/>
              <a:gd name="connsiteX38" fmla="*/ 797499 w 5336102"/>
              <a:gd name="connsiteY38" fmla="*/ 3372759 h 3522780"/>
              <a:gd name="connsiteX39" fmla="*/ 729297 w 5336102"/>
              <a:gd name="connsiteY39" fmla="*/ 3329328 h 3522780"/>
              <a:gd name="connsiteX40" fmla="*/ 645545 w 5336102"/>
              <a:gd name="connsiteY40" fmla="*/ 3335753 h 3522780"/>
              <a:gd name="connsiteX41" fmla="*/ 570271 w 5336102"/>
              <a:gd name="connsiteY41" fmla="*/ 3305474 h 3522780"/>
              <a:gd name="connsiteX42" fmla="*/ 502480 w 5336102"/>
              <a:gd name="connsiteY42" fmla="*/ 3245759 h 3522780"/>
              <a:gd name="connsiteX43" fmla="*/ 420195 w 5336102"/>
              <a:gd name="connsiteY43" fmla="*/ 3335753 h 3522780"/>
              <a:gd name="connsiteX44" fmla="*/ 285466 w 5336102"/>
              <a:gd name="connsiteY44" fmla="*/ 3372758 h 3522780"/>
              <a:gd name="connsiteX45" fmla="*/ 173178 w 5336102"/>
              <a:gd name="connsiteY45" fmla="*/ 3348754 h 3522780"/>
              <a:gd name="connsiteX46" fmla="*/ 78114 w 5336102"/>
              <a:gd name="connsiteY46" fmla="*/ 3372053 h 3522780"/>
              <a:gd name="connsiteX47" fmla="*/ 15941 w 5336102"/>
              <a:gd name="connsiteY47" fmla="*/ 3241389 h 3522780"/>
              <a:gd name="connsiteX48" fmla="*/ 3403 w 5336102"/>
              <a:gd name="connsiteY48" fmla="*/ 223972 h 3522780"/>
              <a:gd name="connsiteX0" fmla="*/ 3403 w 5336102"/>
              <a:gd name="connsiteY0" fmla="*/ 223972 h 3522780"/>
              <a:gd name="connsiteX1" fmla="*/ 4968330 w 5336102"/>
              <a:gd name="connsiteY1" fmla="*/ 225059 h 3522780"/>
              <a:gd name="connsiteX2" fmla="*/ 4968331 w 5336102"/>
              <a:gd name="connsiteY2" fmla="*/ 3241389 h 3522780"/>
              <a:gd name="connsiteX3" fmla="*/ 4909260 w 5336102"/>
              <a:gd name="connsiteY3" fmla="*/ 3340918 h 3522780"/>
              <a:gd name="connsiteX4" fmla="*/ 4777414 w 5336102"/>
              <a:gd name="connsiteY4" fmla="*/ 3371344 h 3522780"/>
              <a:gd name="connsiteX5" fmla="*/ 4584898 w 5336102"/>
              <a:gd name="connsiteY5" fmla="*/ 3283166 h 3522780"/>
              <a:gd name="connsiteX6" fmla="*/ 4414953 w 5336102"/>
              <a:gd name="connsiteY6" fmla="*/ 3333244 h 3522780"/>
              <a:gd name="connsiteX7" fmla="*/ 4224754 w 5336102"/>
              <a:gd name="connsiteY7" fmla="*/ 3304322 h 3522780"/>
              <a:gd name="connsiteX8" fmla="*/ 4012284 w 5336102"/>
              <a:gd name="connsiteY8" fmla="*/ 3288192 h 3522780"/>
              <a:gd name="connsiteX9" fmla="*/ 3852446 w 5336102"/>
              <a:gd name="connsiteY9" fmla="*/ 3171074 h 3522780"/>
              <a:gd name="connsiteX10" fmla="*/ 3705101 w 5336102"/>
              <a:gd name="connsiteY10" fmla="*/ 3205743 h 3522780"/>
              <a:gd name="connsiteX11" fmla="*/ 3591499 w 5336102"/>
              <a:gd name="connsiteY11" fmla="*/ 3284671 h 3522780"/>
              <a:gd name="connsiteX12" fmla="*/ 3527793 w 5336102"/>
              <a:gd name="connsiteY12" fmla="*/ 3225153 h 3522780"/>
              <a:gd name="connsiteX13" fmla="*/ 3380078 w 5336102"/>
              <a:gd name="connsiteY13" fmla="*/ 3283749 h 3522780"/>
              <a:gd name="connsiteX14" fmla="*/ 3278168 w 5336102"/>
              <a:gd name="connsiteY14" fmla="*/ 3270488 h 3522780"/>
              <a:gd name="connsiteX15" fmla="*/ 3176734 w 5336102"/>
              <a:gd name="connsiteY15" fmla="*/ 3280638 h 3522780"/>
              <a:gd name="connsiteX16" fmla="*/ 3085906 w 5336102"/>
              <a:gd name="connsiteY16" fmla="*/ 3199202 h 3522780"/>
              <a:gd name="connsiteX17" fmla="*/ 2986624 w 5336102"/>
              <a:gd name="connsiteY17" fmla="*/ 3217650 h 3522780"/>
              <a:gd name="connsiteX18" fmla="*/ 2851372 w 5336102"/>
              <a:gd name="connsiteY18" fmla="*/ 3093068 h 3522780"/>
              <a:gd name="connsiteX19" fmla="*/ 2762446 w 5336102"/>
              <a:gd name="connsiteY19" fmla="*/ 3127842 h 3522780"/>
              <a:gd name="connsiteX20" fmla="*/ 2725672 w 5336102"/>
              <a:gd name="connsiteY20" fmla="*/ 3182770 h 3522780"/>
              <a:gd name="connsiteX21" fmla="*/ 2656359 w 5336102"/>
              <a:gd name="connsiteY21" fmla="*/ 3231744 h 3522780"/>
              <a:gd name="connsiteX22" fmla="*/ 2545555 w 5336102"/>
              <a:gd name="connsiteY22" fmla="*/ 3280338 h 3522780"/>
              <a:gd name="connsiteX23" fmla="*/ 2400708 w 5336102"/>
              <a:gd name="connsiteY23" fmla="*/ 3247173 h 3522780"/>
              <a:gd name="connsiteX24" fmla="*/ 2316533 w 5336102"/>
              <a:gd name="connsiteY24" fmla="*/ 3278020 h 3522780"/>
              <a:gd name="connsiteX25" fmla="*/ 2114652 w 5336102"/>
              <a:gd name="connsiteY25" fmla="*/ 3210077 h 3522780"/>
              <a:gd name="connsiteX26" fmla="*/ 1958526 w 5336102"/>
              <a:gd name="connsiteY26" fmla="*/ 3228123 h 3522780"/>
              <a:gd name="connsiteX27" fmla="*/ 1891385 w 5336102"/>
              <a:gd name="connsiteY27" fmla="*/ 3271971 h 3522780"/>
              <a:gd name="connsiteX28" fmla="*/ 1707289 w 5336102"/>
              <a:gd name="connsiteY28" fmla="*/ 3270748 h 3522780"/>
              <a:gd name="connsiteX29" fmla="*/ 1603282 w 5336102"/>
              <a:gd name="connsiteY29" fmla="*/ 3192743 h 3522780"/>
              <a:gd name="connsiteX30" fmla="*/ 1477641 w 5336102"/>
              <a:gd name="connsiteY30" fmla="*/ 3284159 h 3522780"/>
              <a:gd name="connsiteX31" fmla="*/ 1371570 w 5336102"/>
              <a:gd name="connsiteY31" fmla="*/ 3376784 h 3522780"/>
              <a:gd name="connsiteX32" fmla="*/ 1290775 w 5336102"/>
              <a:gd name="connsiteY32" fmla="*/ 3380762 h 3522780"/>
              <a:gd name="connsiteX33" fmla="*/ 1256589 w 5336102"/>
              <a:gd name="connsiteY33" fmla="*/ 3322752 h 3522780"/>
              <a:gd name="connsiteX34" fmla="*/ 1148248 w 5336102"/>
              <a:gd name="connsiteY34" fmla="*/ 3322751 h 3522780"/>
              <a:gd name="connsiteX35" fmla="*/ 1070037 w 5336102"/>
              <a:gd name="connsiteY35" fmla="*/ 3285875 h 3522780"/>
              <a:gd name="connsiteX36" fmla="*/ 974902 w 5336102"/>
              <a:gd name="connsiteY36" fmla="*/ 3327086 h 3522780"/>
              <a:gd name="connsiteX37" fmla="*/ 856518 w 5336102"/>
              <a:gd name="connsiteY37" fmla="*/ 3329327 h 3522780"/>
              <a:gd name="connsiteX38" fmla="*/ 797499 w 5336102"/>
              <a:gd name="connsiteY38" fmla="*/ 3372759 h 3522780"/>
              <a:gd name="connsiteX39" fmla="*/ 729297 w 5336102"/>
              <a:gd name="connsiteY39" fmla="*/ 3329328 h 3522780"/>
              <a:gd name="connsiteX40" fmla="*/ 645545 w 5336102"/>
              <a:gd name="connsiteY40" fmla="*/ 3335753 h 3522780"/>
              <a:gd name="connsiteX41" fmla="*/ 570271 w 5336102"/>
              <a:gd name="connsiteY41" fmla="*/ 3305474 h 3522780"/>
              <a:gd name="connsiteX42" fmla="*/ 502480 w 5336102"/>
              <a:gd name="connsiteY42" fmla="*/ 3245759 h 3522780"/>
              <a:gd name="connsiteX43" fmla="*/ 420195 w 5336102"/>
              <a:gd name="connsiteY43" fmla="*/ 3335753 h 3522780"/>
              <a:gd name="connsiteX44" fmla="*/ 285466 w 5336102"/>
              <a:gd name="connsiteY44" fmla="*/ 3372758 h 3522780"/>
              <a:gd name="connsiteX45" fmla="*/ 173178 w 5336102"/>
              <a:gd name="connsiteY45" fmla="*/ 3348754 h 3522780"/>
              <a:gd name="connsiteX46" fmla="*/ 78114 w 5336102"/>
              <a:gd name="connsiteY46" fmla="*/ 3372053 h 3522780"/>
              <a:gd name="connsiteX47" fmla="*/ 15941 w 5336102"/>
              <a:gd name="connsiteY47" fmla="*/ 3241389 h 3522780"/>
              <a:gd name="connsiteX48" fmla="*/ 3403 w 5336102"/>
              <a:gd name="connsiteY48" fmla="*/ 223972 h 3522780"/>
              <a:gd name="connsiteX0" fmla="*/ 3403 w 5336102"/>
              <a:gd name="connsiteY0" fmla="*/ 3791 h 3302599"/>
              <a:gd name="connsiteX1" fmla="*/ 4968330 w 5336102"/>
              <a:gd name="connsiteY1" fmla="*/ 4878 h 3302599"/>
              <a:gd name="connsiteX2" fmla="*/ 4968331 w 5336102"/>
              <a:gd name="connsiteY2" fmla="*/ 3021208 h 3302599"/>
              <a:gd name="connsiteX3" fmla="*/ 4909260 w 5336102"/>
              <a:gd name="connsiteY3" fmla="*/ 3120737 h 3302599"/>
              <a:gd name="connsiteX4" fmla="*/ 4777414 w 5336102"/>
              <a:gd name="connsiteY4" fmla="*/ 3151163 h 3302599"/>
              <a:gd name="connsiteX5" fmla="*/ 4584898 w 5336102"/>
              <a:gd name="connsiteY5" fmla="*/ 3062985 h 3302599"/>
              <a:gd name="connsiteX6" fmla="*/ 4414953 w 5336102"/>
              <a:gd name="connsiteY6" fmla="*/ 3113063 h 3302599"/>
              <a:gd name="connsiteX7" fmla="*/ 4224754 w 5336102"/>
              <a:gd name="connsiteY7" fmla="*/ 3084141 h 3302599"/>
              <a:gd name="connsiteX8" fmla="*/ 4012284 w 5336102"/>
              <a:gd name="connsiteY8" fmla="*/ 3068011 h 3302599"/>
              <a:gd name="connsiteX9" fmla="*/ 3852446 w 5336102"/>
              <a:gd name="connsiteY9" fmla="*/ 2950893 h 3302599"/>
              <a:gd name="connsiteX10" fmla="*/ 3705101 w 5336102"/>
              <a:gd name="connsiteY10" fmla="*/ 2985562 h 3302599"/>
              <a:gd name="connsiteX11" fmla="*/ 3591499 w 5336102"/>
              <a:gd name="connsiteY11" fmla="*/ 3064490 h 3302599"/>
              <a:gd name="connsiteX12" fmla="*/ 3527793 w 5336102"/>
              <a:gd name="connsiteY12" fmla="*/ 3004972 h 3302599"/>
              <a:gd name="connsiteX13" fmla="*/ 3380078 w 5336102"/>
              <a:gd name="connsiteY13" fmla="*/ 3063568 h 3302599"/>
              <a:gd name="connsiteX14" fmla="*/ 3278168 w 5336102"/>
              <a:gd name="connsiteY14" fmla="*/ 3050307 h 3302599"/>
              <a:gd name="connsiteX15" fmla="*/ 3176734 w 5336102"/>
              <a:gd name="connsiteY15" fmla="*/ 3060457 h 3302599"/>
              <a:gd name="connsiteX16" fmla="*/ 3085906 w 5336102"/>
              <a:gd name="connsiteY16" fmla="*/ 2979021 h 3302599"/>
              <a:gd name="connsiteX17" fmla="*/ 2986624 w 5336102"/>
              <a:gd name="connsiteY17" fmla="*/ 2997469 h 3302599"/>
              <a:gd name="connsiteX18" fmla="*/ 2851372 w 5336102"/>
              <a:gd name="connsiteY18" fmla="*/ 2872887 h 3302599"/>
              <a:gd name="connsiteX19" fmla="*/ 2762446 w 5336102"/>
              <a:gd name="connsiteY19" fmla="*/ 2907661 h 3302599"/>
              <a:gd name="connsiteX20" fmla="*/ 2725672 w 5336102"/>
              <a:gd name="connsiteY20" fmla="*/ 2962589 h 3302599"/>
              <a:gd name="connsiteX21" fmla="*/ 2656359 w 5336102"/>
              <a:gd name="connsiteY21" fmla="*/ 3011563 h 3302599"/>
              <a:gd name="connsiteX22" fmla="*/ 2545555 w 5336102"/>
              <a:gd name="connsiteY22" fmla="*/ 3060157 h 3302599"/>
              <a:gd name="connsiteX23" fmla="*/ 2400708 w 5336102"/>
              <a:gd name="connsiteY23" fmla="*/ 3026992 h 3302599"/>
              <a:gd name="connsiteX24" fmla="*/ 2316533 w 5336102"/>
              <a:gd name="connsiteY24" fmla="*/ 3057839 h 3302599"/>
              <a:gd name="connsiteX25" fmla="*/ 2114652 w 5336102"/>
              <a:gd name="connsiteY25" fmla="*/ 2989896 h 3302599"/>
              <a:gd name="connsiteX26" fmla="*/ 1958526 w 5336102"/>
              <a:gd name="connsiteY26" fmla="*/ 3007942 h 3302599"/>
              <a:gd name="connsiteX27" fmla="*/ 1891385 w 5336102"/>
              <a:gd name="connsiteY27" fmla="*/ 3051790 h 3302599"/>
              <a:gd name="connsiteX28" fmla="*/ 1707289 w 5336102"/>
              <a:gd name="connsiteY28" fmla="*/ 3050567 h 3302599"/>
              <a:gd name="connsiteX29" fmla="*/ 1603282 w 5336102"/>
              <a:gd name="connsiteY29" fmla="*/ 2972562 h 3302599"/>
              <a:gd name="connsiteX30" fmla="*/ 1477641 w 5336102"/>
              <a:gd name="connsiteY30" fmla="*/ 3063978 h 3302599"/>
              <a:gd name="connsiteX31" fmla="*/ 1371570 w 5336102"/>
              <a:gd name="connsiteY31" fmla="*/ 3156603 h 3302599"/>
              <a:gd name="connsiteX32" fmla="*/ 1290775 w 5336102"/>
              <a:gd name="connsiteY32" fmla="*/ 3160581 h 3302599"/>
              <a:gd name="connsiteX33" fmla="*/ 1256589 w 5336102"/>
              <a:gd name="connsiteY33" fmla="*/ 3102571 h 3302599"/>
              <a:gd name="connsiteX34" fmla="*/ 1148248 w 5336102"/>
              <a:gd name="connsiteY34" fmla="*/ 3102570 h 3302599"/>
              <a:gd name="connsiteX35" fmla="*/ 1070037 w 5336102"/>
              <a:gd name="connsiteY35" fmla="*/ 3065694 h 3302599"/>
              <a:gd name="connsiteX36" fmla="*/ 974902 w 5336102"/>
              <a:gd name="connsiteY36" fmla="*/ 3106905 h 3302599"/>
              <a:gd name="connsiteX37" fmla="*/ 856518 w 5336102"/>
              <a:gd name="connsiteY37" fmla="*/ 3109146 h 3302599"/>
              <a:gd name="connsiteX38" fmla="*/ 797499 w 5336102"/>
              <a:gd name="connsiteY38" fmla="*/ 3152578 h 3302599"/>
              <a:gd name="connsiteX39" fmla="*/ 729297 w 5336102"/>
              <a:gd name="connsiteY39" fmla="*/ 3109147 h 3302599"/>
              <a:gd name="connsiteX40" fmla="*/ 645545 w 5336102"/>
              <a:gd name="connsiteY40" fmla="*/ 3115572 h 3302599"/>
              <a:gd name="connsiteX41" fmla="*/ 570271 w 5336102"/>
              <a:gd name="connsiteY41" fmla="*/ 3085293 h 3302599"/>
              <a:gd name="connsiteX42" fmla="*/ 502480 w 5336102"/>
              <a:gd name="connsiteY42" fmla="*/ 3025578 h 3302599"/>
              <a:gd name="connsiteX43" fmla="*/ 420195 w 5336102"/>
              <a:gd name="connsiteY43" fmla="*/ 3115572 h 3302599"/>
              <a:gd name="connsiteX44" fmla="*/ 285466 w 5336102"/>
              <a:gd name="connsiteY44" fmla="*/ 3152577 h 3302599"/>
              <a:gd name="connsiteX45" fmla="*/ 173178 w 5336102"/>
              <a:gd name="connsiteY45" fmla="*/ 3128573 h 3302599"/>
              <a:gd name="connsiteX46" fmla="*/ 78114 w 5336102"/>
              <a:gd name="connsiteY46" fmla="*/ 3151872 h 3302599"/>
              <a:gd name="connsiteX47" fmla="*/ 15941 w 5336102"/>
              <a:gd name="connsiteY47" fmla="*/ 3021208 h 3302599"/>
              <a:gd name="connsiteX48" fmla="*/ 3403 w 5336102"/>
              <a:gd name="connsiteY48" fmla="*/ 3791 h 3302599"/>
              <a:gd name="connsiteX0" fmla="*/ 3403 w 4969076"/>
              <a:gd name="connsiteY0" fmla="*/ 3791 h 3302599"/>
              <a:gd name="connsiteX1" fmla="*/ 4968330 w 4969076"/>
              <a:gd name="connsiteY1" fmla="*/ 4878 h 3302599"/>
              <a:gd name="connsiteX2" fmla="*/ 4968331 w 4969076"/>
              <a:gd name="connsiteY2" fmla="*/ 3021208 h 3302599"/>
              <a:gd name="connsiteX3" fmla="*/ 4909260 w 4969076"/>
              <a:gd name="connsiteY3" fmla="*/ 3120737 h 3302599"/>
              <a:gd name="connsiteX4" fmla="*/ 4777414 w 4969076"/>
              <a:gd name="connsiteY4" fmla="*/ 3151163 h 3302599"/>
              <a:gd name="connsiteX5" fmla="*/ 4584898 w 4969076"/>
              <a:gd name="connsiteY5" fmla="*/ 3062985 h 3302599"/>
              <a:gd name="connsiteX6" fmla="*/ 4414953 w 4969076"/>
              <a:gd name="connsiteY6" fmla="*/ 3113063 h 3302599"/>
              <a:gd name="connsiteX7" fmla="*/ 4224754 w 4969076"/>
              <a:gd name="connsiteY7" fmla="*/ 3084141 h 3302599"/>
              <a:gd name="connsiteX8" fmla="*/ 4012284 w 4969076"/>
              <a:gd name="connsiteY8" fmla="*/ 3068011 h 3302599"/>
              <a:gd name="connsiteX9" fmla="*/ 3852446 w 4969076"/>
              <a:gd name="connsiteY9" fmla="*/ 2950893 h 3302599"/>
              <a:gd name="connsiteX10" fmla="*/ 3705101 w 4969076"/>
              <a:gd name="connsiteY10" fmla="*/ 2985562 h 3302599"/>
              <a:gd name="connsiteX11" fmla="*/ 3591499 w 4969076"/>
              <a:gd name="connsiteY11" fmla="*/ 3064490 h 3302599"/>
              <a:gd name="connsiteX12" fmla="*/ 3527793 w 4969076"/>
              <a:gd name="connsiteY12" fmla="*/ 3004972 h 3302599"/>
              <a:gd name="connsiteX13" fmla="*/ 3380078 w 4969076"/>
              <a:gd name="connsiteY13" fmla="*/ 3063568 h 3302599"/>
              <a:gd name="connsiteX14" fmla="*/ 3278168 w 4969076"/>
              <a:gd name="connsiteY14" fmla="*/ 3050307 h 3302599"/>
              <a:gd name="connsiteX15" fmla="*/ 3176734 w 4969076"/>
              <a:gd name="connsiteY15" fmla="*/ 3060457 h 3302599"/>
              <a:gd name="connsiteX16" fmla="*/ 3085906 w 4969076"/>
              <a:gd name="connsiteY16" fmla="*/ 2979021 h 3302599"/>
              <a:gd name="connsiteX17" fmla="*/ 2986624 w 4969076"/>
              <a:gd name="connsiteY17" fmla="*/ 2997469 h 3302599"/>
              <a:gd name="connsiteX18" fmla="*/ 2851372 w 4969076"/>
              <a:gd name="connsiteY18" fmla="*/ 2872887 h 3302599"/>
              <a:gd name="connsiteX19" fmla="*/ 2762446 w 4969076"/>
              <a:gd name="connsiteY19" fmla="*/ 2907661 h 3302599"/>
              <a:gd name="connsiteX20" fmla="*/ 2725672 w 4969076"/>
              <a:gd name="connsiteY20" fmla="*/ 2962589 h 3302599"/>
              <a:gd name="connsiteX21" fmla="*/ 2656359 w 4969076"/>
              <a:gd name="connsiteY21" fmla="*/ 3011563 h 3302599"/>
              <a:gd name="connsiteX22" fmla="*/ 2545555 w 4969076"/>
              <a:gd name="connsiteY22" fmla="*/ 3060157 h 3302599"/>
              <a:gd name="connsiteX23" fmla="*/ 2400708 w 4969076"/>
              <a:gd name="connsiteY23" fmla="*/ 3026992 h 3302599"/>
              <a:gd name="connsiteX24" fmla="*/ 2316533 w 4969076"/>
              <a:gd name="connsiteY24" fmla="*/ 3057839 h 3302599"/>
              <a:gd name="connsiteX25" fmla="*/ 2114652 w 4969076"/>
              <a:gd name="connsiteY25" fmla="*/ 2989896 h 3302599"/>
              <a:gd name="connsiteX26" fmla="*/ 1958526 w 4969076"/>
              <a:gd name="connsiteY26" fmla="*/ 3007942 h 3302599"/>
              <a:gd name="connsiteX27" fmla="*/ 1891385 w 4969076"/>
              <a:gd name="connsiteY27" fmla="*/ 3051790 h 3302599"/>
              <a:gd name="connsiteX28" fmla="*/ 1707289 w 4969076"/>
              <a:gd name="connsiteY28" fmla="*/ 3050567 h 3302599"/>
              <a:gd name="connsiteX29" fmla="*/ 1603282 w 4969076"/>
              <a:gd name="connsiteY29" fmla="*/ 2972562 h 3302599"/>
              <a:gd name="connsiteX30" fmla="*/ 1477641 w 4969076"/>
              <a:gd name="connsiteY30" fmla="*/ 3063978 h 3302599"/>
              <a:gd name="connsiteX31" fmla="*/ 1371570 w 4969076"/>
              <a:gd name="connsiteY31" fmla="*/ 3156603 h 3302599"/>
              <a:gd name="connsiteX32" fmla="*/ 1290775 w 4969076"/>
              <a:gd name="connsiteY32" fmla="*/ 3160581 h 3302599"/>
              <a:gd name="connsiteX33" fmla="*/ 1256589 w 4969076"/>
              <a:gd name="connsiteY33" fmla="*/ 3102571 h 3302599"/>
              <a:gd name="connsiteX34" fmla="*/ 1148248 w 4969076"/>
              <a:gd name="connsiteY34" fmla="*/ 3102570 h 3302599"/>
              <a:gd name="connsiteX35" fmla="*/ 1070037 w 4969076"/>
              <a:gd name="connsiteY35" fmla="*/ 3065694 h 3302599"/>
              <a:gd name="connsiteX36" fmla="*/ 974902 w 4969076"/>
              <a:gd name="connsiteY36" fmla="*/ 3106905 h 3302599"/>
              <a:gd name="connsiteX37" fmla="*/ 856518 w 4969076"/>
              <a:gd name="connsiteY37" fmla="*/ 3109146 h 3302599"/>
              <a:gd name="connsiteX38" fmla="*/ 797499 w 4969076"/>
              <a:gd name="connsiteY38" fmla="*/ 3152578 h 3302599"/>
              <a:gd name="connsiteX39" fmla="*/ 729297 w 4969076"/>
              <a:gd name="connsiteY39" fmla="*/ 3109147 h 3302599"/>
              <a:gd name="connsiteX40" fmla="*/ 645545 w 4969076"/>
              <a:gd name="connsiteY40" fmla="*/ 3115572 h 3302599"/>
              <a:gd name="connsiteX41" fmla="*/ 570271 w 4969076"/>
              <a:gd name="connsiteY41" fmla="*/ 3085293 h 3302599"/>
              <a:gd name="connsiteX42" fmla="*/ 502480 w 4969076"/>
              <a:gd name="connsiteY42" fmla="*/ 3025578 h 3302599"/>
              <a:gd name="connsiteX43" fmla="*/ 420195 w 4969076"/>
              <a:gd name="connsiteY43" fmla="*/ 3115572 h 3302599"/>
              <a:gd name="connsiteX44" fmla="*/ 285466 w 4969076"/>
              <a:gd name="connsiteY44" fmla="*/ 3152577 h 3302599"/>
              <a:gd name="connsiteX45" fmla="*/ 173178 w 4969076"/>
              <a:gd name="connsiteY45" fmla="*/ 3128573 h 3302599"/>
              <a:gd name="connsiteX46" fmla="*/ 78114 w 4969076"/>
              <a:gd name="connsiteY46" fmla="*/ 3151872 h 3302599"/>
              <a:gd name="connsiteX47" fmla="*/ 15941 w 4969076"/>
              <a:gd name="connsiteY47" fmla="*/ 3021208 h 3302599"/>
              <a:gd name="connsiteX48" fmla="*/ 3403 w 4969076"/>
              <a:gd name="connsiteY48" fmla="*/ 3791 h 3302599"/>
              <a:gd name="connsiteX0" fmla="*/ 3403 w 4969076"/>
              <a:gd name="connsiteY0" fmla="*/ 3791 h 3302599"/>
              <a:gd name="connsiteX1" fmla="*/ 4968330 w 4969076"/>
              <a:gd name="connsiteY1" fmla="*/ 4878 h 3302599"/>
              <a:gd name="connsiteX2" fmla="*/ 4968331 w 4969076"/>
              <a:gd name="connsiteY2" fmla="*/ 3021208 h 3302599"/>
              <a:gd name="connsiteX3" fmla="*/ 4909260 w 4969076"/>
              <a:gd name="connsiteY3" fmla="*/ 3120737 h 3302599"/>
              <a:gd name="connsiteX4" fmla="*/ 4777414 w 4969076"/>
              <a:gd name="connsiteY4" fmla="*/ 3151163 h 3302599"/>
              <a:gd name="connsiteX5" fmla="*/ 4584898 w 4969076"/>
              <a:gd name="connsiteY5" fmla="*/ 3062985 h 3302599"/>
              <a:gd name="connsiteX6" fmla="*/ 4414953 w 4969076"/>
              <a:gd name="connsiteY6" fmla="*/ 3113063 h 3302599"/>
              <a:gd name="connsiteX7" fmla="*/ 4224754 w 4969076"/>
              <a:gd name="connsiteY7" fmla="*/ 3084141 h 3302599"/>
              <a:gd name="connsiteX8" fmla="*/ 4012284 w 4969076"/>
              <a:gd name="connsiteY8" fmla="*/ 3068011 h 3302599"/>
              <a:gd name="connsiteX9" fmla="*/ 3852446 w 4969076"/>
              <a:gd name="connsiteY9" fmla="*/ 2950893 h 3302599"/>
              <a:gd name="connsiteX10" fmla="*/ 3705101 w 4969076"/>
              <a:gd name="connsiteY10" fmla="*/ 2985562 h 3302599"/>
              <a:gd name="connsiteX11" fmla="*/ 3591499 w 4969076"/>
              <a:gd name="connsiteY11" fmla="*/ 3064490 h 3302599"/>
              <a:gd name="connsiteX12" fmla="*/ 3527793 w 4969076"/>
              <a:gd name="connsiteY12" fmla="*/ 3004972 h 3302599"/>
              <a:gd name="connsiteX13" fmla="*/ 3380078 w 4969076"/>
              <a:gd name="connsiteY13" fmla="*/ 3063568 h 3302599"/>
              <a:gd name="connsiteX14" fmla="*/ 3278168 w 4969076"/>
              <a:gd name="connsiteY14" fmla="*/ 3050307 h 3302599"/>
              <a:gd name="connsiteX15" fmla="*/ 3176734 w 4969076"/>
              <a:gd name="connsiteY15" fmla="*/ 3060457 h 3302599"/>
              <a:gd name="connsiteX16" fmla="*/ 3085906 w 4969076"/>
              <a:gd name="connsiteY16" fmla="*/ 2979021 h 3302599"/>
              <a:gd name="connsiteX17" fmla="*/ 2986624 w 4969076"/>
              <a:gd name="connsiteY17" fmla="*/ 2997469 h 3302599"/>
              <a:gd name="connsiteX18" fmla="*/ 2851372 w 4969076"/>
              <a:gd name="connsiteY18" fmla="*/ 2872887 h 3302599"/>
              <a:gd name="connsiteX19" fmla="*/ 2762446 w 4969076"/>
              <a:gd name="connsiteY19" fmla="*/ 2907661 h 3302599"/>
              <a:gd name="connsiteX20" fmla="*/ 2725672 w 4969076"/>
              <a:gd name="connsiteY20" fmla="*/ 2962589 h 3302599"/>
              <a:gd name="connsiteX21" fmla="*/ 2656359 w 4969076"/>
              <a:gd name="connsiteY21" fmla="*/ 3011563 h 3302599"/>
              <a:gd name="connsiteX22" fmla="*/ 2545555 w 4969076"/>
              <a:gd name="connsiteY22" fmla="*/ 3060157 h 3302599"/>
              <a:gd name="connsiteX23" fmla="*/ 2400708 w 4969076"/>
              <a:gd name="connsiteY23" fmla="*/ 3026992 h 3302599"/>
              <a:gd name="connsiteX24" fmla="*/ 2316533 w 4969076"/>
              <a:gd name="connsiteY24" fmla="*/ 3057839 h 3302599"/>
              <a:gd name="connsiteX25" fmla="*/ 2114652 w 4969076"/>
              <a:gd name="connsiteY25" fmla="*/ 2989896 h 3302599"/>
              <a:gd name="connsiteX26" fmla="*/ 1958526 w 4969076"/>
              <a:gd name="connsiteY26" fmla="*/ 3007942 h 3302599"/>
              <a:gd name="connsiteX27" fmla="*/ 1891385 w 4969076"/>
              <a:gd name="connsiteY27" fmla="*/ 3051790 h 3302599"/>
              <a:gd name="connsiteX28" fmla="*/ 1707289 w 4969076"/>
              <a:gd name="connsiteY28" fmla="*/ 3050567 h 3302599"/>
              <a:gd name="connsiteX29" fmla="*/ 1603282 w 4969076"/>
              <a:gd name="connsiteY29" fmla="*/ 2972562 h 3302599"/>
              <a:gd name="connsiteX30" fmla="*/ 1477641 w 4969076"/>
              <a:gd name="connsiteY30" fmla="*/ 3063978 h 3302599"/>
              <a:gd name="connsiteX31" fmla="*/ 1371570 w 4969076"/>
              <a:gd name="connsiteY31" fmla="*/ 3156603 h 3302599"/>
              <a:gd name="connsiteX32" fmla="*/ 1290775 w 4969076"/>
              <a:gd name="connsiteY32" fmla="*/ 3160581 h 3302599"/>
              <a:gd name="connsiteX33" fmla="*/ 1256589 w 4969076"/>
              <a:gd name="connsiteY33" fmla="*/ 3102571 h 3302599"/>
              <a:gd name="connsiteX34" fmla="*/ 1148248 w 4969076"/>
              <a:gd name="connsiteY34" fmla="*/ 3102570 h 3302599"/>
              <a:gd name="connsiteX35" fmla="*/ 1070037 w 4969076"/>
              <a:gd name="connsiteY35" fmla="*/ 3065694 h 3302599"/>
              <a:gd name="connsiteX36" fmla="*/ 974902 w 4969076"/>
              <a:gd name="connsiteY36" fmla="*/ 3106905 h 3302599"/>
              <a:gd name="connsiteX37" fmla="*/ 856518 w 4969076"/>
              <a:gd name="connsiteY37" fmla="*/ 3109146 h 3302599"/>
              <a:gd name="connsiteX38" fmla="*/ 797499 w 4969076"/>
              <a:gd name="connsiteY38" fmla="*/ 3152578 h 3302599"/>
              <a:gd name="connsiteX39" fmla="*/ 729297 w 4969076"/>
              <a:gd name="connsiteY39" fmla="*/ 3109147 h 3302599"/>
              <a:gd name="connsiteX40" fmla="*/ 645545 w 4969076"/>
              <a:gd name="connsiteY40" fmla="*/ 3115572 h 3302599"/>
              <a:gd name="connsiteX41" fmla="*/ 570271 w 4969076"/>
              <a:gd name="connsiteY41" fmla="*/ 3085293 h 3302599"/>
              <a:gd name="connsiteX42" fmla="*/ 502480 w 4969076"/>
              <a:gd name="connsiteY42" fmla="*/ 3025578 h 3302599"/>
              <a:gd name="connsiteX43" fmla="*/ 420195 w 4969076"/>
              <a:gd name="connsiteY43" fmla="*/ 3115572 h 3302599"/>
              <a:gd name="connsiteX44" fmla="*/ 285466 w 4969076"/>
              <a:gd name="connsiteY44" fmla="*/ 3152577 h 3302599"/>
              <a:gd name="connsiteX45" fmla="*/ 173178 w 4969076"/>
              <a:gd name="connsiteY45" fmla="*/ 3128573 h 3302599"/>
              <a:gd name="connsiteX46" fmla="*/ 78114 w 4969076"/>
              <a:gd name="connsiteY46" fmla="*/ 3151872 h 3302599"/>
              <a:gd name="connsiteX47" fmla="*/ 15941 w 4969076"/>
              <a:gd name="connsiteY47" fmla="*/ 3021208 h 3302599"/>
              <a:gd name="connsiteX48" fmla="*/ 3403 w 4969076"/>
              <a:gd name="connsiteY48" fmla="*/ 3791 h 3302599"/>
              <a:gd name="connsiteX0" fmla="*/ 8339 w 4974012"/>
              <a:gd name="connsiteY0" fmla="*/ 3791 h 3302597"/>
              <a:gd name="connsiteX1" fmla="*/ 4973266 w 4974012"/>
              <a:gd name="connsiteY1" fmla="*/ 4878 h 3302597"/>
              <a:gd name="connsiteX2" fmla="*/ 4973267 w 4974012"/>
              <a:gd name="connsiteY2" fmla="*/ 3021208 h 3302597"/>
              <a:gd name="connsiteX3" fmla="*/ 4914196 w 4974012"/>
              <a:gd name="connsiteY3" fmla="*/ 3120737 h 3302597"/>
              <a:gd name="connsiteX4" fmla="*/ 4782350 w 4974012"/>
              <a:gd name="connsiteY4" fmla="*/ 3151163 h 3302597"/>
              <a:gd name="connsiteX5" fmla="*/ 4589834 w 4974012"/>
              <a:gd name="connsiteY5" fmla="*/ 3062985 h 3302597"/>
              <a:gd name="connsiteX6" fmla="*/ 4419889 w 4974012"/>
              <a:gd name="connsiteY6" fmla="*/ 3113063 h 3302597"/>
              <a:gd name="connsiteX7" fmla="*/ 4229690 w 4974012"/>
              <a:gd name="connsiteY7" fmla="*/ 3084141 h 3302597"/>
              <a:gd name="connsiteX8" fmla="*/ 4017220 w 4974012"/>
              <a:gd name="connsiteY8" fmla="*/ 3068011 h 3302597"/>
              <a:gd name="connsiteX9" fmla="*/ 3857382 w 4974012"/>
              <a:gd name="connsiteY9" fmla="*/ 2950893 h 3302597"/>
              <a:gd name="connsiteX10" fmla="*/ 3710037 w 4974012"/>
              <a:gd name="connsiteY10" fmla="*/ 2985562 h 3302597"/>
              <a:gd name="connsiteX11" fmla="*/ 3596435 w 4974012"/>
              <a:gd name="connsiteY11" fmla="*/ 3064490 h 3302597"/>
              <a:gd name="connsiteX12" fmla="*/ 3532729 w 4974012"/>
              <a:gd name="connsiteY12" fmla="*/ 3004972 h 3302597"/>
              <a:gd name="connsiteX13" fmla="*/ 3385014 w 4974012"/>
              <a:gd name="connsiteY13" fmla="*/ 3063568 h 3302597"/>
              <a:gd name="connsiteX14" fmla="*/ 3283104 w 4974012"/>
              <a:gd name="connsiteY14" fmla="*/ 3050307 h 3302597"/>
              <a:gd name="connsiteX15" fmla="*/ 3181670 w 4974012"/>
              <a:gd name="connsiteY15" fmla="*/ 3060457 h 3302597"/>
              <a:gd name="connsiteX16" fmla="*/ 3090842 w 4974012"/>
              <a:gd name="connsiteY16" fmla="*/ 2979021 h 3302597"/>
              <a:gd name="connsiteX17" fmla="*/ 2991560 w 4974012"/>
              <a:gd name="connsiteY17" fmla="*/ 2997469 h 3302597"/>
              <a:gd name="connsiteX18" fmla="*/ 2856308 w 4974012"/>
              <a:gd name="connsiteY18" fmla="*/ 2872887 h 3302597"/>
              <a:gd name="connsiteX19" fmla="*/ 2767382 w 4974012"/>
              <a:gd name="connsiteY19" fmla="*/ 2907661 h 3302597"/>
              <a:gd name="connsiteX20" fmla="*/ 2730608 w 4974012"/>
              <a:gd name="connsiteY20" fmla="*/ 2962589 h 3302597"/>
              <a:gd name="connsiteX21" fmla="*/ 2661295 w 4974012"/>
              <a:gd name="connsiteY21" fmla="*/ 3011563 h 3302597"/>
              <a:gd name="connsiteX22" fmla="*/ 2550491 w 4974012"/>
              <a:gd name="connsiteY22" fmla="*/ 3060157 h 3302597"/>
              <a:gd name="connsiteX23" fmla="*/ 2405644 w 4974012"/>
              <a:gd name="connsiteY23" fmla="*/ 3026992 h 3302597"/>
              <a:gd name="connsiteX24" fmla="*/ 2321469 w 4974012"/>
              <a:gd name="connsiteY24" fmla="*/ 3057839 h 3302597"/>
              <a:gd name="connsiteX25" fmla="*/ 2119588 w 4974012"/>
              <a:gd name="connsiteY25" fmla="*/ 2989896 h 3302597"/>
              <a:gd name="connsiteX26" fmla="*/ 1963462 w 4974012"/>
              <a:gd name="connsiteY26" fmla="*/ 3007942 h 3302597"/>
              <a:gd name="connsiteX27" fmla="*/ 1896321 w 4974012"/>
              <a:gd name="connsiteY27" fmla="*/ 3051790 h 3302597"/>
              <a:gd name="connsiteX28" fmla="*/ 1712225 w 4974012"/>
              <a:gd name="connsiteY28" fmla="*/ 3050567 h 3302597"/>
              <a:gd name="connsiteX29" fmla="*/ 1608218 w 4974012"/>
              <a:gd name="connsiteY29" fmla="*/ 2972562 h 3302597"/>
              <a:gd name="connsiteX30" fmla="*/ 1482577 w 4974012"/>
              <a:gd name="connsiteY30" fmla="*/ 3063978 h 3302597"/>
              <a:gd name="connsiteX31" fmla="*/ 1376506 w 4974012"/>
              <a:gd name="connsiteY31" fmla="*/ 3156603 h 3302597"/>
              <a:gd name="connsiteX32" fmla="*/ 1295711 w 4974012"/>
              <a:gd name="connsiteY32" fmla="*/ 3160581 h 3302597"/>
              <a:gd name="connsiteX33" fmla="*/ 1261525 w 4974012"/>
              <a:gd name="connsiteY33" fmla="*/ 3102571 h 3302597"/>
              <a:gd name="connsiteX34" fmla="*/ 1153184 w 4974012"/>
              <a:gd name="connsiteY34" fmla="*/ 3102570 h 3302597"/>
              <a:gd name="connsiteX35" fmla="*/ 1074973 w 4974012"/>
              <a:gd name="connsiteY35" fmla="*/ 3065694 h 3302597"/>
              <a:gd name="connsiteX36" fmla="*/ 979838 w 4974012"/>
              <a:gd name="connsiteY36" fmla="*/ 3106905 h 3302597"/>
              <a:gd name="connsiteX37" fmla="*/ 861454 w 4974012"/>
              <a:gd name="connsiteY37" fmla="*/ 3109146 h 3302597"/>
              <a:gd name="connsiteX38" fmla="*/ 802435 w 4974012"/>
              <a:gd name="connsiteY38" fmla="*/ 3152578 h 3302597"/>
              <a:gd name="connsiteX39" fmla="*/ 734233 w 4974012"/>
              <a:gd name="connsiteY39" fmla="*/ 3109147 h 3302597"/>
              <a:gd name="connsiteX40" fmla="*/ 650481 w 4974012"/>
              <a:gd name="connsiteY40" fmla="*/ 3115572 h 3302597"/>
              <a:gd name="connsiteX41" fmla="*/ 575207 w 4974012"/>
              <a:gd name="connsiteY41" fmla="*/ 3085293 h 3302597"/>
              <a:gd name="connsiteX42" fmla="*/ 507416 w 4974012"/>
              <a:gd name="connsiteY42" fmla="*/ 3025578 h 3302597"/>
              <a:gd name="connsiteX43" fmla="*/ 425131 w 4974012"/>
              <a:gd name="connsiteY43" fmla="*/ 3115572 h 3302597"/>
              <a:gd name="connsiteX44" fmla="*/ 290402 w 4974012"/>
              <a:gd name="connsiteY44" fmla="*/ 3152577 h 3302597"/>
              <a:gd name="connsiteX45" fmla="*/ 178114 w 4974012"/>
              <a:gd name="connsiteY45" fmla="*/ 3128573 h 3302597"/>
              <a:gd name="connsiteX46" fmla="*/ 83050 w 4974012"/>
              <a:gd name="connsiteY46" fmla="*/ 3151872 h 3302597"/>
              <a:gd name="connsiteX47" fmla="*/ 15291 w 4974012"/>
              <a:gd name="connsiteY47" fmla="*/ 3021207 h 3302597"/>
              <a:gd name="connsiteX48" fmla="*/ 8339 w 4974012"/>
              <a:gd name="connsiteY48" fmla="*/ 3791 h 3302597"/>
              <a:gd name="connsiteX0" fmla="*/ 92 w 4965765"/>
              <a:gd name="connsiteY0" fmla="*/ 3791 h 3224561"/>
              <a:gd name="connsiteX1" fmla="*/ 4965019 w 4965765"/>
              <a:gd name="connsiteY1" fmla="*/ 4878 h 3224561"/>
              <a:gd name="connsiteX2" fmla="*/ 4965020 w 4965765"/>
              <a:gd name="connsiteY2" fmla="*/ 3021208 h 3224561"/>
              <a:gd name="connsiteX3" fmla="*/ 4905949 w 4965765"/>
              <a:gd name="connsiteY3" fmla="*/ 3120737 h 3224561"/>
              <a:gd name="connsiteX4" fmla="*/ 4774103 w 4965765"/>
              <a:gd name="connsiteY4" fmla="*/ 3151163 h 3224561"/>
              <a:gd name="connsiteX5" fmla="*/ 4581587 w 4965765"/>
              <a:gd name="connsiteY5" fmla="*/ 3062985 h 3224561"/>
              <a:gd name="connsiteX6" fmla="*/ 4411642 w 4965765"/>
              <a:gd name="connsiteY6" fmla="*/ 3113063 h 3224561"/>
              <a:gd name="connsiteX7" fmla="*/ 4221443 w 4965765"/>
              <a:gd name="connsiteY7" fmla="*/ 3084141 h 3224561"/>
              <a:gd name="connsiteX8" fmla="*/ 4008973 w 4965765"/>
              <a:gd name="connsiteY8" fmla="*/ 3068011 h 3224561"/>
              <a:gd name="connsiteX9" fmla="*/ 3849135 w 4965765"/>
              <a:gd name="connsiteY9" fmla="*/ 2950893 h 3224561"/>
              <a:gd name="connsiteX10" fmla="*/ 3701790 w 4965765"/>
              <a:gd name="connsiteY10" fmla="*/ 2985562 h 3224561"/>
              <a:gd name="connsiteX11" fmla="*/ 3588188 w 4965765"/>
              <a:gd name="connsiteY11" fmla="*/ 3064490 h 3224561"/>
              <a:gd name="connsiteX12" fmla="*/ 3524482 w 4965765"/>
              <a:gd name="connsiteY12" fmla="*/ 3004972 h 3224561"/>
              <a:gd name="connsiteX13" fmla="*/ 3376767 w 4965765"/>
              <a:gd name="connsiteY13" fmla="*/ 3063568 h 3224561"/>
              <a:gd name="connsiteX14" fmla="*/ 3274857 w 4965765"/>
              <a:gd name="connsiteY14" fmla="*/ 3050307 h 3224561"/>
              <a:gd name="connsiteX15" fmla="*/ 3173423 w 4965765"/>
              <a:gd name="connsiteY15" fmla="*/ 3060457 h 3224561"/>
              <a:gd name="connsiteX16" fmla="*/ 3082595 w 4965765"/>
              <a:gd name="connsiteY16" fmla="*/ 2979021 h 3224561"/>
              <a:gd name="connsiteX17" fmla="*/ 2983313 w 4965765"/>
              <a:gd name="connsiteY17" fmla="*/ 2997469 h 3224561"/>
              <a:gd name="connsiteX18" fmla="*/ 2848061 w 4965765"/>
              <a:gd name="connsiteY18" fmla="*/ 2872887 h 3224561"/>
              <a:gd name="connsiteX19" fmla="*/ 2759135 w 4965765"/>
              <a:gd name="connsiteY19" fmla="*/ 2907661 h 3224561"/>
              <a:gd name="connsiteX20" fmla="*/ 2722361 w 4965765"/>
              <a:gd name="connsiteY20" fmla="*/ 2962589 h 3224561"/>
              <a:gd name="connsiteX21" fmla="*/ 2653048 w 4965765"/>
              <a:gd name="connsiteY21" fmla="*/ 3011563 h 3224561"/>
              <a:gd name="connsiteX22" fmla="*/ 2542244 w 4965765"/>
              <a:gd name="connsiteY22" fmla="*/ 3060157 h 3224561"/>
              <a:gd name="connsiteX23" fmla="*/ 2397397 w 4965765"/>
              <a:gd name="connsiteY23" fmla="*/ 3026992 h 3224561"/>
              <a:gd name="connsiteX24" fmla="*/ 2313222 w 4965765"/>
              <a:gd name="connsiteY24" fmla="*/ 3057839 h 3224561"/>
              <a:gd name="connsiteX25" fmla="*/ 2111341 w 4965765"/>
              <a:gd name="connsiteY25" fmla="*/ 2989896 h 3224561"/>
              <a:gd name="connsiteX26" fmla="*/ 1955215 w 4965765"/>
              <a:gd name="connsiteY26" fmla="*/ 3007942 h 3224561"/>
              <a:gd name="connsiteX27" fmla="*/ 1888074 w 4965765"/>
              <a:gd name="connsiteY27" fmla="*/ 3051790 h 3224561"/>
              <a:gd name="connsiteX28" fmla="*/ 1703978 w 4965765"/>
              <a:gd name="connsiteY28" fmla="*/ 3050567 h 3224561"/>
              <a:gd name="connsiteX29" fmla="*/ 1599971 w 4965765"/>
              <a:gd name="connsiteY29" fmla="*/ 2972562 h 3224561"/>
              <a:gd name="connsiteX30" fmla="*/ 1474330 w 4965765"/>
              <a:gd name="connsiteY30" fmla="*/ 3063978 h 3224561"/>
              <a:gd name="connsiteX31" fmla="*/ 1368259 w 4965765"/>
              <a:gd name="connsiteY31" fmla="*/ 3156603 h 3224561"/>
              <a:gd name="connsiteX32" fmla="*/ 1287464 w 4965765"/>
              <a:gd name="connsiteY32" fmla="*/ 3160581 h 3224561"/>
              <a:gd name="connsiteX33" fmla="*/ 1253278 w 4965765"/>
              <a:gd name="connsiteY33" fmla="*/ 3102571 h 3224561"/>
              <a:gd name="connsiteX34" fmla="*/ 1144937 w 4965765"/>
              <a:gd name="connsiteY34" fmla="*/ 3102570 h 3224561"/>
              <a:gd name="connsiteX35" fmla="*/ 1066726 w 4965765"/>
              <a:gd name="connsiteY35" fmla="*/ 3065694 h 3224561"/>
              <a:gd name="connsiteX36" fmla="*/ 971591 w 4965765"/>
              <a:gd name="connsiteY36" fmla="*/ 3106905 h 3224561"/>
              <a:gd name="connsiteX37" fmla="*/ 853207 w 4965765"/>
              <a:gd name="connsiteY37" fmla="*/ 3109146 h 3224561"/>
              <a:gd name="connsiteX38" fmla="*/ 794188 w 4965765"/>
              <a:gd name="connsiteY38" fmla="*/ 3152578 h 3224561"/>
              <a:gd name="connsiteX39" fmla="*/ 725986 w 4965765"/>
              <a:gd name="connsiteY39" fmla="*/ 3109147 h 3224561"/>
              <a:gd name="connsiteX40" fmla="*/ 642234 w 4965765"/>
              <a:gd name="connsiteY40" fmla="*/ 3115572 h 3224561"/>
              <a:gd name="connsiteX41" fmla="*/ 566960 w 4965765"/>
              <a:gd name="connsiteY41" fmla="*/ 3085293 h 3224561"/>
              <a:gd name="connsiteX42" fmla="*/ 499169 w 4965765"/>
              <a:gd name="connsiteY42" fmla="*/ 3025578 h 3224561"/>
              <a:gd name="connsiteX43" fmla="*/ 416884 w 4965765"/>
              <a:gd name="connsiteY43" fmla="*/ 3115572 h 3224561"/>
              <a:gd name="connsiteX44" fmla="*/ 282155 w 4965765"/>
              <a:gd name="connsiteY44" fmla="*/ 3152577 h 3224561"/>
              <a:gd name="connsiteX45" fmla="*/ 169867 w 4965765"/>
              <a:gd name="connsiteY45" fmla="*/ 3128573 h 3224561"/>
              <a:gd name="connsiteX46" fmla="*/ 74803 w 4965765"/>
              <a:gd name="connsiteY46" fmla="*/ 3151872 h 3224561"/>
              <a:gd name="connsiteX47" fmla="*/ 141087 w 4965765"/>
              <a:gd name="connsiteY47" fmla="*/ 2892749 h 3224561"/>
              <a:gd name="connsiteX48" fmla="*/ 92 w 4965765"/>
              <a:gd name="connsiteY48" fmla="*/ 3791 h 3224561"/>
              <a:gd name="connsiteX0" fmla="*/ 18357 w 4984030"/>
              <a:gd name="connsiteY0" fmla="*/ 3791 h 3291551"/>
              <a:gd name="connsiteX1" fmla="*/ 4983284 w 4984030"/>
              <a:gd name="connsiteY1" fmla="*/ 4878 h 3291551"/>
              <a:gd name="connsiteX2" fmla="*/ 4983285 w 4984030"/>
              <a:gd name="connsiteY2" fmla="*/ 3021208 h 3291551"/>
              <a:gd name="connsiteX3" fmla="*/ 4924214 w 4984030"/>
              <a:gd name="connsiteY3" fmla="*/ 3120737 h 3291551"/>
              <a:gd name="connsiteX4" fmla="*/ 4792368 w 4984030"/>
              <a:gd name="connsiteY4" fmla="*/ 3151163 h 3291551"/>
              <a:gd name="connsiteX5" fmla="*/ 4599852 w 4984030"/>
              <a:gd name="connsiteY5" fmla="*/ 3062985 h 3291551"/>
              <a:gd name="connsiteX6" fmla="*/ 4429907 w 4984030"/>
              <a:gd name="connsiteY6" fmla="*/ 3113063 h 3291551"/>
              <a:gd name="connsiteX7" fmla="*/ 4239708 w 4984030"/>
              <a:gd name="connsiteY7" fmla="*/ 3084141 h 3291551"/>
              <a:gd name="connsiteX8" fmla="*/ 4027238 w 4984030"/>
              <a:gd name="connsiteY8" fmla="*/ 3068011 h 3291551"/>
              <a:gd name="connsiteX9" fmla="*/ 3867400 w 4984030"/>
              <a:gd name="connsiteY9" fmla="*/ 2950893 h 3291551"/>
              <a:gd name="connsiteX10" fmla="*/ 3720055 w 4984030"/>
              <a:gd name="connsiteY10" fmla="*/ 2985562 h 3291551"/>
              <a:gd name="connsiteX11" fmla="*/ 3606453 w 4984030"/>
              <a:gd name="connsiteY11" fmla="*/ 3064490 h 3291551"/>
              <a:gd name="connsiteX12" fmla="*/ 3542747 w 4984030"/>
              <a:gd name="connsiteY12" fmla="*/ 3004972 h 3291551"/>
              <a:gd name="connsiteX13" fmla="*/ 3395032 w 4984030"/>
              <a:gd name="connsiteY13" fmla="*/ 3063568 h 3291551"/>
              <a:gd name="connsiteX14" fmla="*/ 3293122 w 4984030"/>
              <a:gd name="connsiteY14" fmla="*/ 3050307 h 3291551"/>
              <a:gd name="connsiteX15" fmla="*/ 3191688 w 4984030"/>
              <a:gd name="connsiteY15" fmla="*/ 3060457 h 3291551"/>
              <a:gd name="connsiteX16" fmla="*/ 3100860 w 4984030"/>
              <a:gd name="connsiteY16" fmla="*/ 2979021 h 3291551"/>
              <a:gd name="connsiteX17" fmla="*/ 3001578 w 4984030"/>
              <a:gd name="connsiteY17" fmla="*/ 2997469 h 3291551"/>
              <a:gd name="connsiteX18" fmla="*/ 2866326 w 4984030"/>
              <a:gd name="connsiteY18" fmla="*/ 2872887 h 3291551"/>
              <a:gd name="connsiteX19" fmla="*/ 2777400 w 4984030"/>
              <a:gd name="connsiteY19" fmla="*/ 2907661 h 3291551"/>
              <a:gd name="connsiteX20" fmla="*/ 2740626 w 4984030"/>
              <a:gd name="connsiteY20" fmla="*/ 2962589 h 3291551"/>
              <a:gd name="connsiteX21" fmla="*/ 2671313 w 4984030"/>
              <a:gd name="connsiteY21" fmla="*/ 3011563 h 3291551"/>
              <a:gd name="connsiteX22" fmla="*/ 2560509 w 4984030"/>
              <a:gd name="connsiteY22" fmla="*/ 3060157 h 3291551"/>
              <a:gd name="connsiteX23" fmla="*/ 2415662 w 4984030"/>
              <a:gd name="connsiteY23" fmla="*/ 3026992 h 3291551"/>
              <a:gd name="connsiteX24" fmla="*/ 2331487 w 4984030"/>
              <a:gd name="connsiteY24" fmla="*/ 3057839 h 3291551"/>
              <a:gd name="connsiteX25" fmla="*/ 2129606 w 4984030"/>
              <a:gd name="connsiteY25" fmla="*/ 2989896 h 3291551"/>
              <a:gd name="connsiteX26" fmla="*/ 1973480 w 4984030"/>
              <a:gd name="connsiteY26" fmla="*/ 3007942 h 3291551"/>
              <a:gd name="connsiteX27" fmla="*/ 1906339 w 4984030"/>
              <a:gd name="connsiteY27" fmla="*/ 3051790 h 3291551"/>
              <a:gd name="connsiteX28" fmla="*/ 1722243 w 4984030"/>
              <a:gd name="connsiteY28" fmla="*/ 3050567 h 3291551"/>
              <a:gd name="connsiteX29" fmla="*/ 1618236 w 4984030"/>
              <a:gd name="connsiteY29" fmla="*/ 2972562 h 3291551"/>
              <a:gd name="connsiteX30" fmla="*/ 1492595 w 4984030"/>
              <a:gd name="connsiteY30" fmla="*/ 3063978 h 3291551"/>
              <a:gd name="connsiteX31" fmla="*/ 1386524 w 4984030"/>
              <a:gd name="connsiteY31" fmla="*/ 3156603 h 3291551"/>
              <a:gd name="connsiteX32" fmla="*/ 1305729 w 4984030"/>
              <a:gd name="connsiteY32" fmla="*/ 3160581 h 3291551"/>
              <a:gd name="connsiteX33" fmla="*/ 1271543 w 4984030"/>
              <a:gd name="connsiteY33" fmla="*/ 3102571 h 3291551"/>
              <a:gd name="connsiteX34" fmla="*/ 1163202 w 4984030"/>
              <a:gd name="connsiteY34" fmla="*/ 3102570 h 3291551"/>
              <a:gd name="connsiteX35" fmla="*/ 1084991 w 4984030"/>
              <a:gd name="connsiteY35" fmla="*/ 3065694 h 3291551"/>
              <a:gd name="connsiteX36" fmla="*/ 989856 w 4984030"/>
              <a:gd name="connsiteY36" fmla="*/ 3106905 h 3291551"/>
              <a:gd name="connsiteX37" fmla="*/ 871472 w 4984030"/>
              <a:gd name="connsiteY37" fmla="*/ 3109146 h 3291551"/>
              <a:gd name="connsiteX38" fmla="*/ 812453 w 4984030"/>
              <a:gd name="connsiteY38" fmla="*/ 3152578 h 3291551"/>
              <a:gd name="connsiteX39" fmla="*/ 744251 w 4984030"/>
              <a:gd name="connsiteY39" fmla="*/ 3109147 h 3291551"/>
              <a:gd name="connsiteX40" fmla="*/ 660499 w 4984030"/>
              <a:gd name="connsiteY40" fmla="*/ 3115572 h 3291551"/>
              <a:gd name="connsiteX41" fmla="*/ 585225 w 4984030"/>
              <a:gd name="connsiteY41" fmla="*/ 3085293 h 3291551"/>
              <a:gd name="connsiteX42" fmla="*/ 517434 w 4984030"/>
              <a:gd name="connsiteY42" fmla="*/ 3025578 h 3291551"/>
              <a:gd name="connsiteX43" fmla="*/ 435149 w 4984030"/>
              <a:gd name="connsiteY43" fmla="*/ 3115572 h 3291551"/>
              <a:gd name="connsiteX44" fmla="*/ 300420 w 4984030"/>
              <a:gd name="connsiteY44" fmla="*/ 3152577 h 3291551"/>
              <a:gd name="connsiteX45" fmla="*/ 188132 w 4984030"/>
              <a:gd name="connsiteY45" fmla="*/ 3128573 h 3291551"/>
              <a:gd name="connsiteX46" fmla="*/ 93068 w 4984030"/>
              <a:gd name="connsiteY46" fmla="*/ 3151872 h 3291551"/>
              <a:gd name="connsiteX47" fmla="*/ 14139 w 4984030"/>
              <a:gd name="connsiteY47" fmla="*/ 3004452 h 3291551"/>
              <a:gd name="connsiteX48" fmla="*/ 18357 w 4984030"/>
              <a:gd name="connsiteY48" fmla="*/ 3791 h 3291551"/>
              <a:gd name="connsiteX0" fmla="*/ 4271 w 4969944"/>
              <a:gd name="connsiteY0" fmla="*/ 3791 h 3164049"/>
              <a:gd name="connsiteX1" fmla="*/ 4969198 w 4969944"/>
              <a:gd name="connsiteY1" fmla="*/ 4878 h 3164049"/>
              <a:gd name="connsiteX2" fmla="*/ 4969199 w 4969944"/>
              <a:gd name="connsiteY2" fmla="*/ 3021208 h 3164049"/>
              <a:gd name="connsiteX3" fmla="*/ 4910128 w 4969944"/>
              <a:gd name="connsiteY3" fmla="*/ 3120737 h 3164049"/>
              <a:gd name="connsiteX4" fmla="*/ 4778282 w 4969944"/>
              <a:gd name="connsiteY4" fmla="*/ 3151163 h 3164049"/>
              <a:gd name="connsiteX5" fmla="*/ 4585766 w 4969944"/>
              <a:gd name="connsiteY5" fmla="*/ 3062985 h 3164049"/>
              <a:gd name="connsiteX6" fmla="*/ 4415821 w 4969944"/>
              <a:gd name="connsiteY6" fmla="*/ 3113063 h 3164049"/>
              <a:gd name="connsiteX7" fmla="*/ 4225622 w 4969944"/>
              <a:gd name="connsiteY7" fmla="*/ 3084141 h 3164049"/>
              <a:gd name="connsiteX8" fmla="*/ 4013152 w 4969944"/>
              <a:gd name="connsiteY8" fmla="*/ 3068011 h 3164049"/>
              <a:gd name="connsiteX9" fmla="*/ 3853314 w 4969944"/>
              <a:gd name="connsiteY9" fmla="*/ 2950893 h 3164049"/>
              <a:gd name="connsiteX10" fmla="*/ 3705969 w 4969944"/>
              <a:gd name="connsiteY10" fmla="*/ 2985562 h 3164049"/>
              <a:gd name="connsiteX11" fmla="*/ 3592367 w 4969944"/>
              <a:gd name="connsiteY11" fmla="*/ 3064490 h 3164049"/>
              <a:gd name="connsiteX12" fmla="*/ 3528661 w 4969944"/>
              <a:gd name="connsiteY12" fmla="*/ 3004972 h 3164049"/>
              <a:gd name="connsiteX13" fmla="*/ 3380946 w 4969944"/>
              <a:gd name="connsiteY13" fmla="*/ 3063568 h 3164049"/>
              <a:gd name="connsiteX14" fmla="*/ 3279036 w 4969944"/>
              <a:gd name="connsiteY14" fmla="*/ 3050307 h 3164049"/>
              <a:gd name="connsiteX15" fmla="*/ 3177602 w 4969944"/>
              <a:gd name="connsiteY15" fmla="*/ 3060457 h 3164049"/>
              <a:gd name="connsiteX16" fmla="*/ 3086774 w 4969944"/>
              <a:gd name="connsiteY16" fmla="*/ 2979021 h 3164049"/>
              <a:gd name="connsiteX17" fmla="*/ 2987492 w 4969944"/>
              <a:gd name="connsiteY17" fmla="*/ 2997469 h 3164049"/>
              <a:gd name="connsiteX18" fmla="*/ 2852240 w 4969944"/>
              <a:gd name="connsiteY18" fmla="*/ 2872887 h 3164049"/>
              <a:gd name="connsiteX19" fmla="*/ 2763314 w 4969944"/>
              <a:gd name="connsiteY19" fmla="*/ 2907661 h 3164049"/>
              <a:gd name="connsiteX20" fmla="*/ 2726540 w 4969944"/>
              <a:gd name="connsiteY20" fmla="*/ 2962589 h 3164049"/>
              <a:gd name="connsiteX21" fmla="*/ 2657227 w 4969944"/>
              <a:gd name="connsiteY21" fmla="*/ 3011563 h 3164049"/>
              <a:gd name="connsiteX22" fmla="*/ 2546423 w 4969944"/>
              <a:gd name="connsiteY22" fmla="*/ 3060157 h 3164049"/>
              <a:gd name="connsiteX23" fmla="*/ 2401576 w 4969944"/>
              <a:gd name="connsiteY23" fmla="*/ 3026992 h 3164049"/>
              <a:gd name="connsiteX24" fmla="*/ 2317401 w 4969944"/>
              <a:gd name="connsiteY24" fmla="*/ 3057839 h 3164049"/>
              <a:gd name="connsiteX25" fmla="*/ 2115520 w 4969944"/>
              <a:gd name="connsiteY25" fmla="*/ 2989896 h 3164049"/>
              <a:gd name="connsiteX26" fmla="*/ 1959394 w 4969944"/>
              <a:gd name="connsiteY26" fmla="*/ 3007942 h 3164049"/>
              <a:gd name="connsiteX27" fmla="*/ 1892253 w 4969944"/>
              <a:gd name="connsiteY27" fmla="*/ 3051790 h 3164049"/>
              <a:gd name="connsiteX28" fmla="*/ 1708157 w 4969944"/>
              <a:gd name="connsiteY28" fmla="*/ 3050567 h 3164049"/>
              <a:gd name="connsiteX29" fmla="*/ 1604150 w 4969944"/>
              <a:gd name="connsiteY29" fmla="*/ 2972562 h 3164049"/>
              <a:gd name="connsiteX30" fmla="*/ 1478509 w 4969944"/>
              <a:gd name="connsiteY30" fmla="*/ 3063978 h 3164049"/>
              <a:gd name="connsiteX31" fmla="*/ 1372438 w 4969944"/>
              <a:gd name="connsiteY31" fmla="*/ 3156603 h 3164049"/>
              <a:gd name="connsiteX32" fmla="*/ 1291643 w 4969944"/>
              <a:gd name="connsiteY32" fmla="*/ 3160581 h 3164049"/>
              <a:gd name="connsiteX33" fmla="*/ 1257457 w 4969944"/>
              <a:gd name="connsiteY33" fmla="*/ 3102571 h 3164049"/>
              <a:gd name="connsiteX34" fmla="*/ 1149116 w 4969944"/>
              <a:gd name="connsiteY34" fmla="*/ 3102570 h 3164049"/>
              <a:gd name="connsiteX35" fmla="*/ 1070905 w 4969944"/>
              <a:gd name="connsiteY35" fmla="*/ 3065694 h 3164049"/>
              <a:gd name="connsiteX36" fmla="*/ 975770 w 4969944"/>
              <a:gd name="connsiteY36" fmla="*/ 3106905 h 3164049"/>
              <a:gd name="connsiteX37" fmla="*/ 857386 w 4969944"/>
              <a:gd name="connsiteY37" fmla="*/ 3109146 h 3164049"/>
              <a:gd name="connsiteX38" fmla="*/ 798367 w 4969944"/>
              <a:gd name="connsiteY38" fmla="*/ 3152578 h 3164049"/>
              <a:gd name="connsiteX39" fmla="*/ 730165 w 4969944"/>
              <a:gd name="connsiteY39" fmla="*/ 3109147 h 3164049"/>
              <a:gd name="connsiteX40" fmla="*/ 646413 w 4969944"/>
              <a:gd name="connsiteY40" fmla="*/ 3115572 h 3164049"/>
              <a:gd name="connsiteX41" fmla="*/ 571139 w 4969944"/>
              <a:gd name="connsiteY41" fmla="*/ 3085293 h 3164049"/>
              <a:gd name="connsiteX42" fmla="*/ 503348 w 4969944"/>
              <a:gd name="connsiteY42" fmla="*/ 3025578 h 3164049"/>
              <a:gd name="connsiteX43" fmla="*/ 421063 w 4969944"/>
              <a:gd name="connsiteY43" fmla="*/ 3115572 h 3164049"/>
              <a:gd name="connsiteX44" fmla="*/ 286334 w 4969944"/>
              <a:gd name="connsiteY44" fmla="*/ 3152577 h 3164049"/>
              <a:gd name="connsiteX45" fmla="*/ 174046 w 4969944"/>
              <a:gd name="connsiteY45" fmla="*/ 3128573 h 3164049"/>
              <a:gd name="connsiteX46" fmla="*/ 78982 w 4969944"/>
              <a:gd name="connsiteY46" fmla="*/ 3151872 h 3164049"/>
              <a:gd name="connsiteX47" fmla="*/ 53 w 4969944"/>
              <a:gd name="connsiteY47" fmla="*/ 3004452 h 3164049"/>
              <a:gd name="connsiteX48" fmla="*/ 4271 w 4969944"/>
              <a:gd name="connsiteY48" fmla="*/ 3791 h 316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69944" h="3164049">
                <a:moveTo>
                  <a:pt x="4271" y="3791"/>
                </a:moveTo>
                <a:cubicBezTo>
                  <a:pt x="3068" y="-1854"/>
                  <a:pt x="4973897" y="-947"/>
                  <a:pt x="4969198" y="4878"/>
                </a:cubicBezTo>
                <a:cubicBezTo>
                  <a:pt x="4970085" y="5119"/>
                  <a:pt x="4969199" y="2198212"/>
                  <a:pt x="4969199" y="3021208"/>
                </a:cubicBezTo>
                <a:cubicBezTo>
                  <a:pt x="4977116" y="3020819"/>
                  <a:pt x="4919546" y="3112459"/>
                  <a:pt x="4910128" y="3120737"/>
                </a:cubicBezTo>
                <a:cubicBezTo>
                  <a:pt x="4918183" y="3122954"/>
                  <a:pt x="4826565" y="3096943"/>
                  <a:pt x="4778282" y="3151163"/>
                </a:cubicBezTo>
                <a:cubicBezTo>
                  <a:pt x="4731715" y="3151163"/>
                  <a:pt x="4632333" y="3062985"/>
                  <a:pt x="4585766" y="3062985"/>
                </a:cubicBezTo>
                <a:cubicBezTo>
                  <a:pt x="4509566" y="3058752"/>
                  <a:pt x="4492021" y="3043624"/>
                  <a:pt x="4415821" y="3113063"/>
                </a:cubicBezTo>
                <a:cubicBezTo>
                  <a:pt x="4352321" y="3108830"/>
                  <a:pt x="4315124" y="3053704"/>
                  <a:pt x="4225622" y="3084141"/>
                </a:cubicBezTo>
                <a:cubicBezTo>
                  <a:pt x="4174822" y="3082024"/>
                  <a:pt x="4102954" y="3044126"/>
                  <a:pt x="4013152" y="3068011"/>
                </a:cubicBezTo>
                <a:cubicBezTo>
                  <a:pt x="3959873" y="3028972"/>
                  <a:pt x="3915260" y="3024601"/>
                  <a:pt x="3853314" y="2950893"/>
                </a:cubicBezTo>
                <a:lnTo>
                  <a:pt x="3705969" y="2985562"/>
                </a:lnTo>
                <a:lnTo>
                  <a:pt x="3592367" y="3064490"/>
                </a:lnTo>
                <a:cubicBezTo>
                  <a:pt x="3585458" y="3064490"/>
                  <a:pt x="3535570" y="3004972"/>
                  <a:pt x="3528661" y="3004972"/>
                </a:cubicBezTo>
                <a:cubicBezTo>
                  <a:pt x="3520565" y="3004143"/>
                  <a:pt x="3437740" y="3058813"/>
                  <a:pt x="3380946" y="3063568"/>
                </a:cubicBezTo>
                <a:cubicBezTo>
                  <a:pt x="3340561" y="3070514"/>
                  <a:pt x="3312927" y="3050826"/>
                  <a:pt x="3279036" y="3050307"/>
                </a:cubicBezTo>
                <a:cubicBezTo>
                  <a:pt x="3270748" y="3049788"/>
                  <a:pt x="3208426" y="3074776"/>
                  <a:pt x="3177602" y="3060457"/>
                </a:cubicBezTo>
                <a:cubicBezTo>
                  <a:pt x="3122569" y="3056224"/>
                  <a:pt x="3105231" y="2983254"/>
                  <a:pt x="3086774" y="2979021"/>
                </a:cubicBezTo>
                <a:cubicBezTo>
                  <a:pt x="3050791" y="2981138"/>
                  <a:pt x="3023475" y="2995352"/>
                  <a:pt x="2987492" y="2997469"/>
                </a:cubicBezTo>
                <a:cubicBezTo>
                  <a:pt x="2971210" y="2994901"/>
                  <a:pt x="2862628" y="2876533"/>
                  <a:pt x="2852240" y="2872887"/>
                </a:cubicBezTo>
                <a:cubicBezTo>
                  <a:pt x="2847796" y="2860967"/>
                  <a:pt x="2784264" y="2892711"/>
                  <a:pt x="2763314" y="2907661"/>
                </a:cubicBezTo>
                <a:cubicBezTo>
                  <a:pt x="2742364" y="2922611"/>
                  <a:pt x="2747879" y="2948320"/>
                  <a:pt x="2726540" y="2962589"/>
                </a:cubicBezTo>
                <a:cubicBezTo>
                  <a:pt x="2705201" y="2976858"/>
                  <a:pt x="2700248" y="2994580"/>
                  <a:pt x="2657227" y="3011563"/>
                </a:cubicBezTo>
                <a:cubicBezTo>
                  <a:pt x="2614207" y="3028547"/>
                  <a:pt x="2599865" y="3063364"/>
                  <a:pt x="2546423" y="3060157"/>
                </a:cubicBezTo>
                <a:cubicBezTo>
                  <a:pt x="2495623" y="3055924"/>
                  <a:pt x="2452376" y="3031225"/>
                  <a:pt x="2401576" y="3026992"/>
                </a:cubicBezTo>
                <a:cubicBezTo>
                  <a:pt x="2352893" y="3026992"/>
                  <a:pt x="2366084" y="3057839"/>
                  <a:pt x="2317401" y="3057839"/>
                </a:cubicBezTo>
                <a:cubicBezTo>
                  <a:pt x="2260336" y="3055268"/>
                  <a:pt x="2198301" y="3002546"/>
                  <a:pt x="2115520" y="2989896"/>
                </a:cubicBezTo>
                <a:cubicBezTo>
                  <a:pt x="2032739" y="2977246"/>
                  <a:pt x="2029830" y="3001238"/>
                  <a:pt x="1959394" y="3007942"/>
                </a:cubicBezTo>
                <a:cubicBezTo>
                  <a:pt x="1921294" y="3012175"/>
                  <a:pt x="1930353" y="3047557"/>
                  <a:pt x="1892253" y="3051790"/>
                </a:cubicBezTo>
                <a:cubicBezTo>
                  <a:pt x="1848936" y="3056727"/>
                  <a:pt x="1797338" y="3060092"/>
                  <a:pt x="1708157" y="3050567"/>
                </a:cubicBezTo>
                <a:cubicBezTo>
                  <a:pt x="1655084" y="3046752"/>
                  <a:pt x="1633388" y="2981883"/>
                  <a:pt x="1604150" y="2972562"/>
                </a:cubicBezTo>
                <a:cubicBezTo>
                  <a:pt x="1582228" y="2963241"/>
                  <a:pt x="1527624" y="3045921"/>
                  <a:pt x="1478509" y="3063978"/>
                </a:cubicBezTo>
                <a:cubicBezTo>
                  <a:pt x="1429394" y="3082035"/>
                  <a:pt x="1422295" y="3152284"/>
                  <a:pt x="1372438" y="3156603"/>
                </a:cubicBezTo>
                <a:cubicBezTo>
                  <a:pt x="1322581" y="3160922"/>
                  <a:pt x="1324868" y="3168526"/>
                  <a:pt x="1291643" y="3160581"/>
                </a:cubicBezTo>
                <a:cubicBezTo>
                  <a:pt x="1258418" y="3152636"/>
                  <a:pt x="1281278" y="3122848"/>
                  <a:pt x="1257457" y="3102571"/>
                </a:cubicBezTo>
                <a:cubicBezTo>
                  <a:pt x="1233636" y="3082294"/>
                  <a:pt x="1191764" y="3117384"/>
                  <a:pt x="1149116" y="3102570"/>
                </a:cubicBezTo>
                <a:cubicBezTo>
                  <a:pt x="1106468" y="3087756"/>
                  <a:pt x="1112075" y="3070028"/>
                  <a:pt x="1070905" y="3065694"/>
                </a:cubicBezTo>
                <a:cubicBezTo>
                  <a:pt x="1029735" y="3061360"/>
                  <a:pt x="1008043" y="3097013"/>
                  <a:pt x="975770" y="3106905"/>
                </a:cubicBezTo>
                <a:cubicBezTo>
                  <a:pt x="943497" y="3116797"/>
                  <a:pt x="886953" y="3101534"/>
                  <a:pt x="857386" y="3109146"/>
                </a:cubicBezTo>
                <a:cubicBezTo>
                  <a:pt x="827819" y="3116758"/>
                  <a:pt x="822884" y="3155228"/>
                  <a:pt x="798367" y="3152578"/>
                </a:cubicBezTo>
                <a:cubicBezTo>
                  <a:pt x="773850" y="3149928"/>
                  <a:pt x="715735" y="3103388"/>
                  <a:pt x="730165" y="3109147"/>
                </a:cubicBezTo>
                <a:cubicBezTo>
                  <a:pt x="704839" y="3102979"/>
                  <a:pt x="671592" y="3124186"/>
                  <a:pt x="646413" y="3115572"/>
                </a:cubicBezTo>
                <a:cubicBezTo>
                  <a:pt x="621234" y="3106958"/>
                  <a:pt x="594983" y="3100292"/>
                  <a:pt x="571139" y="3085293"/>
                </a:cubicBezTo>
                <a:cubicBezTo>
                  <a:pt x="547295" y="3070294"/>
                  <a:pt x="528360" y="3016556"/>
                  <a:pt x="503348" y="3025578"/>
                </a:cubicBezTo>
                <a:cubicBezTo>
                  <a:pt x="497773" y="3027387"/>
                  <a:pt x="457232" y="3094405"/>
                  <a:pt x="421063" y="3115572"/>
                </a:cubicBezTo>
                <a:cubicBezTo>
                  <a:pt x="384894" y="3136739"/>
                  <a:pt x="293817" y="3151900"/>
                  <a:pt x="286334" y="3152577"/>
                </a:cubicBezTo>
                <a:cubicBezTo>
                  <a:pt x="267878" y="3153254"/>
                  <a:pt x="168370" y="3131129"/>
                  <a:pt x="174046" y="3128573"/>
                </a:cubicBezTo>
                <a:cubicBezTo>
                  <a:pt x="161433" y="3126017"/>
                  <a:pt x="102299" y="3171933"/>
                  <a:pt x="78982" y="3151872"/>
                </a:cubicBezTo>
                <a:cubicBezTo>
                  <a:pt x="55665" y="3131811"/>
                  <a:pt x="-1979" y="2992577"/>
                  <a:pt x="53" y="3004452"/>
                </a:cubicBezTo>
                <a:cubicBezTo>
                  <a:pt x="9943" y="3015014"/>
                  <a:pt x="-111" y="-7319"/>
                  <a:pt x="4271" y="3791"/>
                </a:cubicBezTo>
                <a:close/>
              </a:path>
            </a:pathLst>
          </a:custGeom>
          <a:solidFill>
            <a:srgbClr val="F9F9F9"/>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274320" rIns="91440" rtlCol="0" anchor="t"/>
          <a:lstStyle/>
          <a:p>
            <a:r>
              <a:rPr lang="en-US" sz="1200" i="1" dirty="0">
                <a:solidFill>
                  <a:schemeClr val="bg2"/>
                </a:solidFill>
                <a:latin typeface="+mj-lt"/>
              </a:rPr>
              <a:t>“Business transformation requires funding, and an IPO offers a powerful avenue to raise the capital needed to drive growth and innovation. After a period of slower activity, the global IPO market is regaining its momentum, supported by more favorable market conditions. The outlook for 2025 appears increasingly optimistic, with a strong pipeline of companies across sectors looking to capture the opportunities presented by this renewed market strength.”</a:t>
            </a:r>
            <a:r>
              <a:rPr lang="en-IN" sz="1200" b="1" dirty="0">
                <a:solidFill>
                  <a:schemeClr val="bg2"/>
                </a:solidFill>
                <a:latin typeface="+mj-lt"/>
              </a:rPr>
              <a:t>	</a:t>
            </a:r>
          </a:p>
          <a:p>
            <a:pPr algn="r"/>
            <a:r>
              <a:rPr lang="en-IN" sz="1200" b="1" dirty="0">
                <a:solidFill>
                  <a:schemeClr val="tx2"/>
                </a:solidFill>
                <a:latin typeface="+mj-lt"/>
              </a:rPr>
              <a:t> - George Chan,</a:t>
            </a:r>
          </a:p>
          <a:p>
            <a:pPr algn="r"/>
            <a:r>
              <a:rPr lang="en-IN" sz="1200" i="1" dirty="0">
                <a:solidFill>
                  <a:schemeClr val="bg2"/>
                </a:solidFill>
                <a:latin typeface="+mj-lt"/>
              </a:rPr>
              <a:t>EY, Global IPO Leader</a:t>
            </a:r>
          </a:p>
        </p:txBody>
      </p:sp>
      <p:sp>
        <p:nvSpPr>
          <p:cNvPr id="13" name="Freeform 3">
            <a:extLst>
              <a:ext uri="{FF2B5EF4-FFF2-40B4-BE49-F238E27FC236}">
                <a16:creationId xmlns:a16="http://schemas.microsoft.com/office/drawing/2014/main" id="{F6EABBAC-54B2-4956-9004-D2296F3CC360}"/>
              </a:ext>
            </a:extLst>
          </p:cNvPr>
          <p:cNvSpPr/>
          <p:nvPr/>
        </p:nvSpPr>
        <p:spPr>
          <a:xfrm flipH="1">
            <a:off x="6040586" y="931786"/>
            <a:ext cx="5252888" cy="2478164"/>
          </a:xfrm>
          <a:custGeom>
            <a:avLst/>
            <a:gdLst>
              <a:gd name="connsiteX0" fmla="*/ 0 w 4959705"/>
              <a:gd name="connsiteY0" fmla="*/ 0 h 3884371"/>
              <a:gd name="connsiteX1" fmla="*/ 4959705 w 4959705"/>
              <a:gd name="connsiteY1" fmla="*/ 0 h 3884371"/>
              <a:gd name="connsiteX2" fmla="*/ 4959705 w 4959705"/>
              <a:gd name="connsiteY2" fmla="*/ 3884371 h 3884371"/>
              <a:gd name="connsiteX3" fmla="*/ 7315 w 4959705"/>
              <a:gd name="connsiteY3" fmla="*/ 3884371 h 3884371"/>
              <a:gd name="connsiteX4" fmla="*/ 0 w 4959705"/>
              <a:gd name="connsiteY4" fmla="*/ 0 h 3884371"/>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7315 w 4959705"/>
              <a:gd name="connsiteY4" fmla="*/ 3884371 h 4022903"/>
              <a:gd name="connsiteX5" fmla="*/ 0 w 4959705"/>
              <a:gd name="connsiteY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7315 w 4959705"/>
              <a:gd name="connsiteY5" fmla="*/ 3884371 h 4022903"/>
              <a:gd name="connsiteX6" fmla="*/ 0 w 4959705"/>
              <a:gd name="connsiteY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7315 w 4959705"/>
              <a:gd name="connsiteY6" fmla="*/ 3884371 h 4022903"/>
              <a:gd name="connsiteX7" fmla="*/ 0 w 4959705"/>
              <a:gd name="connsiteY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7315 w 4959705"/>
              <a:gd name="connsiteY7" fmla="*/ 3884371 h 4022903"/>
              <a:gd name="connsiteX8" fmla="*/ 0 w 4959705"/>
              <a:gd name="connsiteY8"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7315 w 4959705"/>
              <a:gd name="connsiteY8" fmla="*/ 3884371 h 4022903"/>
              <a:gd name="connsiteX9" fmla="*/ 0 w 4959705"/>
              <a:gd name="connsiteY9"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7315 w 4959705"/>
              <a:gd name="connsiteY9" fmla="*/ 3884371 h 4022903"/>
              <a:gd name="connsiteX10" fmla="*/ 0 w 4959705"/>
              <a:gd name="connsiteY10"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7315 w 4959705"/>
              <a:gd name="connsiteY10" fmla="*/ 3884371 h 4022903"/>
              <a:gd name="connsiteX11" fmla="*/ 0 w 4959705"/>
              <a:gd name="connsiteY11"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7315 w 4959705"/>
              <a:gd name="connsiteY11" fmla="*/ 3884371 h 4022903"/>
              <a:gd name="connsiteX12" fmla="*/ 0 w 4959705"/>
              <a:gd name="connsiteY12"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7315 w 4959705"/>
              <a:gd name="connsiteY12" fmla="*/ 3884371 h 4022903"/>
              <a:gd name="connsiteX13" fmla="*/ 0 w 4959705"/>
              <a:gd name="connsiteY13"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7315 w 4959705"/>
              <a:gd name="connsiteY13" fmla="*/ 3884371 h 4022903"/>
              <a:gd name="connsiteX14" fmla="*/ 0 w 4959705"/>
              <a:gd name="connsiteY14"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7315 w 4959705"/>
              <a:gd name="connsiteY14" fmla="*/ 3884371 h 4022903"/>
              <a:gd name="connsiteX15" fmla="*/ 0 w 4959705"/>
              <a:gd name="connsiteY1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7315 w 4959705"/>
              <a:gd name="connsiteY15" fmla="*/ 3884371 h 4022903"/>
              <a:gd name="connsiteX16" fmla="*/ 0 w 4959705"/>
              <a:gd name="connsiteY1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7315 w 4959705"/>
              <a:gd name="connsiteY16" fmla="*/ 3884371 h 4022903"/>
              <a:gd name="connsiteX17" fmla="*/ 0 w 4959705"/>
              <a:gd name="connsiteY1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7315 w 4959705"/>
              <a:gd name="connsiteY17" fmla="*/ 3884371 h 4022903"/>
              <a:gd name="connsiteX18" fmla="*/ 0 w 4959705"/>
              <a:gd name="connsiteY18"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7315 w 4959705"/>
              <a:gd name="connsiteY18" fmla="*/ 3884371 h 4022903"/>
              <a:gd name="connsiteX19" fmla="*/ 0 w 4959705"/>
              <a:gd name="connsiteY19"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7315 w 4959705"/>
              <a:gd name="connsiteY19" fmla="*/ 3884371 h 4022903"/>
              <a:gd name="connsiteX20" fmla="*/ 0 w 4959705"/>
              <a:gd name="connsiteY20"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7315 w 4959705"/>
              <a:gd name="connsiteY20" fmla="*/ 3884371 h 4022903"/>
              <a:gd name="connsiteX21" fmla="*/ 0 w 4959705"/>
              <a:gd name="connsiteY21"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7315 w 4959705"/>
              <a:gd name="connsiteY21" fmla="*/ 3884371 h 4022903"/>
              <a:gd name="connsiteX22" fmla="*/ 0 w 4959705"/>
              <a:gd name="connsiteY22"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7315 w 4959705"/>
              <a:gd name="connsiteY22" fmla="*/ 3884371 h 4022903"/>
              <a:gd name="connsiteX23" fmla="*/ 0 w 4959705"/>
              <a:gd name="connsiteY23"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315 w 4959705"/>
              <a:gd name="connsiteY23" fmla="*/ 3884371 h 4022903"/>
              <a:gd name="connsiteX24" fmla="*/ 0 w 4959705"/>
              <a:gd name="connsiteY24"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7315 w 4959705"/>
              <a:gd name="connsiteY24" fmla="*/ 3884371 h 4022903"/>
              <a:gd name="connsiteX25" fmla="*/ 0 w 4959705"/>
              <a:gd name="connsiteY2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7315 w 4959705"/>
              <a:gd name="connsiteY25" fmla="*/ 3884371 h 4022903"/>
              <a:gd name="connsiteX26" fmla="*/ 0 w 4959705"/>
              <a:gd name="connsiteY2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268173 w 4959705"/>
              <a:gd name="connsiteY25" fmla="*/ 3959403 h 4022903"/>
              <a:gd name="connsiteX26" fmla="*/ 7315 w 4959705"/>
              <a:gd name="connsiteY26" fmla="*/ 3884371 h 4022903"/>
              <a:gd name="connsiteX27" fmla="*/ 0 w 4959705"/>
              <a:gd name="connsiteY2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268173 w 4959705"/>
              <a:gd name="connsiteY25" fmla="*/ 3959403 h 4022903"/>
              <a:gd name="connsiteX26" fmla="*/ 7315 w 4959705"/>
              <a:gd name="connsiteY26" fmla="*/ 3884371 h 4022903"/>
              <a:gd name="connsiteX27" fmla="*/ 0 w 4959705"/>
              <a:gd name="connsiteY27" fmla="*/ 0 h 4022903"/>
              <a:gd name="connsiteX0" fmla="*/ 0 w 4959705"/>
              <a:gd name="connsiteY0" fmla="*/ 0 h 4022941"/>
              <a:gd name="connsiteX1" fmla="*/ 4959705 w 4959705"/>
              <a:gd name="connsiteY1" fmla="*/ 0 h 4022941"/>
              <a:gd name="connsiteX2" fmla="*/ 4959705 w 4959705"/>
              <a:gd name="connsiteY2" fmla="*/ 3884371 h 4022941"/>
              <a:gd name="connsiteX3" fmla="*/ 4757623 w 4959705"/>
              <a:gd name="connsiteY3" fmla="*/ 4022903 h 4022941"/>
              <a:gd name="connsiteX4" fmla="*/ 4560773 w 4959705"/>
              <a:gd name="connsiteY4" fmla="*/ 3927653 h 4022941"/>
              <a:gd name="connsiteX5" fmla="*/ 4363923 w 4959705"/>
              <a:gd name="connsiteY5" fmla="*/ 3991153 h 4022941"/>
              <a:gd name="connsiteX6" fmla="*/ 4128973 w 4959705"/>
              <a:gd name="connsiteY6" fmla="*/ 3889553 h 4022941"/>
              <a:gd name="connsiteX7" fmla="*/ 3925773 w 4959705"/>
              <a:gd name="connsiteY7" fmla="*/ 3921303 h 4022941"/>
              <a:gd name="connsiteX8" fmla="*/ 3747973 w 4959705"/>
              <a:gd name="connsiteY8" fmla="*/ 3870503 h 4022941"/>
              <a:gd name="connsiteX9" fmla="*/ 3582873 w 4959705"/>
              <a:gd name="connsiteY9" fmla="*/ 3927653 h 4022941"/>
              <a:gd name="connsiteX10" fmla="*/ 3322523 w 4959705"/>
              <a:gd name="connsiteY10" fmla="*/ 3838753 h 4022941"/>
              <a:gd name="connsiteX11" fmla="*/ 3163773 w 4959705"/>
              <a:gd name="connsiteY11" fmla="*/ 3914953 h 4022941"/>
              <a:gd name="connsiteX12" fmla="*/ 2973273 w 4959705"/>
              <a:gd name="connsiteY12" fmla="*/ 3876853 h 4022941"/>
              <a:gd name="connsiteX13" fmla="*/ 2865323 w 4959705"/>
              <a:gd name="connsiteY13" fmla="*/ 3921303 h 4022941"/>
              <a:gd name="connsiteX14" fmla="*/ 2630373 w 4959705"/>
              <a:gd name="connsiteY14" fmla="*/ 3838753 h 4022941"/>
              <a:gd name="connsiteX15" fmla="*/ 2458923 w 4959705"/>
              <a:gd name="connsiteY15" fmla="*/ 3927653 h 4022941"/>
              <a:gd name="connsiteX16" fmla="*/ 2262073 w 4959705"/>
              <a:gd name="connsiteY16" fmla="*/ 3864153 h 4022941"/>
              <a:gd name="connsiteX17" fmla="*/ 2065223 w 4959705"/>
              <a:gd name="connsiteY17" fmla="*/ 3934003 h 4022941"/>
              <a:gd name="connsiteX18" fmla="*/ 1811223 w 4959705"/>
              <a:gd name="connsiteY18" fmla="*/ 3845103 h 4022941"/>
              <a:gd name="connsiteX19" fmla="*/ 1627073 w 4959705"/>
              <a:gd name="connsiteY19" fmla="*/ 3914953 h 4022941"/>
              <a:gd name="connsiteX20" fmla="*/ 1347673 w 4959705"/>
              <a:gd name="connsiteY20" fmla="*/ 3857803 h 4022941"/>
              <a:gd name="connsiteX21" fmla="*/ 1169873 w 4959705"/>
              <a:gd name="connsiteY21" fmla="*/ 3953053 h 4022941"/>
              <a:gd name="connsiteX22" fmla="*/ 992073 w 4959705"/>
              <a:gd name="connsiteY22" fmla="*/ 3876853 h 4022941"/>
              <a:gd name="connsiteX23" fmla="*/ 788873 w 4959705"/>
              <a:gd name="connsiteY23" fmla="*/ 3959403 h 4022941"/>
              <a:gd name="connsiteX24" fmla="*/ 528523 w 4959705"/>
              <a:gd name="connsiteY24" fmla="*/ 3832403 h 4022941"/>
              <a:gd name="connsiteX25" fmla="*/ 268173 w 4959705"/>
              <a:gd name="connsiteY25" fmla="*/ 3959403 h 4022941"/>
              <a:gd name="connsiteX26" fmla="*/ 7315 w 4959705"/>
              <a:gd name="connsiteY26" fmla="*/ 3884371 h 4022941"/>
              <a:gd name="connsiteX27" fmla="*/ 0 w 4959705"/>
              <a:gd name="connsiteY27" fmla="*/ 0 h 4022941"/>
              <a:gd name="connsiteX0" fmla="*/ 0 w 4959705"/>
              <a:gd name="connsiteY0" fmla="*/ 0 h 4022941"/>
              <a:gd name="connsiteX1" fmla="*/ 4959705 w 4959705"/>
              <a:gd name="connsiteY1" fmla="*/ 0 h 4022941"/>
              <a:gd name="connsiteX2" fmla="*/ 4959705 w 4959705"/>
              <a:gd name="connsiteY2" fmla="*/ 3884371 h 4022941"/>
              <a:gd name="connsiteX3" fmla="*/ 4757623 w 4959705"/>
              <a:gd name="connsiteY3" fmla="*/ 4022903 h 4022941"/>
              <a:gd name="connsiteX4" fmla="*/ 4560773 w 4959705"/>
              <a:gd name="connsiteY4" fmla="*/ 3927653 h 4022941"/>
              <a:gd name="connsiteX5" fmla="*/ 4363923 w 4959705"/>
              <a:gd name="connsiteY5" fmla="*/ 3991153 h 4022941"/>
              <a:gd name="connsiteX6" fmla="*/ 4128973 w 4959705"/>
              <a:gd name="connsiteY6" fmla="*/ 3889553 h 4022941"/>
              <a:gd name="connsiteX7" fmla="*/ 3925773 w 4959705"/>
              <a:gd name="connsiteY7" fmla="*/ 3921303 h 4022941"/>
              <a:gd name="connsiteX8" fmla="*/ 3747973 w 4959705"/>
              <a:gd name="connsiteY8" fmla="*/ 3870503 h 4022941"/>
              <a:gd name="connsiteX9" fmla="*/ 3582873 w 4959705"/>
              <a:gd name="connsiteY9" fmla="*/ 3927653 h 4022941"/>
              <a:gd name="connsiteX10" fmla="*/ 3322523 w 4959705"/>
              <a:gd name="connsiteY10" fmla="*/ 3838753 h 4022941"/>
              <a:gd name="connsiteX11" fmla="*/ 3163773 w 4959705"/>
              <a:gd name="connsiteY11" fmla="*/ 3914953 h 4022941"/>
              <a:gd name="connsiteX12" fmla="*/ 2973273 w 4959705"/>
              <a:gd name="connsiteY12" fmla="*/ 3876853 h 4022941"/>
              <a:gd name="connsiteX13" fmla="*/ 2865323 w 4959705"/>
              <a:gd name="connsiteY13" fmla="*/ 3921303 h 4022941"/>
              <a:gd name="connsiteX14" fmla="*/ 2630373 w 4959705"/>
              <a:gd name="connsiteY14" fmla="*/ 3838753 h 4022941"/>
              <a:gd name="connsiteX15" fmla="*/ 2458923 w 4959705"/>
              <a:gd name="connsiteY15" fmla="*/ 3927653 h 4022941"/>
              <a:gd name="connsiteX16" fmla="*/ 2262073 w 4959705"/>
              <a:gd name="connsiteY16" fmla="*/ 3864153 h 4022941"/>
              <a:gd name="connsiteX17" fmla="*/ 2065223 w 4959705"/>
              <a:gd name="connsiteY17" fmla="*/ 3934003 h 4022941"/>
              <a:gd name="connsiteX18" fmla="*/ 1811223 w 4959705"/>
              <a:gd name="connsiteY18" fmla="*/ 3845103 h 4022941"/>
              <a:gd name="connsiteX19" fmla="*/ 1627073 w 4959705"/>
              <a:gd name="connsiteY19" fmla="*/ 3914953 h 4022941"/>
              <a:gd name="connsiteX20" fmla="*/ 1347673 w 4959705"/>
              <a:gd name="connsiteY20" fmla="*/ 3857803 h 4022941"/>
              <a:gd name="connsiteX21" fmla="*/ 1169873 w 4959705"/>
              <a:gd name="connsiteY21" fmla="*/ 3953053 h 4022941"/>
              <a:gd name="connsiteX22" fmla="*/ 992073 w 4959705"/>
              <a:gd name="connsiteY22" fmla="*/ 3876853 h 4022941"/>
              <a:gd name="connsiteX23" fmla="*/ 788873 w 4959705"/>
              <a:gd name="connsiteY23" fmla="*/ 3959403 h 4022941"/>
              <a:gd name="connsiteX24" fmla="*/ 528523 w 4959705"/>
              <a:gd name="connsiteY24" fmla="*/ 3832403 h 4022941"/>
              <a:gd name="connsiteX25" fmla="*/ 268173 w 4959705"/>
              <a:gd name="connsiteY25" fmla="*/ 3959403 h 4022941"/>
              <a:gd name="connsiteX26" fmla="*/ 7315 w 4959705"/>
              <a:gd name="connsiteY26" fmla="*/ 3884371 h 4022941"/>
              <a:gd name="connsiteX27" fmla="*/ 0 w 4959705"/>
              <a:gd name="connsiteY27" fmla="*/ 0 h 4022941"/>
              <a:gd name="connsiteX0" fmla="*/ 0 w 4959933"/>
              <a:gd name="connsiteY0" fmla="*/ 0 h 4022941"/>
              <a:gd name="connsiteX1" fmla="*/ 4959705 w 4959933"/>
              <a:gd name="connsiteY1" fmla="*/ 0 h 4022941"/>
              <a:gd name="connsiteX2" fmla="*/ 4959705 w 4959933"/>
              <a:gd name="connsiteY2" fmla="*/ 3884371 h 4022941"/>
              <a:gd name="connsiteX3" fmla="*/ 4757623 w 4959933"/>
              <a:gd name="connsiteY3" fmla="*/ 4022903 h 4022941"/>
              <a:gd name="connsiteX4" fmla="*/ 4560773 w 4959933"/>
              <a:gd name="connsiteY4" fmla="*/ 3927653 h 4022941"/>
              <a:gd name="connsiteX5" fmla="*/ 4363923 w 4959933"/>
              <a:gd name="connsiteY5" fmla="*/ 3991153 h 4022941"/>
              <a:gd name="connsiteX6" fmla="*/ 4128973 w 4959933"/>
              <a:gd name="connsiteY6" fmla="*/ 3889553 h 4022941"/>
              <a:gd name="connsiteX7" fmla="*/ 3925773 w 4959933"/>
              <a:gd name="connsiteY7" fmla="*/ 3921303 h 4022941"/>
              <a:gd name="connsiteX8" fmla="*/ 3747973 w 4959933"/>
              <a:gd name="connsiteY8" fmla="*/ 3870503 h 4022941"/>
              <a:gd name="connsiteX9" fmla="*/ 3582873 w 4959933"/>
              <a:gd name="connsiteY9" fmla="*/ 3927653 h 4022941"/>
              <a:gd name="connsiteX10" fmla="*/ 3322523 w 4959933"/>
              <a:gd name="connsiteY10" fmla="*/ 3838753 h 4022941"/>
              <a:gd name="connsiteX11" fmla="*/ 3163773 w 4959933"/>
              <a:gd name="connsiteY11" fmla="*/ 3914953 h 4022941"/>
              <a:gd name="connsiteX12" fmla="*/ 2973273 w 4959933"/>
              <a:gd name="connsiteY12" fmla="*/ 3876853 h 4022941"/>
              <a:gd name="connsiteX13" fmla="*/ 2865323 w 4959933"/>
              <a:gd name="connsiteY13" fmla="*/ 3921303 h 4022941"/>
              <a:gd name="connsiteX14" fmla="*/ 2630373 w 4959933"/>
              <a:gd name="connsiteY14" fmla="*/ 3838753 h 4022941"/>
              <a:gd name="connsiteX15" fmla="*/ 2458923 w 4959933"/>
              <a:gd name="connsiteY15" fmla="*/ 3927653 h 4022941"/>
              <a:gd name="connsiteX16" fmla="*/ 2262073 w 4959933"/>
              <a:gd name="connsiteY16" fmla="*/ 3864153 h 4022941"/>
              <a:gd name="connsiteX17" fmla="*/ 2065223 w 4959933"/>
              <a:gd name="connsiteY17" fmla="*/ 3934003 h 4022941"/>
              <a:gd name="connsiteX18" fmla="*/ 1811223 w 4959933"/>
              <a:gd name="connsiteY18" fmla="*/ 3845103 h 4022941"/>
              <a:gd name="connsiteX19" fmla="*/ 1627073 w 4959933"/>
              <a:gd name="connsiteY19" fmla="*/ 3914953 h 4022941"/>
              <a:gd name="connsiteX20" fmla="*/ 1347673 w 4959933"/>
              <a:gd name="connsiteY20" fmla="*/ 3857803 h 4022941"/>
              <a:gd name="connsiteX21" fmla="*/ 1169873 w 4959933"/>
              <a:gd name="connsiteY21" fmla="*/ 3953053 h 4022941"/>
              <a:gd name="connsiteX22" fmla="*/ 992073 w 4959933"/>
              <a:gd name="connsiteY22" fmla="*/ 3876853 h 4022941"/>
              <a:gd name="connsiteX23" fmla="*/ 788873 w 4959933"/>
              <a:gd name="connsiteY23" fmla="*/ 3959403 h 4022941"/>
              <a:gd name="connsiteX24" fmla="*/ 528523 w 4959933"/>
              <a:gd name="connsiteY24" fmla="*/ 3832403 h 4022941"/>
              <a:gd name="connsiteX25" fmla="*/ 268173 w 4959933"/>
              <a:gd name="connsiteY25" fmla="*/ 3959403 h 4022941"/>
              <a:gd name="connsiteX26" fmla="*/ 7315 w 4959933"/>
              <a:gd name="connsiteY26" fmla="*/ 3884371 h 4022941"/>
              <a:gd name="connsiteX27" fmla="*/ 0 w 4959933"/>
              <a:gd name="connsiteY27" fmla="*/ 0 h 4022941"/>
              <a:gd name="connsiteX0" fmla="*/ 0 w 4960450"/>
              <a:gd name="connsiteY0" fmla="*/ 0 h 3991153"/>
              <a:gd name="connsiteX1" fmla="*/ 4959705 w 4960450"/>
              <a:gd name="connsiteY1" fmla="*/ 0 h 3991153"/>
              <a:gd name="connsiteX2" fmla="*/ 4959705 w 4960450"/>
              <a:gd name="connsiteY2" fmla="*/ 3884371 h 3991153"/>
              <a:gd name="connsiteX3" fmla="*/ 4900634 w 4960450"/>
              <a:gd name="connsiteY3" fmla="*/ 3983900 h 3991153"/>
              <a:gd name="connsiteX4" fmla="*/ 4560773 w 4960450"/>
              <a:gd name="connsiteY4" fmla="*/ 3927653 h 3991153"/>
              <a:gd name="connsiteX5" fmla="*/ 4363923 w 4960450"/>
              <a:gd name="connsiteY5" fmla="*/ 3991153 h 3991153"/>
              <a:gd name="connsiteX6" fmla="*/ 4128973 w 4960450"/>
              <a:gd name="connsiteY6" fmla="*/ 3889553 h 3991153"/>
              <a:gd name="connsiteX7" fmla="*/ 3925773 w 4960450"/>
              <a:gd name="connsiteY7" fmla="*/ 3921303 h 3991153"/>
              <a:gd name="connsiteX8" fmla="*/ 3747973 w 4960450"/>
              <a:gd name="connsiteY8" fmla="*/ 3870503 h 3991153"/>
              <a:gd name="connsiteX9" fmla="*/ 3582873 w 4960450"/>
              <a:gd name="connsiteY9" fmla="*/ 3927653 h 3991153"/>
              <a:gd name="connsiteX10" fmla="*/ 3322523 w 4960450"/>
              <a:gd name="connsiteY10" fmla="*/ 3838753 h 3991153"/>
              <a:gd name="connsiteX11" fmla="*/ 3163773 w 4960450"/>
              <a:gd name="connsiteY11" fmla="*/ 3914953 h 3991153"/>
              <a:gd name="connsiteX12" fmla="*/ 2973273 w 4960450"/>
              <a:gd name="connsiteY12" fmla="*/ 3876853 h 3991153"/>
              <a:gd name="connsiteX13" fmla="*/ 2865323 w 4960450"/>
              <a:gd name="connsiteY13" fmla="*/ 3921303 h 3991153"/>
              <a:gd name="connsiteX14" fmla="*/ 2630373 w 4960450"/>
              <a:gd name="connsiteY14" fmla="*/ 3838753 h 3991153"/>
              <a:gd name="connsiteX15" fmla="*/ 2458923 w 4960450"/>
              <a:gd name="connsiteY15" fmla="*/ 3927653 h 3991153"/>
              <a:gd name="connsiteX16" fmla="*/ 2262073 w 4960450"/>
              <a:gd name="connsiteY16" fmla="*/ 3864153 h 3991153"/>
              <a:gd name="connsiteX17" fmla="*/ 2065223 w 4960450"/>
              <a:gd name="connsiteY17" fmla="*/ 3934003 h 3991153"/>
              <a:gd name="connsiteX18" fmla="*/ 1811223 w 4960450"/>
              <a:gd name="connsiteY18" fmla="*/ 3845103 h 3991153"/>
              <a:gd name="connsiteX19" fmla="*/ 1627073 w 4960450"/>
              <a:gd name="connsiteY19" fmla="*/ 3914953 h 3991153"/>
              <a:gd name="connsiteX20" fmla="*/ 1347673 w 4960450"/>
              <a:gd name="connsiteY20" fmla="*/ 3857803 h 3991153"/>
              <a:gd name="connsiteX21" fmla="*/ 1169873 w 4960450"/>
              <a:gd name="connsiteY21" fmla="*/ 3953053 h 3991153"/>
              <a:gd name="connsiteX22" fmla="*/ 992073 w 4960450"/>
              <a:gd name="connsiteY22" fmla="*/ 3876853 h 3991153"/>
              <a:gd name="connsiteX23" fmla="*/ 788873 w 4960450"/>
              <a:gd name="connsiteY23" fmla="*/ 3959403 h 3991153"/>
              <a:gd name="connsiteX24" fmla="*/ 528523 w 4960450"/>
              <a:gd name="connsiteY24" fmla="*/ 3832403 h 3991153"/>
              <a:gd name="connsiteX25" fmla="*/ 268173 w 4960450"/>
              <a:gd name="connsiteY25" fmla="*/ 3959403 h 3991153"/>
              <a:gd name="connsiteX26" fmla="*/ 7315 w 4960450"/>
              <a:gd name="connsiteY26" fmla="*/ 3884371 h 3991153"/>
              <a:gd name="connsiteX27" fmla="*/ 0 w 4960450"/>
              <a:gd name="connsiteY27" fmla="*/ 0 h 3991153"/>
              <a:gd name="connsiteX0" fmla="*/ 0 w 4960450"/>
              <a:gd name="connsiteY0" fmla="*/ 0 h 4014431"/>
              <a:gd name="connsiteX1" fmla="*/ 4959705 w 4960450"/>
              <a:gd name="connsiteY1" fmla="*/ 0 h 4014431"/>
              <a:gd name="connsiteX2" fmla="*/ 4959705 w 4960450"/>
              <a:gd name="connsiteY2" fmla="*/ 3884371 h 4014431"/>
              <a:gd name="connsiteX3" fmla="*/ 4900634 w 4960450"/>
              <a:gd name="connsiteY3" fmla="*/ 3983900 h 4014431"/>
              <a:gd name="connsiteX4" fmla="*/ 4768788 w 4960450"/>
              <a:gd name="connsiteY4" fmla="*/ 4014326 h 4014431"/>
              <a:gd name="connsiteX5" fmla="*/ 4363923 w 4960450"/>
              <a:gd name="connsiteY5" fmla="*/ 3991153 h 4014431"/>
              <a:gd name="connsiteX6" fmla="*/ 4128973 w 4960450"/>
              <a:gd name="connsiteY6" fmla="*/ 3889553 h 4014431"/>
              <a:gd name="connsiteX7" fmla="*/ 3925773 w 4960450"/>
              <a:gd name="connsiteY7" fmla="*/ 3921303 h 4014431"/>
              <a:gd name="connsiteX8" fmla="*/ 3747973 w 4960450"/>
              <a:gd name="connsiteY8" fmla="*/ 3870503 h 4014431"/>
              <a:gd name="connsiteX9" fmla="*/ 3582873 w 4960450"/>
              <a:gd name="connsiteY9" fmla="*/ 3927653 h 4014431"/>
              <a:gd name="connsiteX10" fmla="*/ 3322523 w 4960450"/>
              <a:gd name="connsiteY10" fmla="*/ 3838753 h 4014431"/>
              <a:gd name="connsiteX11" fmla="*/ 3163773 w 4960450"/>
              <a:gd name="connsiteY11" fmla="*/ 3914953 h 4014431"/>
              <a:gd name="connsiteX12" fmla="*/ 2973273 w 4960450"/>
              <a:gd name="connsiteY12" fmla="*/ 3876853 h 4014431"/>
              <a:gd name="connsiteX13" fmla="*/ 2865323 w 4960450"/>
              <a:gd name="connsiteY13" fmla="*/ 3921303 h 4014431"/>
              <a:gd name="connsiteX14" fmla="*/ 2630373 w 4960450"/>
              <a:gd name="connsiteY14" fmla="*/ 3838753 h 4014431"/>
              <a:gd name="connsiteX15" fmla="*/ 2458923 w 4960450"/>
              <a:gd name="connsiteY15" fmla="*/ 3927653 h 4014431"/>
              <a:gd name="connsiteX16" fmla="*/ 2262073 w 4960450"/>
              <a:gd name="connsiteY16" fmla="*/ 3864153 h 4014431"/>
              <a:gd name="connsiteX17" fmla="*/ 2065223 w 4960450"/>
              <a:gd name="connsiteY17" fmla="*/ 3934003 h 4014431"/>
              <a:gd name="connsiteX18" fmla="*/ 1811223 w 4960450"/>
              <a:gd name="connsiteY18" fmla="*/ 3845103 h 4014431"/>
              <a:gd name="connsiteX19" fmla="*/ 1627073 w 4960450"/>
              <a:gd name="connsiteY19" fmla="*/ 3914953 h 4014431"/>
              <a:gd name="connsiteX20" fmla="*/ 1347673 w 4960450"/>
              <a:gd name="connsiteY20" fmla="*/ 3857803 h 4014431"/>
              <a:gd name="connsiteX21" fmla="*/ 1169873 w 4960450"/>
              <a:gd name="connsiteY21" fmla="*/ 3953053 h 4014431"/>
              <a:gd name="connsiteX22" fmla="*/ 992073 w 4960450"/>
              <a:gd name="connsiteY22" fmla="*/ 3876853 h 4014431"/>
              <a:gd name="connsiteX23" fmla="*/ 788873 w 4960450"/>
              <a:gd name="connsiteY23" fmla="*/ 3959403 h 4014431"/>
              <a:gd name="connsiteX24" fmla="*/ 528523 w 4960450"/>
              <a:gd name="connsiteY24" fmla="*/ 3832403 h 4014431"/>
              <a:gd name="connsiteX25" fmla="*/ 268173 w 4960450"/>
              <a:gd name="connsiteY25" fmla="*/ 3959403 h 4014431"/>
              <a:gd name="connsiteX26" fmla="*/ 7315 w 4960450"/>
              <a:gd name="connsiteY26" fmla="*/ 3884371 h 4014431"/>
              <a:gd name="connsiteX27" fmla="*/ 0 w 4960450"/>
              <a:gd name="connsiteY27" fmla="*/ 0 h 4014431"/>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363923 w 4960450"/>
              <a:gd name="connsiteY5" fmla="*/ 3991153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90422"/>
              <a:gd name="connsiteX1" fmla="*/ 4959705 w 4960450"/>
              <a:gd name="connsiteY1" fmla="*/ 0 h 4090422"/>
              <a:gd name="connsiteX2" fmla="*/ 4959705 w 4960450"/>
              <a:gd name="connsiteY2" fmla="*/ 3884371 h 4090422"/>
              <a:gd name="connsiteX3" fmla="*/ 4900634 w 4960450"/>
              <a:gd name="connsiteY3" fmla="*/ 3983900 h 4090422"/>
              <a:gd name="connsiteX4" fmla="*/ 4768788 w 4960450"/>
              <a:gd name="connsiteY4" fmla="*/ 4014326 h 4090422"/>
              <a:gd name="connsiteX5" fmla="*/ 4576272 w 4960450"/>
              <a:gd name="connsiteY5" fmla="*/ 3926148 h 4090422"/>
              <a:gd name="connsiteX6" fmla="*/ 4406327 w 4960450"/>
              <a:gd name="connsiteY6" fmla="*/ 3976226 h 4090422"/>
              <a:gd name="connsiteX7" fmla="*/ 4081785 w 4960450"/>
              <a:gd name="connsiteY7" fmla="*/ 4090315 h 4090422"/>
              <a:gd name="connsiteX8" fmla="*/ 3747973 w 4960450"/>
              <a:gd name="connsiteY8" fmla="*/ 3870503 h 4090422"/>
              <a:gd name="connsiteX9" fmla="*/ 3582873 w 4960450"/>
              <a:gd name="connsiteY9" fmla="*/ 3927653 h 4090422"/>
              <a:gd name="connsiteX10" fmla="*/ 3322523 w 4960450"/>
              <a:gd name="connsiteY10" fmla="*/ 3838753 h 4090422"/>
              <a:gd name="connsiteX11" fmla="*/ 3163773 w 4960450"/>
              <a:gd name="connsiteY11" fmla="*/ 3914953 h 4090422"/>
              <a:gd name="connsiteX12" fmla="*/ 2973273 w 4960450"/>
              <a:gd name="connsiteY12" fmla="*/ 3876853 h 4090422"/>
              <a:gd name="connsiteX13" fmla="*/ 2865323 w 4960450"/>
              <a:gd name="connsiteY13" fmla="*/ 3921303 h 4090422"/>
              <a:gd name="connsiteX14" fmla="*/ 2630373 w 4960450"/>
              <a:gd name="connsiteY14" fmla="*/ 3838753 h 4090422"/>
              <a:gd name="connsiteX15" fmla="*/ 2458923 w 4960450"/>
              <a:gd name="connsiteY15" fmla="*/ 3927653 h 4090422"/>
              <a:gd name="connsiteX16" fmla="*/ 2262073 w 4960450"/>
              <a:gd name="connsiteY16" fmla="*/ 3864153 h 4090422"/>
              <a:gd name="connsiteX17" fmla="*/ 2065223 w 4960450"/>
              <a:gd name="connsiteY17" fmla="*/ 3934003 h 4090422"/>
              <a:gd name="connsiteX18" fmla="*/ 1811223 w 4960450"/>
              <a:gd name="connsiteY18" fmla="*/ 3845103 h 4090422"/>
              <a:gd name="connsiteX19" fmla="*/ 1627073 w 4960450"/>
              <a:gd name="connsiteY19" fmla="*/ 3914953 h 4090422"/>
              <a:gd name="connsiteX20" fmla="*/ 1347673 w 4960450"/>
              <a:gd name="connsiteY20" fmla="*/ 3857803 h 4090422"/>
              <a:gd name="connsiteX21" fmla="*/ 1169873 w 4960450"/>
              <a:gd name="connsiteY21" fmla="*/ 3953053 h 4090422"/>
              <a:gd name="connsiteX22" fmla="*/ 992073 w 4960450"/>
              <a:gd name="connsiteY22" fmla="*/ 3876853 h 4090422"/>
              <a:gd name="connsiteX23" fmla="*/ 788873 w 4960450"/>
              <a:gd name="connsiteY23" fmla="*/ 3959403 h 4090422"/>
              <a:gd name="connsiteX24" fmla="*/ 528523 w 4960450"/>
              <a:gd name="connsiteY24" fmla="*/ 3832403 h 4090422"/>
              <a:gd name="connsiteX25" fmla="*/ 268173 w 4960450"/>
              <a:gd name="connsiteY25" fmla="*/ 3959403 h 4090422"/>
              <a:gd name="connsiteX26" fmla="*/ 7315 w 4960450"/>
              <a:gd name="connsiteY26" fmla="*/ 3884371 h 4090422"/>
              <a:gd name="connsiteX27" fmla="*/ 0 w 4960450"/>
              <a:gd name="connsiteY27" fmla="*/ 0 h 4090422"/>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739812 w 4960450"/>
              <a:gd name="connsiteY9" fmla="*/ 3922397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74807 w 4960450"/>
              <a:gd name="connsiteY10" fmla="*/ 3887728 h 4014326"/>
              <a:gd name="connsiteX11" fmla="*/ 3582873 w 4960450"/>
              <a:gd name="connsiteY11" fmla="*/ 3927653 h 4014326"/>
              <a:gd name="connsiteX12" fmla="*/ 3322523 w 4960450"/>
              <a:gd name="connsiteY12" fmla="*/ 383875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322523 w 4960450"/>
              <a:gd name="connsiteY12" fmla="*/ 383875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36783 w 4960450"/>
              <a:gd name="connsiteY13" fmla="*/ 3900729 h 4014326"/>
              <a:gd name="connsiteX14" fmla="*/ 3163773 w 4960450"/>
              <a:gd name="connsiteY14" fmla="*/ 3914953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3773 w 4960450"/>
              <a:gd name="connsiteY14" fmla="*/ 3914953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98443 w 4960450"/>
              <a:gd name="connsiteY14" fmla="*/ 4005960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782075 w 4960450"/>
              <a:gd name="connsiteY17" fmla="*/ 3848725 h 4014326"/>
              <a:gd name="connsiteX18" fmla="*/ 2630373 w 4960450"/>
              <a:gd name="connsiteY18" fmla="*/ 3838753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630373 w 4960450"/>
              <a:gd name="connsiteY18" fmla="*/ 3838753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582728 w 4960450"/>
              <a:gd name="connsiteY19" fmla="*/ 3883394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65067 w 4960450"/>
              <a:gd name="connsiteY19" fmla="*/ 3974400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87748 w 4960450"/>
              <a:gd name="connsiteY21" fmla="*/ 3998496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251570 w 4960450"/>
              <a:gd name="connsiteY22" fmla="*/ 398167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049689 w 4960450"/>
              <a:gd name="connsiteY23" fmla="*/ 3874727 h 4014326"/>
              <a:gd name="connsiteX24" fmla="*/ 1811223 w 4960450"/>
              <a:gd name="connsiteY24" fmla="*/ 3845103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811223 w 4960450"/>
              <a:gd name="connsiteY24" fmla="*/ 3845103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89996 w 4960450"/>
              <a:gd name="connsiteY26" fmla="*/ 3900729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737666 w 4960450"/>
              <a:gd name="connsiteY26" fmla="*/ 3987402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64320 w 4960450"/>
              <a:gd name="connsiteY27" fmla="*/ 3892062 h 4014326"/>
              <a:gd name="connsiteX28" fmla="*/ 1347673 w 4960450"/>
              <a:gd name="connsiteY28" fmla="*/ 3857803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347673 w 4960450"/>
              <a:gd name="connsiteY28" fmla="*/ 3857803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469015 w 4960450"/>
              <a:gd name="connsiteY28" fmla="*/ 3927141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469015 w 4960450"/>
              <a:gd name="connsiteY28" fmla="*/ 3927141 h 4014326"/>
              <a:gd name="connsiteX29" fmla="*/ 1299967 w 4960450"/>
              <a:gd name="connsiteY29" fmla="*/ 3944066 h 4014326"/>
              <a:gd name="connsiteX30" fmla="*/ 1169873 w 4960450"/>
              <a:gd name="connsiteY30" fmla="*/ 3953053 h 4014326"/>
              <a:gd name="connsiteX31" fmla="*/ 992073 w 4960450"/>
              <a:gd name="connsiteY31" fmla="*/ 3876853 h 4014326"/>
              <a:gd name="connsiteX32" fmla="*/ 788873 w 4960450"/>
              <a:gd name="connsiteY32" fmla="*/ 3959403 h 4014326"/>
              <a:gd name="connsiteX33" fmla="*/ 528523 w 4960450"/>
              <a:gd name="connsiteY33" fmla="*/ 3832403 h 4014326"/>
              <a:gd name="connsiteX34" fmla="*/ 268173 w 4960450"/>
              <a:gd name="connsiteY34" fmla="*/ 3959403 h 4014326"/>
              <a:gd name="connsiteX35" fmla="*/ 7315 w 4960450"/>
              <a:gd name="connsiteY35" fmla="*/ 3884371 h 4014326"/>
              <a:gd name="connsiteX36" fmla="*/ 0 w 4960450"/>
              <a:gd name="connsiteY36" fmla="*/ 0 h 4014326"/>
              <a:gd name="connsiteX0" fmla="*/ 0 w 4960450"/>
              <a:gd name="connsiteY0" fmla="*/ 0 h 4030928"/>
              <a:gd name="connsiteX1" fmla="*/ 4959705 w 4960450"/>
              <a:gd name="connsiteY1" fmla="*/ 0 h 4030928"/>
              <a:gd name="connsiteX2" fmla="*/ 4959705 w 4960450"/>
              <a:gd name="connsiteY2" fmla="*/ 3884371 h 4030928"/>
              <a:gd name="connsiteX3" fmla="*/ 4900634 w 4960450"/>
              <a:gd name="connsiteY3" fmla="*/ 3983900 h 4030928"/>
              <a:gd name="connsiteX4" fmla="*/ 4768788 w 4960450"/>
              <a:gd name="connsiteY4" fmla="*/ 4014326 h 4030928"/>
              <a:gd name="connsiteX5" fmla="*/ 4576272 w 4960450"/>
              <a:gd name="connsiteY5" fmla="*/ 3926148 h 4030928"/>
              <a:gd name="connsiteX6" fmla="*/ 4406327 w 4960450"/>
              <a:gd name="connsiteY6" fmla="*/ 3976226 h 4030928"/>
              <a:gd name="connsiteX7" fmla="*/ 4216128 w 4960450"/>
              <a:gd name="connsiteY7" fmla="*/ 3947304 h 4030928"/>
              <a:gd name="connsiteX8" fmla="*/ 4003658 w 4960450"/>
              <a:gd name="connsiteY8" fmla="*/ 3931174 h 4030928"/>
              <a:gd name="connsiteX9" fmla="*/ 3843820 w 4960450"/>
              <a:gd name="connsiteY9" fmla="*/ 3814056 h 4030928"/>
              <a:gd name="connsiteX10" fmla="*/ 3696475 w 4960450"/>
              <a:gd name="connsiteY10" fmla="*/ 3848725 h 4030928"/>
              <a:gd name="connsiteX11" fmla="*/ 3582873 w 4960450"/>
              <a:gd name="connsiteY11" fmla="*/ 3927653 h 4030928"/>
              <a:gd name="connsiteX12" fmla="*/ 3504537 w 4960450"/>
              <a:gd name="connsiteY12" fmla="*/ 3886423 h 4030928"/>
              <a:gd name="connsiteX13" fmla="*/ 3371452 w 4960450"/>
              <a:gd name="connsiteY13" fmla="*/ 3926731 h 4030928"/>
              <a:gd name="connsiteX14" fmla="*/ 3168108 w 4960450"/>
              <a:gd name="connsiteY14" fmla="*/ 3923620 h 4030928"/>
              <a:gd name="connsiteX15" fmla="*/ 3077280 w 4960450"/>
              <a:gd name="connsiteY15" fmla="*/ 3842184 h 4030928"/>
              <a:gd name="connsiteX16" fmla="*/ 2977998 w 4960450"/>
              <a:gd name="connsiteY16" fmla="*/ 3860632 h 4030928"/>
              <a:gd name="connsiteX17" fmla="*/ 2842746 w 4960450"/>
              <a:gd name="connsiteY17" fmla="*/ 3736050 h 4030928"/>
              <a:gd name="connsiteX18" fmla="*/ 2717046 w 4960450"/>
              <a:gd name="connsiteY18" fmla="*/ 3825752 h 4030928"/>
              <a:gd name="connsiteX19" fmla="*/ 2647733 w 4960450"/>
              <a:gd name="connsiteY19" fmla="*/ 3874726 h 4030928"/>
              <a:gd name="connsiteX20" fmla="*/ 2536929 w 4960450"/>
              <a:gd name="connsiteY20" fmla="*/ 3923320 h 4030928"/>
              <a:gd name="connsiteX21" fmla="*/ 2392082 w 4960450"/>
              <a:gd name="connsiteY21" fmla="*/ 3890155 h 4030928"/>
              <a:gd name="connsiteX22" fmla="*/ 2307907 w 4960450"/>
              <a:gd name="connsiteY22" fmla="*/ 3921002 h 4030928"/>
              <a:gd name="connsiteX23" fmla="*/ 2106026 w 4960450"/>
              <a:gd name="connsiteY23" fmla="*/ 3853059 h 4030928"/>
              <a:gd name="connsiteX24" fmla="*/ 1949900 w 4960450"/>
              <a:gd name="connsiteY24" fmla="*/ 3871105 h 4030928"/>
              <a:gd name="connsiteX25" fmla="*/ 1882759 w 4960450"/>
              <a:gd name="connsiteY25" fmla="*/ 3914953 h 4030928"/>
              <a:gd name="connsiteX26" fmla="*/ 1698663 w 4960450"/>
              <a:gd name="connsiteY26" fmla="*/ 3913730 h 4030928"/>
              <a:gd name="connsiteX27" fmla="*/ 1594656 w 4960450"/>
              <a:gd name="connsiteY27" fmla="*/ 3835725 h 4030928"/>
              <a:gd name="connsiteX28" fmla="*/ 1469015 w 4960450"/>
              <a:gd name="connsiteY28" fmla="*/ 3927141 h 4030928"/>
              <a:gd name="connsiteX29" fmla="*/ 1351971 w 4960450"/>
              <a:gd name="connsiteY29" fmla="*/ 4030739 h 4030928"/>
              <a:gd name="connsiteX30" fmla="*/ 1169873 w 4960450"/>
              <a:gd name="connsiteY30" fmla="*/ 3953053 h 4030928"/>
              <a:gd name="connsiteX31" fmla="*/ 992073 w 4960450"/>
              <a:gd name="connsiteY31" fmla="*/ 3876853 h 4030928"/>
              <a:gd name="connsiteX32" fmla="*/ 788873 w 4960450"/>
              <a:gd name="connsiteY32" fmla="*/ 3959403 h 4030928"/>
              <a:gd name="connsiteX33" fmla="*/ 528523 w 4960450"/>
              <a:gd name="connsiteY33" fmla="*/ 3832403 h 4030928"/>
              <a:gd name="connsiteX34" fmla="*/ 268173 w 4960450"/>
              <a:gd name="connsiteY34" fmla="*/ 3959403 h 4030928"/>
              <a:gd name="connsiteX35" fmla="*/ 7315 w 4960450"/>
              <a:gd name="connsiteY35" fmla="*/ 3884371 h 4030928"/>
              <a:gd name="connsiteX36" fmla="*/ 0 w 4960450"/>
              <a:gd name="connsiteY36" fmla="*/ 0 h 4030928"/>
              <a:gd name="connsiteX0" fmla="*/ 0 w 4960450"/>
              <a:gd name="connsiteY0" fmla="*/ 0 h 4037030"/>
              <a:gd name="connsiteX1" fmla="*/ 4959705 w 4960450"/>
              <a:gd name="connsiteY1" fmla="*/ 0 h 4037030"/>
              <a:gd name="connsiteX2" fmla="*/ 4959705 w 4960450"/>
              <a:gd name="connsiteY2" fmla="*/ 3884371 h 4037030"/>
              <a:gd name="connsiteX3" fmla="*/ 4900634 w 4960450"/>
              <a:gd name="connsiteY3" fmla="*/ 3983900 h 4037030"/>
              <a:gd name="connsiteX4" fmla="*/ 4768788 w 4960450"/>
              <a:gd name="connsiteY4" fmla="*/ 4014326 h 4037030"/>
              <a:gd name="connsiteX5" fmla="*/ 4576272 w 4960450"/>
              <a:gd name="connsiteY5" fmla="*/ 3926148 h 4037030"/>
              <a:gd name="connsiteX6" fmla="*/ 4406327 w 4960450"/>
              <a:gd name="connsiteY6" fmla="*/ 3976226 h 4037030"/>
              <a:gd name="connsiteX7" fmla="*/ 4216128 w 4960450"/>
              <a:gd name="connsiteY7" fmla="*/ 3947304 h 4037030"/>
              <a:gd name="connsiteX8" fmla="*/ 4003658 w 4960450"/>
              <a:gd name="connsiteY8" fmla="*/ 3931174 h 4037030"/>
              <a:gd name="connsiteX9" fmla="*/ 3843820 w 4960450"/>
              <a:gd name="connsiteY9" fmla="*/ 3814056 h 4037030"/>
              <a:gd name="connsiteX10" fmla="*/ 3696475 w 4960450"/>
              <a:gd name="connsiteY10" fmla="*/ 3848725 h 4037030"/>
              <a:gd name="connsiteX11" fmla="*/ 3582873 w 4960450"/>
              <a:gd name="connsiteY11" fmla="*/ 3927653 h 4037030"/>
              <a:gd name="connsiteX12" fmla="*/ 3504537 w 4960450"/>
              <a:gd name="connsiteY12" fmla="*/ 3886423 h 4037030"/>
              <a:gd name="connsiteX13" fmla="*/ 3371452 w 4960450"/>
              <a:gd name="connsiteY13" fmla="*/ 3926731 h 4037030"/>
              <a:gd name="connsiteX14" fmla="*/ 3168108 w 4960450"/>
              <a:gd name="connsiteY14" fmla="*/ 3923620 h 4037030"/>
              <a:gd name="connsiteX15" fmla="*/ 3077280 w 4960450"/>
              <a:gd name="connsiteY15" fmla="*/ 3842184 h 4037030"/>
              <a:gd name="connsiteX16" fmla="*/ 2977998 w 4960450"/>
              <a:gd name="connsiteY16" fmla="*/ 3860632 h 4037030"/>
              <a:gd name="connsiteX17" fmla="*/ 2842746 w 4960450"/>
              <a:gd name="connsiteY17" fmla="*/ 3736050 h 4037030"/>
              <a:gd name="connsiteX18" fmla="*/ 2717046 w 4960450"/>
              <a:gd name="connsiteY18" fmla="*/ 3825752 h 4037030"/>
              <a:gd name="connsiteX19" fmla="*/ 2647733 w 4960450"/>
              <a:gd name="connsiteY19" fmla="*/ 3874726 h 4037030"/>
              <a:gd name="connsiteX20" fmla="*/ 2536929 w 4960450"/>
              <a:gd name="connsiteY20" fmla="*/ 3923320 h 4037030"/>
              <a:gd name="connsiteX21" fmla="*/ 2392082 w 4960450"/>
              <a:gd name="connsiteY21" fmla="*/ 3890155 h 4037030"/>
              <a:gd name="connsiteX22" fmla="*/ 2307907 w 4960450"/>
              <a:gd name="connsiteY22" fmla="*/ 3921002 h 4037030"/>
              <a:gd name="connsiteX23" fmla="*/ 2106026 w 4960450"/>
              <a:gd name="connsiteY23" fmla="*/ 3853059 h 4037030"/>
              <a:gd name="connsiteX24" fmla="*/ 1949900 w 4960450"/>
              <a:gd name="connsiteY24" fmla="*/ 3871105 h 4037030"/>
              <a:gd name="connsiteX25" fmla="*/ 1882759 w 4960450"/>
              <a:gd name="connsiteY25" fmla="*/ 3914953 h 4037030"/>
              <a:gd name="connsiteX26" fmla="*/ 1698663 w 4960450"/>
              <a:gd name="connsiteY26" fmla="*/ 3913730 h 4037030"/>
              <a:gd name="connsiteX27" fmla="*/ 1594656 w 4960450"/>
              <a:gd name="connsiteY27" fmla="*/ 3835725 h 4037030"/>
              <a:gd name="connsiteX28" fmla="*/ 1469015 w 4960450"/>
              <a:gd name="connsiteY28" fmla="*/ 3927141 h 4037030"/>
              <a:gd name="connsiteX29" fmla="*/ 1351971 w 4960450"/>
              <a:gd name="connsiteY29" fmla="*/ 4030739 h 4037030"/>
              <a:gd name="connsiteX30" fmla="*/ 1256546 w 4960450"/>
              <a:gd name="connsiteY30" fmla="*/ 4031059 h 4037030"/>
              <a:gd name="connsiteX31" fmla="*/ 992073 w 4960450"/>
              <a:gd name="connsiteY31" fmla="*/ 3876853 h 4037030"/>
              <a:gd name="connsiteX32" fmla="*/ 788873 w 4960450"/>
              <a:gd name="connsiteY32" fmla="*/ 3959403 h 4037030"/>
              <a:gd name="connsiteX33" fmla="*/ 528523 w 4960450"/>
              <a:gd name="connsiteY33" fmla="*/ 3832403 h 4037030"/>
              <a:gd name="connsiteX34" fmla="*/ 268173 w 4960450"/>
              <a:gd name="connsiteY34" fmla="*/ 3959403 h 4037030"/>
              <a:gd name="connsiteX35" fmla="*/ 7315 w 4960450"/>
              <a:gd name="connsiteY35" fmla="*/ 3884371 h 4037030"/>
              <a:gd name="connsiteX36" fmla="*/ 0 w 4960450"/>
              <a:gd name="connsiteY36" fmla="*/ 0 h 40370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152623 w 4960450"/>
              <a:gd name="connsiteY31" fmla="*/ 3983068 h 4035630"/>
              <a:gd name="connsiteX32" fmla="*/ 992073 w 4960450"/>
              <a:gd name="connsiteY32" fmla="*/ 3876853 h 4035630"/>
              <a:gd name="connsiteX33" fmla="*/ 788873 w 4960450"/>
              <a:gd name="connsiteY33" fmla="*/ 3959403 h 4035630"/>
              <a:gd name="connsiteX34" fmla="*/ 528523 w 4960450"/>
              <a:gd name="connsiteY34" fmla="*/ 3832403 h 4035630"/>
              <a:gd name="connsiteX35" fmla="*/ 268173 w 4960450"/>
              <a:gd name="connsiteY35" fmla="*/ 3959403 h 4035630"/>
              <a:gd name="connsiteX36" fmla="*/ 7315 w 4960450"/>
              <a:gd name="connsiteY36" fmla="*/ 3884371 h 4035630"/>
              <a:gd name="connsiteX37" fmla="*/ 0 w 4960450"/>
              <a:gd name="connsiteY3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992073 w 4960450"/>
              <a:gd name="connsiteY32" fmla="*/ 3876853 h 4035630"/>
              <a:gd name="connsiteX33" fmla="*/ 788873 w 4960450"/>
              <a:gd name="connsiteY33" fmla="*/ 3959403 h 4035630"/>
              <a:gd name="connsiteX34" fmla="*/ 528523 w 4960450"/>
              <a:gd name="connsiteY34" fmla="*/ 3832403 h 4035630"/>
              <a:gd name="connsiteX35" fmla="*/ 268173 w 4960450"/>
              <a:gd name="connsiteY35" fmla="*/ 3959403 h 4035630"/>
              <a:gd name="connsiteX36" fmla="*/ 7315 w 4960450"/>
              <a:gd name="connsiteY36" fmla="*/ 3884371 h 4035630"/>
              <a:gd name="connsiteX37" fmla="*/ 0 w 4960450"/>
              <a:gd name="connsiteY3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13620 w 4960450"/>
              <a:gd name="connsiteY32" fmla="*/ 3909396 h 4035630"/>
              <a:gd name="connsiteX33" fmla="*/ 992073 w 4960450"/>
              <a:gd name="connsiteY33" fmla="*/ 3876853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992073 w 4960450"/>
              <a:gd name="connsiteY33" fmla="*/ 3876853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892604 w 4960450"/>
              <a:gd name="connsiteY34" fmla="*/ 3939732 h 4035630"/>
              <a:gd name="connsiteX35" fmla="*/ 788873 w 4960450"/>
              <a:gd name="connsiteY35" fmla="*/ 3959403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3959403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49920 w 4960450"/>
              <a:gd name="connsiteY36" fmla="*/ 3905063 h 4035630"/>
              <a:gd name="connsiteX37" fmla="*/ 528523 w 4960450"/>
              <a:gd name="connsiteY37" fmla="*/ 3832403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28523 w 4960450"/>
              <a:gd name="connsiteY37" fmla="*/ 3832403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171887"/>
              <a:gd name="connsiteX1" fmla="*/ 4959705 w 4960450"/>
              <a:gd name="connsiteY1" fmla="*/ 0 h 4171887"/>
              <a:gd name="connsiteX2" fmla="*/ 4959705 w 4960450"/>
              <a:gd name="connsiteY2" fmla="*/ 3884371 h 4171887"/>
              <a:gd name="connsiteX3" fmla="*/ 4900634 w 4960450"/>
              <a:gd name="connsiteY3" fmla="*/ 3983900 h 4171887"/>
              <a:gd name="connsiteX4" fmla="*/ 4768788 w 4960450"/>
              <a:gd name="connsiteY4" fmla="*/ 4014326 h 4171887"/>
              <a:gd name="connsiteX5" fmla="*/ 4576272 w 4960450"/>
              <a:gd name="connsiteY5" fmla="*/ 3926148 h 4171887"/>
              <a:gd name="connsiteX6" fmla="*/ 4406327 w 4960450"/>
              <a:gd name="connsiteY6" fmla="*/ 3976226 h 4171887"/>
              <a:gd name="connsiteX7" fmla="*/ 4216128 w 4960450"/>
              <a:gd name="connsiteY7" fmla="*/ 3947304 h 4171887"/>
              <a:gd name="connsiteX8" fmla="*/ 4003658 w 4960450"/>
              <a:gd name="connsiteY8" fmla="*/ 3931174 h 4171887"/>
              <a:gd name="connsiteX9" fmla="*/ 3843820 w 4960450"/>
              <a:gd name="connsiteY9" fmla="*/ 3814056 h 4171887"/>
              <a:gd name="connsiteX10" fmla="*/ 3696475 w 4960450"/>
              <a:gd name="connsiteY10" fmla="*/ 3848725 h 4171887"/>
              <a:gd name="connsiteX11" fmla="*/ 3582873 w 4960450"/>
              <a:gd name="connsiteY11" fmla="*/ 3927653 h 4171887"/>
              <a:gd name="connsiteX12" fmla="*/ 3504537 w 4960450"/>
              <a:gd name="connsiteY12" fmla="*/ 3886423 h 4171887"/>
              <a:gd name="connsiteX13" fmla="*/ 3371452 w 4960450"/>
              <a:gd name="connsiteY13" fmla="*/ 3926731 h 4171887"/>
              <a:gd name="connsiteX14" fmla="*/ 3168108 w 4960450"/>
              <a:gd name="connsiteY14" fmla="*/ 3923620 h 4171887"/>
              <a:gd name="connsiteX15" fmla="*/ 3077280 w 4960450"/>
              <a:gd name="connsiteY15" fmla="*/ 3842184 h 4171887"/>
              <a:gd name="connsiteX16" fmla="*/ 2977998 w 4960450"/>
              <a:gd name="connsiteY16" fmla="*/ 3860632 h 4171887"/>
              <a:gd name="connsiteX17" fmla="*/ 2842746 w 4960450"/>
              <a:gd name="connsiteY17" fmla="*/ 3736050 h 4171887"/>
              <a:gd name="connsiteX18" fmla="*/ 2717046 w 4960450"/>
              <a:gd name="connsiteY18" fmla="*/ 3825752 h 4171887"/>
              <a:gd name="connsiteX19" fmla="*/ 2647733 w 4960450"/>
              <a:gd name="connsiteY19" fmla="*/ 3874726 h 4171887"/>
              <a:gd name="connsiteX20" fmla="*/ 2536929 w 4960450"/>
              <a:gd name="connsiteY20" fmla="*/ 3923320 h 4171887"/>
              <a:gd name="connsiteX21" fmla="*/ 2392082 w 4960450"/>
              <a:gd name="connsiteY21" fmla="*/ 3890155 h 4171887"/>
              <a:gd name="connsiteX22" fmla="*/ 2307907 w 4960450"/>
              <a:gd name="connsiteY22" fmla="*/ 3921002 h 4171887"/>
              <a:gd name="connsiteX23" fmla="*/ 2106026 w 4960450"/>
              <a:gd name="connsiteY23" fmla="*/ 3853059 h 4171887"/>
              <a:gd name="connsiteX24" fmla="*/ 1949900 w 4960450"/>
              <a:gd name="connsiteY24" fmla="*/ 3871105 h 4171887"/>
              <a:gd name="connsiteX25" fmla="*/ 1882759 w 4960450"/>
              <a:gd name="connsiteY25" fmla="*/ 3914953 h 4171887"/>
              <a:gd name="connsiteX26" fmla="*/ 1698663 w 4960450"/>
              <a:gd name="connsiteY26" fmla="*/ 3913730 h 4171887"/>
              <a:gd name="connsiteX27" fmla="*/ 1594656 w 4960450"/>
              <a:gd name="connsiteY27" fmla="*/ 3835725 h 4171887"/>
              <a:gd name="connsiteX28" fmla="*/ 1469015 w 4960450"/>
              <a:gd name="connsiteY28" fmla="*/ 3927141 h 4171887"/>
              <a:gd name="connsiteX29" fmla="*/ 1351971 w 4960450"/>
              <a:gd name="connsiteY29" fmla="*/ 4030739 h 4171887"/>
              <a:gd name="connsiteX30" fmla="*/ 1256546 w 4960450"/>
              <a:gd name="connsiteY30" fmla="*/ 4031059 h 4171887"/>
              <a:gd name="connsiteX31" fmla="*/ 1247963 w 4960450"/>
              <a:gd name="connsiteY31" fmla="*/ 3965734 h 4171887"/>
              <a:gd name="connsiteX32" fmla="*/ 1139622 w 4960450"/>
              <a:gd name="connsiteY32" fmla="*/ 3965733 h 4171887"/>
              <a:gd name="connsiteX33" fmla="*/ 1061411 w 4960450"/>
              <a:gd name="connsiteY33" fmla="*/ 3928857 h 4171887"/>
              <a:gd name="connsiteX34" fmla="*/ 966276 w 4960450"/>
              <a:gd name="connsiteY34" fmla="*/ 3970068 h 4171887"/>
              <a:gd name="connsiteX35" fmla="*/ 788873 w 4960450"/>
              <a:gd name="connsiteY35" fmla="*/ 4015741 h 4171887"/>
              <a:gd name="connsiteX36" fmla="*/ 636919 w 4960450"/>
              <a:gd name="connsiteY36" fmla="*/ 3978735 h 4171887"/>
              <a:gd name="connsiteX37" fmla="*/ 493854 w 4960450"/>
              <a:gd name="connsiteY37" fmla="*/ 3888741 h 4171887"/>
              <a:gd name="connsiteX38" fmla="*/ 268173 w 4960450"/>
              <a:gd name="connsiteY38" fmla="*/ 3959403 h 4171887"/>
              <a:gd name="connsiteX39" fmla="*/ 134216 w 4960450"/>
              <a:gd name="connsiteY39" fmla="*/ 3892062 h 4171887"/>
              <a:gd name="connsiteX40" fmla="*/ 7315 w 4960450"/>
              <a:gd name="connsiteY40" fmla="*/ 3884371 h 4171887"/>
              <a:gd name="connsiteX41" fmla="*/ 0 w 4960450"/>
              <a:gd name="connsiteY41" fmla="*/ 0 h 4171887"/>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134216 w 4960450"/>
              <a:gd name="connsiteY39" fmla="*/ 3892062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47543 w 4960450"/>
              <a:gd name="connsiteY39" fmla="*/ 4000404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76840 w 4960450"/>
              <a:gd name="connsiteY38" fmla="*/ 4015740 h 4035630"/>
              <a:gd name="connsiteX39" fmla="*/ 47543 w 4960450"/>
              <a:gd name="connsiteY39" fmla="*/ 4000404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372566 w 4960450"/>
              <a:gd name="connsiteY38" fmla="*/ 3965734 h 4035630"/>
              <a:gd name="connsiteX39" fmla="*/ 276840 w 4960450"/>
              <a:gd name="connsiteY39" fmla="*/ 4015740 h 4035630"/>
              <a:gd name="connsiteX40" fmla="*/ 47543 w 4960450"/>
              <a:gd name="connsiteY40" fmla="*/ 4000404 h 4035630"/>
              <a:gd name="connsiteX41" fmla="*/ 7315 w 4960450"/>
              <a:gd name="connsiteY41" fmla="*/ 3884371 h 4035630"/>
              <a:gd name="connsiteX42" fmla="*/ 0 w 4960450"/>
              <a:gd name="connsiteY42"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47543 w 4960450"/>
              <a:gd name="connsiteY40" fmla="*/ 4000404 h 4035630"/>
              <a:gd name="connsiteX41" fmla="*/ 7315 w 4960450"/>
              <a:gd name="connsiteY41" fmla="*/ 3884371 h 4035630"/>
              <a:gd name="connsiteX42" fmla="*/ 0 w 4960450"/>
              <a:gd name="connsiteY42"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47217 w 4960450"/>
              <a:gd name="connsiteY40" fmla="*/ 4004737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61645 w 4960450"/>
              <a:gd name="connsiteY37" fmla="*/ 3924602 h 4035630"/>
              <a:gd name="connsiteX38" fmla="*/ 493854 w 4960450"/>
              <a:gd name="connsiteY38" fmla="*/ 3888741 h 4035630"/>
              <a:gd name="connsiteX39" fmla="*/ 411569 w 4960450"/>
              <a:gd name="connsiteY39" fmla="*/ 3978735 h 4035630"/>
              <a:gd name="connsiteX40" fmla="*/ 276840 w 4960450"/>
              <a:gd name="connsiteY40" fmla="*/ 4015740 h 4035630"/>
              <a:gd name="connsiteX41" fmla="*/ 164552 w 4960450"/>
              <a:gd name="connsiteY41" fmla="*/ 3991736 h 4035630"/>
              <a:gd name="connsiteX42" fmla="*/ 47543 w 4960450"/>
              <a:gd name="connsiteY42" fmla="*/ 4000404 h 4035630"/>
              <a:gd name="connsiteX43" fmla="*/ 7315 w 4960450"/>
              <a:gd name="connsiteY43" fmla="*/ 3884371 h 4035630"/>
              <a:gd name="connsiteX44" fmla="*/ 0 w 4960450"/>
              <a:gd name="connsiteY44"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61645 w 4960450"/>
              <a:gd name="connsiteY37" fmla="*/ 3948456 h 4035630"/>
              <a:gd name="connsiteX38" fmla="*/ 493854 w 4960450"/>
              <a:gd name="connsiteY38" fmla="*/ 3888741 h 4035630"/>
              <a:gd name="connsiteX39" fmla="*/ 411569 w 4960450"/>
              <a:gd name="connsiteY39" fmla="*/ 3978735 h 4035630"/>
              <a:gd name="connsiteX40" fmla="*/ 276840 w 4960450"/>
              <a:gd name="connsiteY40" fmla="*/ 4015740 h 4035630"/>
              <a:gd name="connsiteX41" fmla="*/ 164552 w 4960450"/>
              <a:gd name="connsiteY41" fmla="*/ 3991736 h 4035630"/>
              <a:gd name="connsiteX42" fmla="*/ 47543 w 4960450"/>
              <a:gd name="connsiteY42" fmla="*/ 4000404 h 4035630"/>
              <a:gd name="connsiteX43" fmla="*/ 7315 w 4960450"/>
              <a:gd name="connsiteY43" fmla="*/ 3884371 h 4035630"/>
              <a:gd name="connsiteX44" fmla="*/ 0 w 4960450"/>
              <a:gd name="connsiteY44"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12720 w 4960450"/>
              <a:gd name="connsiteY36" fmla="*/ 4000139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20671 w 4960450"/>
              <a:gd name="connsiteY36" fmla="*/ 3972310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20671 w 4960450"/>
              <a:gd name="connsiteY36" fmla="*/ 3972310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67771 w 4960450"/>
              <a:gd name="connsiteY35" fmla="*/ 3988212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47892 w 4960450"/>
              <a:gd name="connsiteY35" fmla="*/ 3972309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47892 w 4960450"/>
              <a:gd name="connsiteY35" fmla="*/ 3972309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75766 w 4960450"/>
              <a:gd name="connsiteY18" fmla="*/ 3789112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2226 w 4960450"/>
              <a:gd name="connsiteY14" fmla="*/ 392810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3350"/>
              <a:gd name="connsiteX1" fmla="*/ 4959705 w 4960450"/>
              <a:gd name="connsiteY1" fmla="*/ 0 h 4033350"/>
              <a:gd name="connsiteX2" fmla="*/ 4959705 w 4960450"/>
              <a:gd name="connsiteY2" fmla="*/ 3884371 h 4033350"/>
              <a:gd name="connsiteX3" fmla="*/ 4900634 w 4960450"/>
              <a:gd name="connsiteY3" fmla="*/ 3983900 h 4033350"/>
              <a:gd name="connsiteX4" fmla="*/ 4768788 w 4960450"/>
              <a:gd name="connsiteY4" fmla="*/ 4014326 h 4033350"/>
              <a:gd name="connsiteX5" fmla="*/ 4576272 w 4960450"/>
              <a:gd name="connsiteY5" fmla="*/ 3926148 h 4033350"/>
              <a:gd name="connsiteX6" fmla="*/ 4406327 w 4960450"/>
              <a:gd name="connsiteY6" fmla="*/ 3976226 h 4033350"/>
              <a:gd name="connsiteX7" fmla="*/ 4216128 w 4960450"/>
              <a:gd name="connsiteY7" fmla="*/ 3947304 h 4033350"/>
              <a:gd name="connsiteX8" fmla="*/ 4003658 w 4960450"/>
              <a:gd name="connsiteY8" fmla="*/ 3931174 h 4033350"/>
              <a:gd name="connsiteX9" fmla="*/ 3843820 w 4960450"/>
              <a:gd name="connsiteY9" fmla="*/ 3814056 h 4033350"/>
              <a:gd name="connsiteX10" fmla="*/ 3696475 w 4960450"/>
              <a:gd name="connsiteY10" fmla="*/ 3848725 h 4033350"/>
              <a:gd name="connsiteX11" fmla="*/ 3582873 w 4960450"/>
              <a:gd name="connsiteY11" fmla="*/ 3927653 h 4033350"/>
              <a:gd name="connsiteX12" fmla="*/ 3519167 w 4960450"/>
              <a:gd name="connsiteY12" fmla="*/ 3868135 h 4033350"/>
              <a:gd name="connsiteX13" fmla="*/ 3371452 w 4960450"/>
              <a:gd name="connsiteY13" fmla="*/ 3926731 h 4033350"/>
              <a:gd name="connsiteX14" fmla="*/ 3269542 w 4960450"/>
              <a:gd name="connsiteY14" fmla="*/ 3913470 h 4033350"/>
              <a:gd name="connsiteX15" fmla="*/ 3168108 w 4960450"/>
              <a:gd name="connsiteY15" fmla="*/ 3923620 h 4033350"/>
              <a:gd name="connsiteX16" fmla="*/ 3077280 w 4960450"/>
              <a:gd name="connsiteY16" fmla="*/ 3842184 h 4033350"/>
              <a:gd name="connsiteX17" fmla="*/ 2977998 w 4960450"/>
              <a:gd name="connsiteY17" fmla="*/ 3860632 h 4033350"/>
              <a:gd name="connsiteX18" fmla="*/ 2842746 w 4960450"/>
              <a:gd name="connsiteY18" fmla="*/ 3736050 h 4033350"/>
              <a:gd name="connsiteX19" fmla="*/ 2753820 w 4960450"/>
              <a:gd name="connsiteY19" fmla="*/ 3770824 h 4033350"/>
              <a:gd name="connsiteX20" fmla="*/ 2717046 w 4960450"/>
              <a:gd name="connsiteY20" fmla="*/ 3825752 h 4033350"/>
              <a:gd name="connsiteX21" fmla="*/ 2647733 w 4960450"/>
              <a:gd name="connsiteY21" fmla="*/ 3874726 h 4033350"/>
              <a:gd name="connsiteX22" fmla="*/ 2536929 w 4960450"/>
              <a:gd name="connsiteY22" fmla="*/ 3923320 h 4033350"/>
              <a:gd name="connsiteX23" fmla="*/ 2392082 w 4960450"/>
              <a:gd name="connsiteY23" fmla="*/ 3890155 h 4033350"/>
              <a:gd name="connsiteX24" fmla="*/ 2307907 w 4960450"/>
              <a:gd name="connsiteY24" fmla="*/ 3921002 h 4033350"/>
              <a:gd name="connsiteX25" fmla="*/ 2106026 w 4960450"/>
              <a:gd name="connsiteY25" fmla="*/ 3853059 h 4033350"/>
              <a:gd name="connsiteX26" fmla="*/ 1949900 w 4960450"/>
              <a:gd name="connsiteY26" fmla="*/ 3871105 h 4033350"/>
              <a:gd name="connsiteX27" fmla="*/ 1882759 w 4960450"/>
              <a:gd name="connsiteY27" fmla="*/ 3914953 h 4033350"/>
              <a:gd name="connsiteX28" fmla="*/ 1698663 w 4960450"/>
              <a:gd name="connsiteY28" fmla="*/ 3913730 h 4033350"/>
              <a:gd name="connsiteX29" fmla="*/ 1594656 w 4960450"/>
              <a:gd name="connsiteY29" fmla="*/ 3835725 h 4033350"/>
              <a:gd name="connsiteX30" fmla="*/ 1469015 w 4960450"/>
              <a:gd name="connsiteY30" fmla="*/ 3927141 h 4033350"/>
              <a:gd name="connsiteX31" fmla="*/ 1362944 w 4960450"/>
              <a:gd name="connsiteY31" fmla="*/ 4019766 h 4033350"/>
              <a:gd name="connsiteX32" fmla="*/ 1256546 w 4960450"/>
              <a:gd name="connsiteY32" fmla="*/ 4031059 h 4033350"/>
              <a:gd name="connsiteX33" fmla="*/ 1247963 w 4960450"/>
              <a:gd name="connsiteY33" fmla="*/ 3965734 h 4033350"/>
              <a:gd name="connsiteX34" fmla="*/ 1139622 w 4960450"/>
              <a:gd name="connsiteY34" fmla="*/ 3965733 h 4033350"/>
              <a:gd name="connsiteX35" fmla="*/ 1061411 w 4960450"/>
              <a:gd name="connsiteY35" fmla="*/ 3928857 h 4033350"/>
              <a:gd name="connsiteX36" fmla="*/ 966276 w 4960450"/>
              <a:gd name="connsiteY36" fmla="*/ 3970068 h 4033350"/>
              <a:gd name="connsiteX37" fmla="*/ 847892 w 4960450"/>
              <a:gd name="connsiteY37" fmla="*/ 3972309 h 4033350"/>
              <a:gd name="connsiteX38" fmla="*/ 788873 w 4960450"/>
              <a:gd name="connsiteY38" fmla="*/ 4015741 h 4033350"/>
              <a:gd name="connsiteX39" fmla="*/ 720671 w 4960450"/>
              <a:gd name="connsiteY39" fmla="*/ 3972310 h 4033350"/>
              <a:gd name="connsiteX40" fmla="*/ 636919 w 4960450"/>
              <a:gd name="connsiteY40" fmla="*/ 3978735 h 4033350"/>
              <a:gd name="connsiteX41" fmla="*/ 561645 w 4960450"/>
              <a:gd name="connsiteY41" fmla="*/ 3948456 h 4033350"/>
              <a:gd name="connsiteX42" fmla="*/ 493854 w 4960450"/>
              <a:gd name="connsiteY42" fmla="*/ 3888741 h 4033350"/>
              <a:gd name="connsiteX43" fmla="*/ 411569 w 4960450"/>
              <a:gd name="connsiteY43" fmla="*/ 3978735 h 4033350"/>
              <a:gd name="connsiteX44" fmla="*/ 276840 w 4960450"/>
              <a:gd name="connsiteY44" fmla="*/ 4015740 h 4033350"/>
              <a:gd name="connsiteX45" fmla="*/ 164552 w 4960450"/>
              <a:gd name="connsiteY45" fmla="*/ 3991736 h 4033350"/>
              <a:gd name="connsiteX46" fmla="*/ 69488 w 4960450"/>
              <a:gd name="connsiteY46" fmla="*/ 4015035 h 4033350"/>
              <a:gd name="connsiteX47" fmla="*/ 7315 w 4960450"/>
              <a:gd name="connsiteY47" fmla="*/ 3884371 h 4033350"/>
              <a:gd name="connsiteX48" fmla="*/ 0 w 4960450"/>
              <a:gd name="connsiteY48" fmla="*/ 0 h 4033350"/>
              <a:gd name="connsiteX0" fmla="*/ 0 w 4960450"/>
              <a:gd name="connsiteY0" fmla="*/ 0 h 4027212"/>
              <a:gd name="connsiteX1" fmla="*/ 4959705 w 4960450"/>
              <a:gd name="connsiteY1" fmla="*/ 0 h 4027212"/>
              <a:gd name="connsiteX2" fmla="*/ 4959705 w 4960450"/>
              <a:gd name="connsiteY2" fmla="*/ 3884371 h 4027212"/>
              <a:gd name="connsiteX3" fmla="*/ 4900634 w 4960450"/>
              <a:gd name="connsiteY3" fmla="*/ 3983900 h 4027212"/>
              <a:gd name="connsiteX4" fmla="*/ 4768788 w 4960450"/>
              <a:gd name="connsiteY4" fmla="*/ 4014326 h 4027212"/>
              <a:gd name="connsiteX5" fmla="*/ 4576272 w 4960450"/>
              <a:gd name="connsiteY5" fmla="*/ 3926148 h 4027212"/>
              <a:gd name="connsiteX6" fmla="*/ 4406327 w 4960450"/>
              <a:gd name="connsiteY6" fmla="*/ 3976226 h 4027212"/>
              <a:gd name="connsiteX7" fmla="*/ 4216128 w 4960450"/>
              <a:gd name="connsiteY7" fmla="*/ 3947304 h 4027212"/>
              <a:gd name="connsiteX8" fmla="*/ 4003658 w 4960450"/>
              <a:gd name="connsiteY8" fmla="*/ 3931174 h 4027212"/>
              <a:gd name="connsiteX9" fmla="*/ 3843820 w 4960450"/>
              <a:gd name="connsiteY9" fmla="*/ 3814056 h 4027212"/>
              <a:gd name="connsiteX10" fmla="*/ 3696475 w 4960450"/>
              <a:gd name="connsiteY10" fmla="*/ 3848725 h 4027212"/>
              <a:gd name="connsiteX11" fmla="*/ 3582873 w 4960450"/>
              <a:gd name="connsiteY11" fmla="*/ 3927653 h 4027212"/>
              <a:gd name="connsiteX12" fmla="*/ 3519167 w 4960450"/>
              <a:gd name="connsiteY12" fmla="*/ 3868135 h 4027212"/>
              <a:gd name="connsiteX13" fmla="*/ 3371452 w 4960450"/>
              <a:gd name="connsiteY13" fmla="*/ 3926731 h 4027212"/>
              <a:gd name="connsiteX14" fmla="*/ 3269542 w 4960450"/>
              <a:gd name="connsiteY14" fmla="*/ 3913470 h 4027212"/>
              <a:gd name="connsiteX15" fmla="*/ 3168108 w 4960450"/>
              <a:gd name="connsiteY15" fmla="*/ 3923620 h 4027212"/>
              <a:gd name="connsiteX16" fmla="*/ 3077280 w 4960450"/>
              <a:gd name="connsiteY16" fmla="*/ 3842184 h 4027212"/>
              <a:gd name="connsiteX17" fmla="*/ 2977998 w 4960450"/>
              <a:gd name="connsiteY17" fmla="*/ 3860632 h 4027212"/>
              <a:gd name="connsiteX18" fmla="*/ 2842746 w 4960450"/>
              <a:gd name="connsiteY18" fmla="*/ 3736050 h 4027212"/>
              <a:gd name="connsiteX19" fmla="*/ 2753820 w 4960450"/>
              <a:gd name="connsiteY19" fmla="*/ 3770824 h 4027212"/>
              <a:gd name="connsiteX20" fmla="*/ 2717046 w 4960450"/>
              <a:gd name="connsiteY20" fmla="*/ 3825752 h 4027212"/>
              <a:gd name="connsiteX21" fmla="*/ 2647733 w 4960450"/>
              <a:gd name="connsiteY21" fmla="*/ 3874726 h 4027212"/>
              <a:gd name="connsiteX22" fmla="*/ 2536929 w 4960450"/>
              <a:gd name="connsiteY22" fmla="*/ 3923320 h 4027212"/>
              <a:gd name="connsiteX23" fmla="*/ 2392082 w 4960450"/>
              <a:gd name="connsiteY23" fmla="*/ 3890155 h 4027212"/>
              <a:gd name="connsiteX24" fmla="*/ 2307907 w 4960450"/>
              <a:gd name="connsiteY24" fmla="*/ 3921002 h 4027212"/>
              <a:gd name="connsiteX25" fmla="*/ 2106026 w 4960450"/>
              <a:gd name="connsiteY25" fmla="*/ 3853059 h 4027212"/>
              <a:gd name="connsiteX26" fmla="*/ 1949900 w 4960450"/>
              <a:gd name="connsiteY26" fmla="*/ 3871105 h 4027212"/>
              <a:gd name="connsiteX27" fmla="*/ 1882759 w 4960450"/>
              <a:gd name="connsiteY27" fmla="*/ 3914953 h 4027212"/>
              <a:gd name="connsiteX28" fmla="*/ 1698663 w 4960450"/>
              <a:gd name="connsiteY28" fmla="*/ 3913730 h 4027212"/>
              <a:gd name="connsiteX29" fmla="*/ 1594656 w 4960450"/>
              <a:gd name="connsiteY29" fmla="*/ 3835725 h 4027212"/>
              <a:gd name="connsiteX30" fmla="*/ 1469015 w 4960450"/>
              <a:gd name="connsiteY30" fmla="*/ 3927141 h 4027212"/>
              <a:gd name="connsiteX31" fmla="*/ 1362944 w 4960450"/>
              <a:gd name="connsiteY31" fmla="*/ 4019766 h 4027212"/>
              <a:gd name="connsiteX32" fmla="*/ 1282149 w 4960450"/>
              <a:gd name="connsiteY32" fmla="*/ 4023744 h 4027212"/>
              <a:gd name="connsiteX33" fmla="*/ 1247963 w 4960450"/>
              <a:gd name="connsiteY33" fmla="*/ 3965734 h 4027212"/>
              <a:gd name="connsiteX34" fmla="*/ 1139622 w 4960450"/>
              <a:gd name="connsiteY34" fmla="*/ 3965733 h 4027212"/>
              <a:gd name="connsiteX35" fmla="*/ 1061411 w 4960450"/>
              <a:gd name="connsiteY35" fmla="*/ 3928857 h 4027212"/>
              <a:gd name="connsiteX36" fmla="*/ 966276 w 4960450"/>
              <a:gd name="connsiteY36" fmla="*/ 3970068 h 4027212"/>
              <a:gd name="connsiteX37" fmla="*/ 847892 w 4960450"/>
              <a:gd name="connsiteY37" fmla="*/ 3972309 h 4027212"/>
              <a:gd name="connsiteX38" fmla="*/ 788873 w 4960450"/>
              <a:gd name="connsiteY38" fmla="*/ 4015741 h 4027212"/>
              <a:gd name="connsiteX39" fmla="*/ 720671 w 4960450"/>
              <a:gd name="connsiteY39" fmla="*/ 3972310 h 4027212"/>
              <a:gd name="connsiteX40" fmla="*/ 636919 w 4960450"/>
              <a:gd name="connsiteY40" fmla="*/ 3978735 h 4027212"/>
              <a:gd name="connsiteX41" fmla="*/ 561645 w 4960450"/>
              <a:gd name="connsiteY41" fmla="*/ 3948456 h 4027212"/>
              <a:gd name="connsiteX42" fmla="*/ 493854 w 4960450"/>
              <a:gd name="connsiteY42" fmla="*/ 3888741 h 4027212"/>
              <a:gd name="connsiteX43" fmla="*/ 411569 w 4960450"/>
              <a:gd name="connsiteY43" fmla="*/ 3978735 h 4027212"/>
              <a:gd name="connsiteX44" fmla="*/ 276840 w 4960450"/>
              <a:gd name="connsiteY44" fmla="*/ 4015740 h 4027212"/>
              <a:gd name="connsiteX45" fmla="*/ 164552 w 4960450"/>
              <a:gd name="connsiteY45" fmla="*/ 3991736 h 4027212"/>
              <a:gd name="connsiteX46" fmla="*/ 69488 w 4960450"/>
              <a:gd name="connsiteY46" fmla="*/ 4015035 h 4027212"/>
              <a:gd name="connsiteX47" fmla="*/ 7315 w 4960450"/>
              <a:gd name="connsiteY47" fmla="*/ 3884371 h 4027212"/>
              <a:gd name="connsiteX48" fmla="*/ 0 w 4960450"/>
              <a:gd name="connsiteY48" fmla="*/ 0 h 4027212"/>
              <a:gd name="connsiteX0" fmla="*/ 0 w 4954502"/>
              <a:gd name="connsiteY0" fmla="*/ 1397544 h 4027212"/>
              <a:gd name="connsiteX1" fmla="*/ 4953757 w 4954502"/>
              <a:gd name="connsiteY1" fmla="*/ 0 h 4027212"/>
              <a:gd name="connsiteX2" fmla="*/ 4953757 w 4954502"/>
              <a:gd name="connsiteY2" fmla="*/ 3884371 h 4027212"/>
              <a:gd name="connsiteX3" fmla="*/ 4894686 w 4954502"/>
              <a:gd name="connsiteY3" fmla="*/ 3983900 h 4027212"/>
              <a:gd name="connsiteX4" fmla="*/ 4762840 w 4954502"/>
              <a:gd name="connsiteY4" fmla="*/ 4014326 h 4027212"/>
              <a:gd name="connsiteX5" fmla="*/ 4570324 w 4954502"/>
              <a:gd name="connsiteY5" fmla="*/ 3926148 h 4027212"/>
              <a:gd name="connsiteX6" fmla="*/ 4400379 w 4954502"/>
              <a:gd name="connsiteY6" fmla="*/ 3976226 h 4027212"/>
              <a:gd name="connsiteX7" fmla="*/ 4210180 w 4954502"/>
              <a:gd name="connsiteY7" fmla="*/ 3947304 h 4027212"/>
              <a:gd name="connsiteX8" fmla="*/ 3997710 w 4954502"/>
              <a:gd name="connsiteY8" fmla="*/ 3931174 h 4027212"/>
              <a:gd name="connsiteX9" fmla="*/ 3837872 w 4954502"/>
              <a:gd name="connsiteY9" fmla="*/ 3814056 h 4027212"/>
              <a:gd name="connsiteX10" fmla="*/ 3690527 w 4954502"/>
              <a:gd name="connsiteY10" fmla="*/ 3848725 h 4027212"/>
              <a:gd name="connsiteX11" fmla="*/ 3576925 w 4954502"/>
              <a:gd name="connsiteY11" fmla="*/ 3927653 h 4027212"/>
              <a:gd name="connsiteX12" fmla="*/ 3513219 w 4954502"/>
              <a:gd name="connsiteY12" fmla="*/ 3868135 h 4027212"/>
              <a:gd name="connsiteX13" fmla="*/ 3365504 w 4954502"/>
              <a:gd name="connsiteY13" fmla="*/ 3926731 h 4027212"/>
              <a:gd name="connsiteX14" fmla="*/ 3263594 w 4954502"/>
              <a:gd name="connsiteY14" fmla="*/ 3913470 h 4027212"/>
              <a:gd name="connsiteX15" fmla="*/ 3162160 w 4954502"/>
              <a:gd name="connsiteY15" fmla="*/ 3923620 h 4027212"/>
              <a:gd name="connsiteX16" fmla="*/ 3071332 w 4954502"/>
              <a:gd name="connsiteY16" fmla="*/ 3842184 h 4027212"/>
              <a:gd name="connsiteX17" fmla="*/ 2972050 w 4954502"/>
              <a:gd name="connsiteY17" fmla="*/ 3860632 h 4027212"/>
              <a:gd name="connsiteX18" fmla="*/ 2836798 w 4954502"/>
              <a:gd name="connsiteY18" fmla="*/ 3736050 h 4027212"/>
              <a:gd name="connsiteX19" fmla="*/ 2747872 w 4954502"/>
              <a:gd name="connsiteY19" fmla="*/ 3770824 h 4027212"/>
              <a:gd name="connsiteX20" fmla="*/ 2711098 w 4954502"/>
              <a:gd name="connsiteY20" fmla="*/ 3825752 h 4027212"/>
              <a:gd name="connsiteX21" fmla="*/ 2641785 w 4954502"/>
              <a:gd name="connsiteY21" fmla="*/ 3874726 h 4027212"/>
              <a:gd name="connsiteX22" fmla="*/ 2530981 w 4954502"/>
              <a:gd name="connsiteY22" fmla="*/ 3923320 h 4027212"/>
              <a:gd name="connsiteX23" fmla="*/ 2386134 w 4954502"/>
              <a:gd name="connsiteY23" fmla="*/ 3890155 h 4027212"/>
              <a:gd name="connsiteX24" fmla="*/ 2301959 w 4954502"/>
              <a:gd name="connsiteY24" fmla="*/ 3921002 h 4027212"/>
              <a:gd name="connsiteX25" fmla="*/ 2100078 w 4954502"/>
              <a:gd name="connsiteY25" fmla="*/ 3853059 h 4027212"/>
              <a:gd name="connsiteX26" fmla="*/ 1943952 w 4954502"/>
              <a:gd name="connsiteY26" fmla="*/ 3871105 h 4027212"/>
              <a:gd name="connsiteX27" fmla="*/ 1876811 w 4954502"/>
              <a:gd name="connsiteY27" fmla="*/ 3914953 h 4027212"/>
              <a:gd name="connsiteX28" fmla="*/ 1692715 w 4954502"/>
              <a:gd name="connsiteY28" fmla="*/ 3913730 h 4027212"/>
              <a:gd name="connsiteX29" fmla="*/ 1588708 w 4954502"/>
              <a:gd name="connsiteY29" fmla="*/ 3835725 h 4027212"/>
              <a:gd name="connsiteX30" fmla="*/ 1463067 w 4954502"/>
              <a:gd name="connsiteY30" fmla="*/ 3927141 h 4027212"/>
              <a:gd name="connsiteX31" fmla="*/ 1356996 w 4954502"/>
              <a:gd name="connsiteY31" fmla="*/ 4019766 h 4027212"/>
              <a:gd name="connsiteX32" fmla="*/ 1276201 w 4954502"/>
              <a:gd name="connsiteY32" fmla="*/ 4023744 h 4027212"/>
              <a:gd name="connsiteX33" fmla="*/ 1242015 w 4954502"/>
              <a:gd name="connsiteY33" fmla="*/ 3965734 h 4027212"/>
              <a:gd name="connsiteX34" fmla="*/ 1133674 w 4954502"/>
              <a:gd name="connsiteY34" fmla="*/ 3965733 h 4027212"/>
              <a:gd name="connsiteX35" fmla="*/ 1055463 w 4954502"/>
              <a:gd name="connsiteY35" fmla="*/ 3928857 h 4027212"/>
              <a:gd name="connsiteX36" fmla="*/ 960328 w 4954502"/>
              <a:gd name="connsiteY36" fmla="*/ 3970068 h 4027212"/>
              <a:gd name="connsiteX37" fmla="*/ 841944 w 4954502"/>
              <a:gd name="connsiteY37" fmla="*/ 3972309 h 4027212"/>
              <a:gd name="connsiteX38" fmla="*/ 782925 w 4954502"/>
              <a:gd name="connsiteY38" fmla="*/ 4015741 h 4027212"/>
              <a:gd name="connsiteX39" fmla="*/ 714723 w 4954502"/>
              <a:gd name="connsiteY39" fmla="*/ 3972310 h 4027212"/>
              <a:gd name="connsiteX40" fmla="*/ 630971 w 4954502"/>
              <a:gd name="connsiteY40" fmla="*/ 3978735 h 4027212"/>
              <a:gd name="connsiteX41" fmla="*/ 555697 w 4954502"/>
              <a:gd name="connsiteY41" fmla="*/ 3948456 h 4027212"/>
              <a:gd name="connsiteX42" fmla="*/ 487906 w 4954502"/>
              <a:gd name="connsiteY42" fmla="*/ 3888741 h 4027212"/>
              <a:gd name="connsiteX43" fmla="*/ 405621 w 4954502"/>
              <a:gd name="connsiteY43" fmla="*/ 3978735 h 4027212"/>
              <a:gd name="connsiteX44" fmla="*/ 270892 w 4954502"/>
              <a:gd name="connsiteY44" fmla="*/ 4015740 h 4027212"/>
              <a:gd name="connsiteX45" fmla="*/ 158604 w 4954502"/>
              <a:gd name="connsiteY45" fmla="*/ 3991736 h 4027212"/>
              <a:gd name="connsiteX46" fmla="*/ 63540 w 4954502"/>
              <a:gd name="connsiteY46" fmla="*/ 4015035 h 4027212"/>
              <a:gd name="connsiteX47" fmla="*/ 1367 w 4954502"/>
              <a:gd name="connsiteY47" fmla="*/ 3884371 h 4027212"/>
              <a:gd name="connsiteX48" fmla="*/ 0 w 4954502"/>
              <a:gd name="connsiteY48" fmla="*/ 1397544 h 4027212"/>
              <a:gd name="connsiteX0" fmla="*/ 0 w 4954502"/>
              <a:gd name="connsiteY0" fmla="*/ 0 h 2629668"/>
              <a:gd name="connsiteX1" fmla="*/ 4953756 w 4954502"/>
              <a:gd name="connsiteY1" fmla="*/ 17840 h 2629668"/>
              <a:gd name="connsiteX2" fmla="*/ 4953757 w 4954502"/>
              <a:gd name="connsiteY2" fmla="*/ 2486827 h 2629668"/>
              <a:gd name="connsiteX3" fmla="*/ 4894686 w 4954502"/>
              <a:gd name="connsiteY3" fmla="*/ 2586356 h 2629668"/>
              <a:gd name="connsiteX4" fmla="*/ 4762840 w 4954502"/>
              <a:gd name="connsiteY4" fmla="*/ 2616782 h 2629668"/>
              <a:gd name="connsiteX5" fmla="*/ 4570324 w 4954502"/>
              <a:gd name="connsiteY5" fmla="*/ 2528604 h 2629668"/>
              <a:gd name="connsiteX6" fmla="*/ 4400379 w 4954502"/>
              <a:gd name="connsiteY6" fmla="*/ 2578682 h 2629668"/>
              <a:gd name="connsiteX7" fmla="*/ 4210180 w 4954502"/>
              <a:gd name="connsiteY7" fmla="*/ 2549760 h 2629668"/>
              <a:gd name="connsiteX8" fmla="*/ 3997710 w 4954502"/>
              <a:gd name="connsiteY8" fmla="*/ 2533630 h 2629668"/>
              <a:gd name="connsiteX9" fmla="*/ 3837872 w 4954502"/>
              <a:gd name="connsiteY9" fmla="*/ 2416512 h 2629668"/>
              <a:gd name="connsiteX10" fmla="*/ 3690527 w 4954502"/>
              <a:gd name="connsiteY10" fmla="*/ 2451181 h 2629668"/>
              <a:gd name="connsiteX11" fmla="*/ 3576925 w 4954502"/>
              <a:gd name="connsiteY11" fmla="*/ 2530109 h 2629668"/>
              <a:gd name="connsiteX12" fmla="*/ 3513219 w 4954502"/>
              <a:gd name="connsiteY12" fmla="*/ 2470591 h 2629668"/>
              <a:gd name="connsiteX13" fmla="*/ 3365504 w 4954502"/>
              <a:gd name="connsiteY13" fmla="*/ 2529187 h 2629668"/>
              <a:gd name="connsiteX14" fmla="*/ 3263594 w 4954502"/>
              <a:gd name="connsiteY14" fmla="*/ 2515926 h 2629668"/>
              <a:gd name="connsiteX15" fmla="*/ 3162160 w 4954502"/>
              <a:gd name="connsiteY15" fmla="*/ 2526076 h 2629668"/>
              <a:gd name="connsiteX16" fmla="*/ 3071332 w 4954502"/>
              <a:gd name="connsiteY16" fmla="*/ 2444640 h 2629668"/>
              <a:gd name="connsiteX17" fmla="*/ 2972050 w 4954502"/>
              <a:gd name="connsiteY17" fmla="*/ 2463088 h 2629668"/>
              <a:gd name="connsiteX18" fmla="*/ 2836798 w 4954502"/>
              <a:gd name="connsiteY18" fmla="*/ 2338506 h 2629668"/>
              <a:gd name="connsiteX19" fmla="*/ 2747872 w 4954502"/>
              <a:gd name="connsiteY19" fmla="*/ 2373280 h 2629668"/>
              <a:gd name="connsiteX20" fmla="*/ 2711098 w 4954502"/>
              <a:gd name="connsiteY20" fmla="*/ 2428208 h 2629668"/>
              <a:gd name="connsiteX21" fmla="*/ 2641785 w 4954502"/>
              <a:gd name="connsiteY21" fmla="*/ 2477182 h 2629668"/>
              <a:gd name="connsiteX22" fmla="*/ 2530981 w 4954502"/>
              <a:gd name="connsiteY22" fmla="*/ 2525776 h 2629668"/>
              <a:gd name="connsiteX23" fmla="*/ 2386134 w 4954502"/>
              <a:gd name="connsiteY23" fmla="*/ 2492611 h 2629668"/>
              <a:gd name="connsiteX24" fmla="*/ 2301959 w 4954502"/>
              <a:gd name="connsiteY24" fmla="*/ 2523458 h 2629668"/>
              <a:gd name="connsiteX25" fmla="*/ 2100078 w 4954502"/>
              <a:gd name="connsiteY25" fmla="*/ 2455515 h 2629668"/>
              <a:gd name="connsiteX26" fmla="*/ 1943952 w 4954502"/>
              <a:gd name="connsiteY26" fmla="*/ 2473561 h 2629668"/>
              <a:gd name="connsiteX27" fmla="*/ 1876811 w 4954502"/>
              <a:gd name="connsiteY27" fmla="*/ 2517409 h 2629668"/>
              <a:gd name="connsiteX28" fmla="*/ 1692715 w 4954502"/>
              <a:gd name="connsiteY28" fmla="*/ 2516186 h 2629668"/>
              <a:gd name="connsiteX29" fmla="*/ 1588708 w 4954502"/>
              <a:gd name="connsiteY29" fmla="*/ 2438181 h 2629668"/>
              <a:gd name="connsiteX30" fmla="*/ 1463067 w 4954502"/>
              <a:gd name="connsiteY30" fmla="*/ 2529597 h 2629668"/>
              <a:gd name="connsiteX31" fmla="*/ 1356996 w 4954502"/>
              <a:gd name="connsiteY31" fmla="*/ 2622222 h 2629668"/>
              <a:gd name="connsiteX32" fmla="*/ 1276201 w 4954502"/>
              <a:gd name="connsiteY32" fmla="*/ 2626200 h 2629668"/>
              <a:gd name="connsiteX33" fmla="*/ 1242015 w 4954502"/>
              <a:gd name="connsiteY33" fmla="*/ 2568190 h 2629668"/>
              <a:gd name="connsiteX34" fmla="*/ 1133674 w 4954502"/>
              <a:gd name="connsiteY34" fmla="*/ 2568189 h 2629668"/>
              <a:gd name="connsiteX35" fmla="*/ 1055463 w 4954502"/>
              <a:gd name="connsiteY35" fmla="*/ 2531313 h 2629668"/>
              <a:gd name="connsiteX36" fmla="*/ 960328 w 4954502"/>
              <a:gd name="connsiteY36" fmla="*/ 2572524 h 2629668"/>
              <a:gd name="connsiteX37" fmla="*/ 841944 w 4954502"/>
              <a:gd name="connsiteY37" fmla="*/ 2574765 h 2629668"/>
              <a:gd name="connsiteX38" fmla="*/ 782925 w 4954502"/>
              <a:gd name="connsiteY38" fmla="*/ 2618197 h 2629668"/>
              <a:gd name="connsiteX39" fmla="*/ 714723 w 4954502"/>
              <a:gd name="connsiteY39" fmla="*/ 2574766 h 2629668"/>
              <a:gd name="connsiteX40" fmla="*/ 630971 w 4954502"/>
              <a:gd name="connsiteY40" fmla="*/ 2581191 h 2629668"/>
              <a:gd name="connsiteX41" fmla="*/ 555697 w 4954502"/>
              <a:gd name="connsiteY41" fmla="*/ 2550912 h 2629668"/>
              <a:gd name="connsiteX42" fmla="*/ 487906 w 4954502"/>
              <a:gd name="connsiteY42" fmla="*/ 2491197 h 2629668"/>
              <a:gd name="connsiteX43" fmla="*/ 405621 w 4954502"/>
              <a:gd name="connsiteY43" fmla="*/ 2581191 h 2629668"/>
              <a:gd name="connsiteX44" fmla="*/ 270892 w 4954502"/>
              <a:gd name="connsiteY44" fmla="*/ 2618196 h 2629668"/>
              <a:gd name="connsiteX45" fmla="*/ 158604 w 4954502"/>
              <a:gd name="connsiteY45" fmla="*/ 2594192 h 2629668"/>
              <a:gd name="connsiteX46" fmla="*/ 63540 w 4954502"/>
              <a:gd name="connsiteY46" fmla="*/ 2617491 h 2629668"/>
              <a:gd name="connsiteX47" fmla="*/ 1367 w 4954502"/>
              <a:gd name="connsiteY47" fmla="*/ 2486827 h 2629668"/>
              <a:gd name="connsiteX48" fmla="*/ 0 w 4954502"/>
              <a:gd name="connsiteY48" fmla="*/ 0 h 2629668"/>
              <a:gd name="connsiteX0" fmla="*/ 160821 w 4953355"/>
              <a:gd name="connsiteY0" fmla="*/ 367534 h 2611828"/>
              <a:gd name="connsiteX1" fmla="*/ 4952609 w 4953355"/>
              <a:gd name="connsiteY1" fmla="*/ 0 h 2611828"/>
              <a:gd name="connsiteX2" fmla="*/ 4952610 w 4953355"/>
              <a:gd name="connsiteY2" fmla="*/ 2468987 h 2611828"/>
              <a:gd name="connsiteX3" fmla="*/ 4893539 w 4953355"/>
              <a:gd name="connsiteY3" fmla="*/ 2568516 h 2611828"/>
              <a:gd name="connsiteX4" fmla="*/ 4761693 w 4953355"/>
              <a:gd name="connsiteY4" fmla="*/ 2598942 h 2611828"/>
              <a:gd name="connsiteX5" fmla="*/ 4569177 w 4953355"/>
              <a:gd name="connsiteY5" fmla="*/ 2510764 h 2611828"/>
              <a:gd name="connsiteX6" fmla="*/ 4399232 w 4953355"/>
              <a:gd name="connsiteY6" fmla="*/ 2560842 h 2611828"/>
              <a:gd name="connsiteX7" fmla="*/ 4209033 w 4953355"/>
              <a:gd name="connsiteY7" fmla="*/ 2531920 h 2611828"/>
              <a:gd name="connsiteX8" fmla="*/ 3996563 w 4953355"/>
              <a:gd name="connsiteY8" fmla="*/ 2515790 h 2611828"/>
              <a:gd name="connsiteX9" fmla="*/ 3836725 w 4953355"/>
              <a:gd name="connsiteY9" fmla="*/ 2398672 h 2611828"/>
              <a:gd name="connsiteX10" fmla="*/ 3689380 w 4953355"/>
              <a:gd name="connsiteY10" fmla="*/ 2433341 h 2611828"/>
              <a:gd name="connsiteX11" fmla="*/ 3575778 w 4953355"/>
              <a:gd name="connsiteY11" fmla="*/ 2512269 h 2611828"/>
              <a:gd name="connsiteX12" fmla="*/ 3512072 w 4953355"/>
              <a:gd name="connsiteY12" fmla="*/ 2452751 h 2611828"/>
              <a:gd name="connsiteX13" fmla="*/ 3364357 w 4953355"/>
              <a:gd name="connsiteY13" fmla="*/ 2511347 h 2611828"/>
              <a:gd name="connsiteX14" fmla="*/ 3262447 w 4953355"/>
              <a:gd name="connsiteY14" fmla="*/ 2498086 h 2611828"/>
              <a:gd name="connsiteX15" fmla="*/ 3161013 w 4953355"/>
              <a:gd name="connsiteY15" fmla="*/ 2508236 h 2611828"/>
              <a:gd name="connsiteX16" fmla="*/ 3070185 w 4953355"/>
              <a:gd name="connsiteY16" fmla="*/ 2426800 h 2611828"/>
              <a:gd name="connsiteX17" fmla="*/ 2970903 w 4953355"/>
              <a:gd name="connsiteY17" fmla="*/ 2445248 h 2611828"/>
              <a:gd name="connsiteX18" fmla="*/ 2835651 w 4953355"/>
              <a:gd name="connsiteY18" fmla="*/ 2320666 h 2611828"/>
              <a:gd name="connsiteX19" fmla="*/ 2746725 w 4953355"/>
              <a:gd name="connsiteY19" fmla="*/ 2355440 h 2611828"/>
              <a:gd name="connsiteX20" fmla="*/ 2709951 w 4953355"/>
              <a:gd name="connsiteY20" fmla="*/ 2410368 h 2611828"/>
              <a:gd name="connsiteX21" fmla="*/ 2640638 w 4953355"/>
              <a:gd name="connsiteY21" fmla="*/ 2459342 h 2611828"/>
              <a:gd name="connsiteX22" fmla="*/ 2529834 w 4953355"/>
              <a:gd name="connsiteY22" fmla="*/ 2507936 h 2611828"/>
              <a:gd name="connsiteX23" fmla="*/ 2384987 w 4953355"/>
              <a:gd name="connsiteY23" fmla="*/ 2474771 h 2611828"/>
              <a:gd name="connsiteX24" fmla="*/ 2300812 w 4953355"/>
              <a:gd name="connsiteY24" fmla="*/ 2505618 h 2611828"/>
              <a:gd name="connsiteX25" fmla="*/ 2098931 w 4953355"/>
              <a:gd name="connsiteY25" fmla="*/ 2437675 h 2611828"/>
              <a:gd name="connsiteX26" fmla="*/ 1942805 w 4953355"/>
              <a:gd name="connsiteY26" fmla="*/ 2455721 h 2611828"/>
              <a:gd name="connsiteX27" fmla="*/ 1875664 w 4953355"/>
              <a:gd name="connsiteY27" fmla="*/ 2499569 h 2611828"/>
              <a:gd name="connsiteX28" fmla="*/ 1691568 w 4953355"/>
              <a:gd name="connsiteY28" fmla="*/ 2498346 h 2611828"/>
              <a:gd name="connsiteX29" fmla="*/ 1587561 w 4953355"/>
              <a:gd name="connsiteY29" fmla="*/ 2420341 h 2611828"/>
              <a:gd name="connsiteX30" fmla="*/ 1461920 w 4953355"/>
              <a:gd name="connsiteY30" fmla="*/ 2511757 h 2611828"/>
              <a:gd name="connsiteX31" fmla="*/ 1355849 w 4953355"/>
              <a:gd name="connsiteY31" fmla="*/ 2604382 h 2611828"/>
              <a:gd name="connsiteX32" fmla="*/ 1275054 w 4953355"/>
              <a:gd name="connsiteY32" fmla="*/ 2608360 h 2611828"/>
              <a:gd name="connsiteX33" fmla="*/ 1240868 w 4953355"/>
              <a:gd name="connsiteY33" fmla="*/ 2550350 h 2611828"/>
              <a:gd name="connsiteX34" fmla="*/ 1132527 w 4953355"/>
              <a:gd name="connsiteY34" fmla="*/ 2550349 h 2611828"/>
              <a:gd name="connsiteX35" fmla="*/ 1054316 w 4953355"/>
              <a:gd name="connsiteY35" fmla="*/ 2513473 h 2611828"/>
              <a:gd name="connsiteX36" fmla="*/ 959181 w 4953355"/>
              <a:gd name="connsiteY36" fmla="*/ 2554684 h 2611828"/>
              <a:gd name="connsiteX37" fmla="*/ 840797 w 4953355"/>
              <a:gd name="connsiteY37" fmla="*/ 2556925 h 2611828"/>
              <a:gd name="connsiteX38" fmla="*/ 781778 w 4953355"/>
              <a:gd name="connsiteY38" fmla="*/ 2600357 h 2611828"/>
              <a:gd name="connsiteX39" fmla="*/ 713576 w 4953355"/>
              <a:gd name="connsiteY39" fmla="*/ 2556926 h 2611828"/>
              <a:gd name="connsiteX40" fmla="*/ 629824 w 4953355"/>
              <a:gd name="connsiteY40" fmla="*/ 2563351 h 2611828"/>
              <a:gd name="connsiteX41" fmla="*/ 554550 w 4953355"/>
              <a:gd name="connsiteY41" fmla="*/ 2533072 h 2611828"/>
              <a:gd name="connsiteX42" fmla="*/ 486759 w 4953355"/>
              <a:gd name="connsiteY42" fmla="*/ 2473357 h 2611828"/>
              <a:gd name="connsiteX43" fmla="*/ 404474 w 4953355"/>
              <a:gd name="connsiteY43" fmla="*/ 2563351 h 2611828"/>
              <a:gd name="connsiteX44" fmla="*/ 269745 w 4953355"/>
              <a:gd name="connsiteY44" fmla="*/ 2600356 h 2611828"/>
              <a:gd name="connsiteX45" fmla="*/ 157457 w 4953355"/>
              <a:gd name="connsiteY45" fmla="*/ 2576352 h 2611828"/>
              <a:gd name="connsiteX46" fmla="*/ 62393 w 4953355"/>
              <a:gd name="connsiteY46" fmla="*/ 2599651 h 2611828"/>
              <a:gd name="connsiteX47" fmla="*/ 220 w 4953355"/>
              <a:gd name="connsiteY47" fmla="*/ 2468987 h 2611828"/>
              <a:gd name="connsiteX48" fmla="*/ 160821 w 4953355"/>
              <a:gd name="connsiteY48" fmla="*/ 367534 h 2611828"/>
              <a:gd name="connsiteX0" fmla="*/ 0 w 4965673"/>
              <a:gd name="connsiteY0" fmla="*/ 0 h 2618498"/>
              <a:gd name="connsiteX1" fmla="*/ 4964927 w 4965673"/>
              <a:gd name="connsiteY1" fmla="*/ 6670 h 2618498"/>
              <a:gd name="connsiteX2" fmla="*/ 4964928 w 4965673"/>
              <a:gd name="connsiteY2" fmla="*/ 2475657 h 2618498"/>
              <a:gd name="connsiteX3" fmla="*/ 4905857 w 4965673"/>
              <a:gd name="connsiteY3" fmla="*/ 2575186 h 2618498"/>
              <a:gd name="connsiteX4" fmla="*/ 4774011 w 4965673"/>
              <a:gd name="connsiteY4" fmla="*/ 2605612 h 2618498"/>
              <a:gd name="connsiteX5" fmla="*/ 4581495 w 4965673"/>
              <a:gd name="connsiteY5" fmla="*/ 2517434 h 2618498"/>
              <a:gd name="connsiteX6" fmla="*/ 4411550 w 4965673"/>
              <a:gd name="connsiteY6" fmla="*/ 2567512 h 2618498"/>
              <a:gd name="connsiteX7" fmla="*/ 4221351 w 4965673"/>
              <a:gd name="connsiteY7" fmla="*/ 2538590 h 2618498"/>
              <a:gd name="connsiteX8" fmla="*/ 4008881 w 4965673"/>
              <a:gd name="connsiteY8" fmla="*/ 2522460 h 2618498"/>
              <a:gd name="connsiteX9" fmla="*/ 3849043 w 4965673"/>
              <a:gd name="connsiteY9" fmla="*/ 2405342 h 2618498"/>
              <a:gd name="connsiteX10" fmla="*/ 3701698 w 4965673"/>
              <a:gd name="connsiteY10" fmla="*/ 2440011 h 2618498"/>
              <a:gd name="connsiteX11" fmla="*/ 3588096 w 4965673"/>
              <a:gd name="connsiteY11" fmla="*/ 2518939 h 2618498"/>
              <a:gd name="connsiteX12" fmla="*/ 3524390 w 4965673"/>
              <a:gd name="connsiteY12" fmla="*/ 2459421 h 2618498"/>
              <a:gd name="connsiteX13" fmla="*/ 3376675 w 4965673"/>
              <a:gd name="connsiteY13" fmla="*/ 2518017 h 2618498"/>
              <a:gd name="connsiteX14" fmla="*/ 3274765 w 4965673"/>
              <a:gd name="connsiteY14" fmla="*/ 2504756 h 2618498"/>
              <a:gd name="connsiteX15" fmla="*/ 3173331 w 4965673"/>
              <a:gd name="connsiteY15" fmla="*/ 2514906 h 2618498"/>
              <a:gd name="connsiteX16" fmla="*/ 3082503 w 4965673"/>
              <a:gd name="connsiteY16" fmla="*/ 2433470 h 2618498"/>
              <a:gd name="connsiteX17" fmla="*/ 2983221 w 4965673"/>
              <a:gd name="connsiteY17" fmla="*/ 2451918 h 2618498"/>
              <a:gd name="connsiteX18" fmla="*/ 2847969 w 4965673"/>
              <a:gd name="connsiteY18" fmla="*/ 2327336 h 2618498"/>
              <a:gd name="connsiteX19" fmla="*/ 2759043 w 4965673"/>
              <a:gd name="connsiteY19" fmla="*/ 2362110 h 2618498"/>
              <a:gd name="connsiteX20" fmla="*/ 2722269 w 4965673"/>
              <a:gd name="connsiteY20" fmla="*/ 2417038 h 2618498"/>
              <a:gd name="connsiteX21" fmla="*/ 2652956 w 4965673"/>
              <a:gd name="connsiteY21" fmla="*/ 2466012 h 2618498"/>
              <a:gd name="connsiteX22" fmla="*/ 2542152 w 4965673"/>
              <a:gd name="connsiteY22" fmla="*/ 2514606 h 2618498"/>
              <a:gd name="connsiteX23" fmla="*/ 2397305 w 4965673"/>
              <a:gd name="connsiteY23" fmla="*/ 2481441 h 2618498"/>
              <a:gd name="connsiteX24" fmla="*/ 2313130 w 4965673"/>
              <a:gd name="connsiteY24" fmla="*/ 2512288 h 2618498"/>
              <a:gd name="connsiteX25" fmla="*/ 2111249 w 4965673"/>
              <a:gd name="connsiteY25" fmla="*/ 2444345 h 2618498"/>
              <a:gd name="connsiteX26" fmla="*/ 1955123 w 4965673"/>
              <a:gd name="connsiteY26" fmla="*/ 2462391 h 2618498"/>
              <a:gd name="connsiteX27" fmla="*/ 1887982 w 4965673"/>
              <a:gd name="connsiteY27" fmla="*/ 2506239 h 2618498"/>
              <a:gd name="connsiteX28" fmla="*/ 1703886 w 4965673"/>
              <a:gd name="connsiteY28" fmla="*/ 2505016 h 2618498"/>
              <a:gd name="connsiteX29" fmla="*/ 1599879 w 4965673"/>
              <a:gd name="connsiteY29" fmla="*/ 2427011 h 2618498"/>
              <a:gd name="connsiteX30" fmla="*/ 1474238 w 4965673"/>
              <a:gd name="connsiteY30" fmla="*/ 2518427 h 2618498"/>
              <a:gd name="connsiteX31" fmla="*/ 1368167 w 4965673"/>
              <a:gd name="connsiteY31" fmla="*/ 2611052 h 2618498"/>
              <a:gd name="connsiteX32" fmla="*/ 1287372 w 4965673"/>
              <a:gd name="connsiteY32" fmla="*/ 2615030 h 2618498"/>
              <a:gd name="connsiteX33" fmla="*/ 1253186 w 4965673"/>
              <a:gd name="connsiteY33" fmla="*/ 2557020 h 2618498"/>
              <a:gd name="connsiteX34" fmla="*/ 1144845 w 4965673"/>
              <a:gd name="connsiteY34" fmla="*/ 2557019 h 2618498"/>
              <a:gd name="connsiteX35" fmla="*/ 1066634 w 4965673"/>
              <a:gd name="connsiteY35" fmla="*/ 2520143 h 2618498"/>
              <a:gd name="connsiteX36" fmla="*/ 971499 w 4965673"/>
              <a:gd name="connsiteY36" fmla="*/ 2561354 h 2618498"/>
              <a:gd name="connsiteX37" fmla="*/ 853115 w 4965673"/>
              <a:gd name="connsiteY37" fmla="*/ 2563595 h 2618498"/>
              <a:gd name="connsiteX38" fmla="*/ 794096 w 4965673"/>
              <a:gd name="connsiteY38" fmla="*/ 2607027 h 2618498"/>
              <a:gd name="connsiteX39" fmla="*/ 725894 w 4965673"/>
              <a:gd name="connsiteY39" fmla="*/ 2563596 h 2618498"/>
              <a:gd name="connsiteX40" fmla="*/ 642142 w 4965673"/>
              <a:gd name="connsiteY40" fmla="*/ 2570021 h 2618498"/>
              <a:gd name="connsiteX41" fmla="*/ 566868 w 4965673"/>
              <a:gd name="connsiteY41" fmla="*/ 2539742 h 2618498"/>
              <a:gd name="connsiteX42" fmla="*/ 499077 w 4965673"/>
              <a:gd name="connsiteY42" fmla="*/ 2480027 h 2618498"/>
              <a:gd name="connsiteX43" fmla="*/ 416792 w 4965673"/>
              <a:gd name="connsiteY43" fmla="*/ 2570021 h 2618498"/>
              <a:gd name="connsiteX44" fmla="*/ 282063 w 4965673"/>
              <a:gd name="connsiteY44" fmla="*/ 2607026 h 2618498"/>
              <a:gd name="connsiteX45" fmla="*/ 169775 w 4965673"/>
              <a:gd name="connsiteY45" fmla="*/ 2583022 h 2618498"/>
              <a:gd name="connsiteX46" fmla="*/ 74711 w 4965673"/>
              <a:gd name="connsiteY46" fmla="*/ 2606321 h 2618498"/>
              <a:gd name="connsiteX47" fmla="*/ 12538 w 4965673"/>
              <a:gd name="connsiteY47" fmla="*/ 2475657 h 2618498"/>
              <a:gd name="connsiteX48" fmla="*/ 0 w 4965673"/>
              <a:gd name="connsiteY48" fmla="*/ 0 h 2618498"/>
              <a:gd name="connsiteX0" fmla="*/ 480 w 4966153"/>
              <a:gd name="connsiteY0" fmla="*/ 0 h 2618498"/>
              <a:gd name="connsiteX1" fmla="*/ 4965407 w 4966153"/>
              <a:gd name="connsiteY1" fmla="*/ 6670 h 2618498"/>
              <a:gd name="connsiteX2" fmla="*/ 4965408 w 4966153"/>
              <a:gd name="connsiteY2" fmla="*/ 2475657 h 2618498"/>
              <a:gd name="connsiteX3" fmla="*/ 4906337 w 4966153"/>
              <a:gd name="connsiteY3" fmla="*/ 2575186 h 2618498"/>
              <a:gd name="connsiteX4" fmla="*/ 4774491 w 4966153"/>
              <a:gd name="connsiteY4" fmla="*/ 2605612 h 2618498"/>
              <a:gd name="connsiteX5" fmla="*/ 4581975 w 4966153"/>
              <a:gd name="connsiteY5" fmla="*/ 2517434 h 2618498"/>
              <a:gd name="connsiteX6" fmla="*/ 4412030 w 4966153"/>
              <a:gd name="connsiteY6" fmla="*/ 2567512 h 2618498"/>
              <a:gd name="connsiteX7" fmla="*/ 4221831 w 4966153"/>
              <a:gd name="connsiteY7" fmla="*/ 2538590 h 2618498"/>
              <a:gd name="connsiteX8" fmla="*/ 4009361 w 4966153"/>
              <a:gd name="connsiteY8" fmla="*/ 2522460 h 2618498"/>
              <a:gd name="connsiteX9" fmla="*/ 3849523 w 4966153"/>
              <a:gd name="connsiteY9" fmla="*/ 2405342 h 2618498"/>
              <a:gd name="connsiteX10" fmla="*/ 3702178 w 4966153"/>
              <a:gd name="connsiteY10" fmla="*/ 2440011 h 2618498"/>
              <a:gd name="connsiteX11" fmla="*/ 3588576 w 4966153"/>
              <a:gd name="connsiteY11" fmla="*/ 2518939 h 2618498"/>
              <a:gd name="connsiteX12" fmla="*/ 3524870 w 4966153"/>
              <a:gd name="connsiteY12" fmla="*/ 2459421 h 2618498"/>
              <a:gd name="connsiteX13" fmla="*/ 3377155 w 4966153"/>
              <a:gd name="connsiteY13" fmla="*/ 2518017 h 2618498"/>
              <a:gd name="connsiteX14" fmla="*/ 3275245 w 4966153"/>
              <a:gd name="connsiteY14" fmla="*/ 2504756 h 2618498"/>
              <a:gd name="connsiteX15" fmla="*/ 3173811 w 4966153"/>
              <a:gd name="connsiteY15" fmla="*/ 2514906 h 2618498"/>
              <a:gd name="connsiteX16" fmla="*/ 3082983 w 4966153"/>
              <a:gd name="connsiteY16" fmla="*/ 2433470 h 2618498"/>
              <a:gd name="connsiteX17" fmla="*/ 2983701 w 4966153"/>
              <a:gd name="connsiteY17" fmla="*/ 2451918 h 2618498"/>
              <a:gd name="connsiteX18" fmla="*/ 2848449 w 4966153"/>
              <a:gd name="connsiteY18" fmla="*/ 2327336 h 2618498"/>
              <a:gd name="connsiteX19" fmla="*/ 2759523 w 4966153"/>
              <a:gd name="connsiteY19" fmla="*/ 2362110 h 2618498"/>
              <a:gd name="connsiteX20" fmla="*/ 2722749 w 4966153"/>
              <a:gd name="connsiteY20" fmla="*/ 2417038 h 2618498"/>
              <a:gd name="connsiteX21" fmla="*/ 2653436 w 4966153"/>
              <a:gd name="connsiteY21" fmla="*/ 2466012 h 2618498"/>
              <a:gd name="connsiteX22" fmla="*/ 2542632 w 4966153"/>
              <a:gd name="connsiteY22" fmla="*/ 2514606 h 2618498"/>
              <a:gd name="connsiteX23" fmla="*/ 2397785 w 4966153"/>
              <a:gd name="connsiteY23" fmla="*/ 2481441 h 2618498"/>
              <a:gd name="connsiteX24" fmla="*/ 2313610 w 4966153"/>
              <a:gd name="connsiteY24" fmla="*/ 2512288 h 2618498"/>
              <a:gd name="connsiteX25" fmla="*/ 2111729 w 4966153"/>
              <a:gd name="connsiteY25" fmla="*/ 2444345 h 2618498"/>
              <a:gd name="connsiteX26" fmla="*/ 1955603 w 4966153"/>
              <a:gd name="connsiteY26" fmla="*/ 2462391 h 2618498"/>
              <a:gd name="connsiteX27" fmla="*/ 1888462 w 4966153"/>
              <a:gd name="connsiteY27" fmla="*/ 2506239 h 2618498"/>
              <a:gd name="connsiteX28" fmla="*/ 1704366 w 4966153"/>
              <a:gd name="connsiteY28" fmla="*/ 2505016 h 2618498"/>
              <a:gd name="connsiteX29" fmla="*/ 1600359 w 4966153"/>
              <a:gd name="connsiteY29" fmla="*/ 2427011 h 2618498"/>
              <a:gd name="connsiteX30" fmla="*/ 1474718 w 4966153"/>
              <a:gd name="connsiteY30" fmla="*/ 2518427 h 2618498"/>
              <a:gd name="connsiteX31" fmla="*/ 1368647 w 4966153"/>
              <a:gd name="connsiteY31" fmla="*/ 2611052 h 2618498"/>
              <a:gd name="connsiteX32" fmla="*/ 1287852 w 4966153"/>
              <a:gd name="connsiteY32" fmla="*/ 2615030 h 2618498"/>
              <a:gd name="connsiteX33" fmla="*/ 1253666 w 4966153"/>
              <a:gd name="connsiteY33" fmla="*/ 2557020 h 2618498"/>
              <a:gd name="connsiteX34" fmla="*/ 1145325 w 4966153"/>
              <a:gd name="connsiteY34" fmla="*/ 2557019 h 2618498"/>
              <a:gd name="connsiteX35" fmla="*/ 1067114 w 4966153"/>
              <a:gd name="connsiteY35" fmla="*/ 2520143 h 2618498"/>
              <a:gd name="connsiteX36" fmla="*/ 971979 w 4966153"/>
              <a:gd name="connsiteY36" fmla="*/ 2561354 h 2618498"/>
              <a:gd name="connsiteX37" fmla="*/ 853595 w 4966153"/>
              <a:gd name="connsiteY37" fmla="*/ 2563595 h 2618498"/>
              <a:gd name="connsiteX38" fmla="*/ 794576 w 4966153"/>
              <a:gd name="connsiteY38" fmla="*/ 2607027 h 2618498"/>
              <a:gd name="connsiteX39" fmla="*/ 726374 w 4966153"/>
              <a:gd name="connsiteY39" fmla="*/ 2563596 h 2618498"/>
              <a:gd name="connsiteX40" fmla="*/ 642622 w 4966153"/>
              <a:gd name="connsiteY40" fmla="*/ 2570021 h 2618498"/>
              <a:gd name="connsiteX41" fmla="*/ 567348 w 4966153"/>
              <a:gd name="connsiteY41" fmla="*/ 2539742 h 2618498"/>
              <a:gd name="connsiteX42" fmla="*/ 499557 w 4966153"/>
              <a:gd name="connsiteY42" fmla="*/ 2480027 h 2618498"/>
              <a:gd name="connsiteX43" fmla="*/ 417272 w 4966153"/>
              <a:gd name="connsiteY43" fmla="*/ 2570021 h 2618498"/>
              <a:gd name="connsiteX44" fmla="*/ 282543 w 4966153"/>
              <a:gd name="connsiteY44" fmla="*/ 2607026 h 2618498"/>
              <a:gd name="connsiteX45" fmla="*/ 170255 w 4966153"/>
              <a:gd name="connsiteY45" fmla="*/ 2583022 h 2618498"/>
              <a:gd name="connsiteX46" fmla="*/ 75191 w 4966153"/>
              <a:gd name="connsiteY46" fmla="*/ 2606321 h 2618498"/>
              <a:gd name="connsiteX47" fmla="*/ 13018 w 4966153"/>
              <a:gd name="connsiteY47" fmla="*/ 2475657 h 2618498"/>
              <a:gd name="connsiteX48" fmla="*/ 480 w 4966153"/>
              <a:gd name="connsiteY48" fmla="*/ 0 h 2618498"/>
              <a:gd name="connsiteX0" fmla="*/ 323200 w 5288873"/>
              <a:gd name="connsiteY0" fmla="*/ 80689 h 2699187"/>
              <a:gd name="connsiteX1" fmla="*/ 4735198 w 5288873"/>
              <a:gd name="connsiteY1" fmla="*/ 556511 h 2699187"/>
              <a:gd name="connsiteX2" fmla="*/ 5288128 w 5288873"/>
              <a:gd name="connsiteY2" fmla="*/ 2556346 h 2699187"/>
              <a:gd name="connsiteX3" fmla="*/ 5229057 w 5288873"/>
              <a:gd name="connsiteY3" fmla="*/ 2655875 h 2699187"/>
              <a:gd name="connsiteX4" fmla="*/ 5097211 w 5288873"/>
              <a:gd name="connsiteY4" fmla="*/ 2686301 h 2699187"/>
              <a:gd name="connsiteX5" fmla="*/ 4904695 w 5288873"/>
              <a:gd name="connsiteY5" fmla="*/ 2598123 h 2699187"/>
              <a:gd name="connsiteX6" fmla="*/ 4734750 w 5288873"/>
              <a:gd name="connsiteY6" fmla="*/ 2648201 h 2699187"/>
              <a:gd name="connsiteX7" fmla="*/ 4544551 w 5288873"/>
              <a:gd name="connsiteY7" fmla="*/ 2619279 h 2699187"/>
              <a:gd name="connsiteX8" fmla="*/ 4332081 w 5288873"/>
              <a:gd name="connsiteY8" fmla="*/ 2603149 h 2699187"/>
              <a:gd name="connsiteX9" fmla="*/ 4172243 w 5288873"/>
              <a:gd name="connsiteY9" fmla="*/ 2486031 h 2699187"/>
              <a:gd name="connsiteX10" fmla="*/ 4024898 w 5288873"/>
              <a:gd name="connsiteY10" fmla="*/ 2520700 h 2699187"/>
              <a:gd name="connsiteX11" fmla="*/ 3911296 w 5288873"/>
              <a:gd name="connsiteY11" fmla="*/ 2599628 h 2699187"/>
              <a:gd name="connsiteX12" fmla="*/ 3847590 w 5288873"/>
              <a:gd name="connsiteY12" fmla="*/ 2540110 h 2699187"/>
              <a:gd name="connsiteX13" fmla="*/ 3699875 w 5288873"/>
              <a:gd name="connsiteY13" fmla="*/ 2598706 h 2699187"/>
              <a:gd name="connsiteX14" fmla="*/ 3597965 w 5288873"/>
              <a:gd name="connsiteY14" fmla="*/ 2585445 h 2699187"/>
              <a:gd name="connsiteX15" fmla="*/ 3496531 w 5288873"/>
              <a:gd name="connsiteY15" fmla="*/ 2595595 h 2699187"/>
              <a:gd name="connsiteX16" fmla="*/ 3405703 w 5288873"/>
              <a:gd name="connsiteY16" fmla="*/ 2514159 h 2699187"/>
              <a:gd name="connsiteX17" fmla="*/ 3306421 w 5288873"/>
              <a:gd name="connsiteY17" fmla="*/ 2532607 h 2699187"/>
              <a:gd name="connsiteX18" fmla="*/ 3171169 w 5288873"/>
              <a:gd name="connsiteY18" fmla="*/ 2408025 h 2699187"/>
              <a:gd name="connsiteX19" fmla="*/ 3082243 w 5288873"/>
              <a:gd name="connsiteY19" fmla="*/ 2442799 h 2699187"/>
              <a:gd name="connsiteX20" fmla="*/ 3045469 w 5288873"/>
              <a:gd name="connsiteY20" fmla="*/ 2497727 h 2699187"/>
              <a:gd name="connsiteX21" fmla="*/ 2976156 w 5288873"/>
              <a:gd name="connsiteY21" fmla="*/ 2546701 h 2699187"/>
              <a:gd name="connsiteX22" fmla="*/ 2865352 w 5288873"/>
              <a:gd name="connsiteY22" fmla="*/ 2595295 h 2699187"/>
              <a:gd name="connsiteX23" fmla="*/ 2720505 w 5288873"/>
              <a:gd name="connsiteY23" fmla="*/ 2562130 h 2699187"/>
              <a:gd name="connsiteX24" fmla="*/ 2636330 w 5288873"/>
              <a:gd name="connsiteY24" fmla="*/ 2592977 h 2699187"/>
              <a:gd name="connsiteX25" fmla="*/ 2434449 w 5288873"/>
              <a:gd name="connsiteY25" fmla="*/ 2525034 h 2699187"/>
              <a:gd name="connsiteX26" fmla="*/ 2278323 w 5288873"/>
              <a:gd name="connsiteY26" fmla="*/ 2543080 h 2699187"/>
              <a:gd name="connsiteX27" fmla="*/ 2211182 w 5288873"/>
              <a:gd name="connsiteY27" fmla="*/ 2586928 h 2699187"/>
              <a:gd name="connsiteX28" fmla="*/ 2027086 w 5288873"/>
              <a:gd name="connsiteY28" fmla="*/ 2585705 h 2699187"/>
              <a:gd name="connsiteX29" fmla="*/ 1923079 w 5288873"/>
              <a:gd name="connsiteY29" fmla="*/ 2507700 h 2699187"/>
              <a:gd name="connsiteX30" fmla="*/ 1797438 w 5288873"/>
              <a:gd name="connsiteY30" fmla="*/ 2599116 h 2699187"/>
              <a:gd name="connsiteX31" fmla="*/ 1691367 w 5288873"/>
              <a:gd name="connsiteY31" fmla="*/ 2691741 h 2699187"/>
              <a:gd name="connsiteX32" fmla="*/ 1610572 w 5288873"/>
              <a:gd name="connsiteY32" fmla="*/ 2695719 h 2699187"/>
              <a:gd name="connsiteX33" fmla="*/ 1576386 w 5288873"/>
              <a:gd name="connsiteY33" fmla="*/ 2637709 h 2699187"/>
              <a:gd name="connsiteX34" fmla="*/ 1468045 w 5288873"/>
              <a:gd name="connsiteY34" fmla="*/ 2637708 h 2699187"/>
              <a:gd name="connsiteX35" fmla="*/ 1389834 w 5288873"/>
              <a:gd name="connsiteY35" fmla="*/ 2600832 h 2699187"/>
              <a:gd name="connsiteX36" fmla="*/ 1294699 w 5288873"/>
              <a:gd name="connsiteY36" fmla="*/ 2642043 h 2699187"/>
              <a:gd name="connsiteX37" fmla="*/ 1176315 w 5288873"/>
              <a:gd name="connsiteY37" fmla="*/ 2644284 h 2699187"/>
              <a:gd name="connsiteX38" fmla="*/ 1117296 w 5288873"/>
              <a:gd name="connsiteY38" fmla="*/ 2687716 h 2699187"/>
              <a:gd name="connsiteX39" fmla="*/ 1049094 w 5288873"/>
              <a:gd name="connsiteY39" fmla="*/ 2644285 h 2699187"/>
              <a:gd name="connsiteX40" fmla="*/ 965342 w 5288873"/>
              <a:gd name="connsiteY40" fmla="*/ 2650710 h 2699187"/>
              <a:gd name="connsiteX41" fmla="*/ 890068 w 5288873"/>
              <a:gd name="connsiteY41" fmla="*/ 2620431 h 2699187"/>
              <a:gd name="connsiteX42" fmla="*/ 822277 w 5288873"/>
              <a:gd name="connsiteY42" fmla="*/ 2560716 h 2699187"/>
              <a:gd name="connsiteX43" fmla="*/ 739992 w 5288873"/>
              <a:gd name="connsiteY43" fmla="*/ 2650710 h 2699187"/>
              <a:gd name="connsiteX44" fmla="*/ 605263 w 5288873"/>
              <a:gd name="connsiteY44" fmla="*/ 2687715 h 2699187"/>
              <a:gd name="connsiteX45" fmla="*/ 492975 w 5288873"/>
              <a:gd name="connsiteY45" fmla="*/ 2663711 h 2699187"/>
              <a:gd name="connsiteX46" fmla="*/ 397911 w 5288873"/>
              <a:gd name="connsiteY46" fmla="*/ 2687010 h 2699187"/>
              <a:gd name="connsiteX47" fmla="*/ 335738 w 5288873"/>
              <a:gd name="connsiteY47" fmla="*/ 2556346 h 2699187"/>
              <a:gd name="connsiteX48" fmla="*/ 323200 w 5288873"/>
              <a:gd name="connsiteY48" fmla="*/ 80689 h 2699187"/>
              <a:gd name="connsiteX0" fmla="*/ 364156 w 5329829"/>
              <a:gd name="connsiteY0" fmla="*/ 183515 h 2802013"/>
              <a:gd name="connsiteX1" fmla="*/ 5329083 w 5329829"/>
              <a:gd name="connsiteY1" fmla="*/ 184600 h 2802013"/>
              <a:gd name="connsiteX2" fmla="*/ 5329084 w 5329829"/>
              <a:gd name="connsiteY2" fmla="*/ 2659172 h 2802013"/>
              <a:gd name="connsiteX3" fmla="*/ 5270013 w 5329829"/>
              <a:gd name="connsiteY3" fmla="*/ 2758701 h 2802013"/>
              <a:gd name="connsiteX4" fmla="*/ 5138167 w 5329829"/>
              <a:gd name="connsiteY4" fmla="*/ 2789127 h 2802013"/>
              <a:gd name="connsiteX5" fmla="*/ 4945651 w 5329829"/>
              <a:gd name="connsiteY5" fmla="*/ 2700949 h 2802013"/>
              <a:gd name="connsiteX6" fmla="*/ 4775706 w 5329829"/>
              <a:gd name="connsiteY6" fmla="*/ 2751027 h 2802013"/>
              <a:gd name="connsiteX7" fmla="*/ 4585507 w 5329829"/>
              <a:gd name="connsiteY7" fmla="*/ 2722105 h 2802013"/>
              <a:gd name="connsiteX8" fmla="*/ 4373037 w 5329829"/>
              <a:gd name="connsiteY8" fmla="*/ 2705975 h 2802013"/>
              <a:gd name="connsiteX9" fmla="*/ 4213199 w 5329829"/>
              <a:gd name="connsiteY9" fmla="*/ 2588857 h 2802013"/>
              <a:gd name="connsiteX10" fmla="*/ 4065854 w 5329829"/>
              <a:gd name="connsiteY10" fmla="*/ 2623526 h 2802013"/>
              <a:gd name="connsiteX11" fmla="*/ 3952252 w 5329829"/>
              <a:gd name="connsiteY11" fmla="*/ 2702454 h 2802013"/>
              <a:gd name="connsiteX12" fmla="*/ 3888546 w 5329829"/>
              <a:gd name="connsiteY12" fmla="*/ 2642936 h 2802013"/>
              <a:gd name="connsiteX13" fmla="*/ 3740831 w 5329829"/>
              <a:gd name="connsiteY13" fmla="*/ 2701532 h 2802013"/>
              <a:gd name="connsiteX14" fmla="*/ 3638921 w 5329829"/>
              <a:gd name="connsiteY14" fmla="*/ 2688271 h 2802013"/>
              <a:gd name="connsiteX15" fmla="*/ 3537487 w 5329829"/>
              <a:gd name="connsiteY15" fmla="*/ 2698421 h 2802013"/>
              <a:gd name="connsiteX16" fmla="*/ 3446659 w 5329829"/>
              <a:gd name="connsiteY16" fmla="*/ 2616985 h 2802013"/>
              <a:gd name="connsiteX17" fmla="*/ 3347377 w 5329829"/>
              <a:gd name="connsiteY17" fmla="*/ 2635433 h 2802013"/>
              <a:gd name="connsiteX18" fmla="*/ 3212125 w 5329829"/>
              <a:gd name="connsiteY18" fmla="*/ 2510851 h 2802013"/>
              <a:gd name="connsiteX19" fmla="*/ 3123199 w 5329829"/>
              <a:gd name="connsiteY19" fmla="*/ 2545625 h 2802013"/>
              <a:gd name="connsiteX20" fmla="*/ 3086425 w 5329829"/>
              <a:gd name="connsiteY20" fmla="*/ 2600553 h 2802013"/>
              <a:gd name="connsiteX21" fmla="*/ 3017112 w 5329829"/>
              <a:gd name="connsiteY21" fmla="*/ 2649527 h 2802013"/>
              <a:gd name="connsiteX22" fmla="*/ 2906308 w 5329829"/>
              <a:gd name="connsiteY22" fmla="*/ 2698121 h 2802013"/>
              <a:gd name="connsiteX23" fmla="*/ 2761461 w 5329829"/>
              <a:gd name="connsiteY23" fmla="*/ 2664956 h 2802013"/>
              <a:gd name="connsiteX24" fmla="*/ 2677286 w 5329829"/>
              <a:gd name="connsiteY24" fmla="*/ 2695803 h 2802013"/>
              <a:gd name="connsiteX25" fmla="*/ 2475405 w 5329829"/>
              <a:gd name="connsiteY25" fmla="*/ 2627860 h 2802013"/>
              <a:gd name="connsiteX26" fmla="*/ 2319279 w 5329829"/>
              <a:gd name="connsiteY26" fmla="*/ 2645906 h 2802013"/>
              <a:gd name="connsiteX27" fmla="*/ 2252138 w 5329829"/>
              <a:gd name="connsiteY27" fmla="*/ 2689754 h 2802013"/>
              <a:gd name="connsiteX28" fmla="*/ 2068042 w 5329829"/>
              <a:gd name="connsiteY28" fmla="*/ 2688531 h 2802013"/>
              <a:gd name="connsiteX29" fmla="*/ 1964035 w 5329829"/>
              <a:gd name="connsiteY29" fmla="*/ 2610526 h 2802013"/>
              <a:gd name="connsiteX30" fmla="*/ 1838394 w 5329829"/>
              <a:gd name="connsiteY30" fmla="*/ 2701942 h 2802013"/>
              <a:gd name="connsiteX31" fmla="*/ 1732323 w 5329829"/>
              <a:gd name="connsiteY31" fmla="*/ 2794567 h 2802013"/>
              <a:gd name="connsiteX32" fmla="*/ 1651528 w 5329829"/>
              <a:gd name="connsiteY32" fmla="*/ 2798545 h 2802013"/>
              <a:gd name="connsiteX33" fmla="*/ 1617342 w 5329829"/>
              <a:gd name="connsiteY33" fmla="*/ 2740535 h 2802013"/>
              <a:gd name="connsiteX34" fmla="*/ 1509001 w 5329829"/>
              <a:gd name="connsiteY34" fmla="*/ 2740534 h 2802013"/>
              <a:gd name="connsiteX35" fmla="*/ 1430790 w 5329829"/>
              <a:gd name="connsiteY35" fmla="*/ 2703658 h 2802013"/>
              <a:gd name="connsiteX36" fmla="*/ 1335655 w 5329829"/>
              <a:gd name="connsiteY36" fmla="*/ 2744869 h 2802013"/>
              <a:gd name="connsiteX37" fmla="*/ 1217271 w 5329829"/>
              <a:gd name="connsiteY37" fmla="*/ 2747110 h 2802013"/>
              <a:gd name="connsiteX38" fmla="*/ 1158252 w 5329829"/>
              <a:gd name="connsiteY38" fmla="*/ 2790542 h 2802013"/>
              <a:gd name="connsiteX39" fmla="*/ 1090050 w 5329829"/>
              <a:gd name="connsiteY39" fmla="*/ 2747111 h 2802013"/>
              <a:gd name="connsiteX40" fmla="*/ 1006298 w 5329829"/>
              <a:gd name="connsiteY40" fmla="*/ 2753536 h 2802013"/>
              <a:gd name="connsiteX41" fmla="*/ 931024 w 5329829"/>
              <a:gd name="connsiteY41" fmla="*/ 2723257 h 2802013"/>
              <a:gd name="connsiteX42" fmla="*/ 863233 w 5329829"/>
              <a:gd name="connsiteY42" fmla="*/ 2663542 h 2802013"/>
              <a:gd name="connsiteX43" fmla="*/ 780948 w 5329829"/>
              <a:gd name="connsiteY43" fmla="*/ 2753536 h 2802013"/>
              <a:gd name="connsiteX44" fmla="*/ 646219 w 5329829"/>
              <a:gd name="connsiteY44" fmla="*/ 2790541 h 2802013"/>
              <a:gd name="connsiteX45" fmla="*/ 533931 w 5329829"/>
              <a:gd name="connsiteY45" fmla="*/ 2766537 h 2802013"/>
              <a:gd name="connsiteX46" fmla="*/ 438867 w 5329829"/>
              <a:gd name="connsiteY46" fmla="*/ 2789836 h 2802013"/>
              <a:gd name="connsiteX47" fmla="*/ 376694 w 5329829"/>
              <a:gd name="connsiteY47" fmla="*/ 2659172 h 2802013"/>
              <a:gd name="connsiteX48" fmla="*/ 364156 w 5329829"/>
              <a:gd name="connsiteY48" fmla="*/ 183515 h 2802013"/>
              <a:gd name="connsiteX0" fmla="*/ 364156 w 5329829"/>
              <a:gd name="connsiteY0" fmla="*/ 181056 h 2799554"/>
              <a:gd name="connsiteX1" fmla="*/ 5329083 w 5329829"/>
              <a:gd name="connsiteY1" fmla="*/ 182141 h 2799554"/>
              <a:gd name="connsiteX2" fmla="*/ 5329084 w 5329829"/>
              <a:gd name="connsiteY2" fmla="*/ 2656713 h 2799554"/>
              <a:gd name="connsiteX3" fmla="*/ 5270013 w 5329829"/>
              <a:gd name="connsiteY3" fmla="*/ 2756242 h 2799554"/>
              <a:gd name="connsiteX4" fmla="*/ 5138167 w 5329829"/>
              <a:gd name="connsiteY4" fmla="*/ 2786668 h 2799554"/>
              <a:gd name="connsiteX5" fmla="*/ 4945651 w 5329829"/>
              <a:gd name="connsiteY5" fmla="*/ 2698490 h 2799554"/>
              <a:gd name="connsiteX6" fmla="*/ 4775706 w 5329829"/>
              <a:gd name="connsiteY6" fmla="*/ 2748568 h 2799554"/>
              <a:gd name="connsiteX7" fmla="*/ 4585507 w 5329829"/>
              <a:gd name="connsiteY7" fmla="*/ 2719646 h 2799554"/>
              <a:gd name="connsiteX8" fmla="*/ 4373037 w 5329829"/>
              <a:gd name="connsiteY8" fmla="*/ 2703516 h 2799554"/>
              <a:gd name="connsiteX9" fmla="*/ 4213199 w 5329829"/>
              <a:gd name="connsiteY9" fmla="*/ 2586398 h 2799554"/>
              <a:gd name="connsiteX10" fmla="*/ 4065854 w 5329829"/>
              <a:gd name="connsiteY10" fmla="*/ 2621067 h 2799554"/>
              <a:gd name="connsiteX11" fmla="*/ 3952252 w 5329829"/>
              <a:gd name="connsiteY11" fmla="*/ 2699995 h 2799554"/>
              <a:gd name="connsiteX12" fmla="*/ 3888546 w 5329829"/>
              <a:gd name="connsiteY12" fmla="*/ 2640477 h 2799554"/>
              <a:gd name="connsiteX13" fmla="*/ 3740831 w 5329829"/>
              <a:gd name="connsiteY13" fmla="*/ 2699073 h 2799554"/>
              <a:gd name="connsiteX14" fmla="*/ 3638921 w 5329829"/>
              <a:gd name="connsiteY14" fmla="*/ 2685812 h 2799554"/>
              <a:gd name="connsiteX15" fmla="*/ 3537487 w 5329829"/>
              <a:gd name="connsiteY15" fmla="*/ 2695962 h 2799554"/>
              <a:gd name="connsiteX16" fmla="*/ 3446659 w 5329829"/>
              <a:gd name="connsiteY16" fmla="*/ 2614526 h 2799554"/>
              <a:gd name="connsiteX17" fmla="*/ 3347377 w 5329829"/>
              <a:gd name="connsiteY17" fmla="*/ 2632974 h 2799554"/>
              <a:gd name="connsiteX18" fmla="*/ 3212125 w 5329829"/>
              <a:gd name="connsiteY18" fmla="*/ 2508392 h 2799554"/>
              <a:gd name="connsiteX19" fmla="*/ 3123199 w 5329829"/>
              <a:gd name="connsiteY19" fmla="*/ 2543166 h 2799554"/>
              <a:gd name="connsiteX20" fmla="*/ 3086425 w 5329829"/>
              <a:gd name="connsiteY20" fmla="*/ 2598094 h 2799554"/>
              <a:gd name="connsiteX21" fmla="*/ 3017112 w 5329829"/>
              <a:gd name="connsiteY21" fmla="*/ 2647068 h 2799554"/>
              <a:gd name="connsiteX22" fmla="*/ 2906308 w 5329829"/>
              <a:gd name="connsiteY22" fmla="*/ 2695662 h 2799554"/>
              <a:gd name="connsiteX23" fmla="*/ 2761461 w 5329829"/>
              <a:gd name="connsiteY23" fmla="*/ 2662497 h 2799554"/>
              <a:gd name="connsiteX24" fmla="*/ 2677286 w 5329829"/>
              <a:gd name="connsiteY24" fmla="*/ 2693344 h 2799554"/>
              <a:gd name="connsiteX25" fmla="*/ 2475405 w 5329829"/>
              <a:gd name="connsiteY25" fmla="*/ 2625401 h 2799554"/>
              <a:gd name="connsiteX26" fmla="*/ 2319279 w 5329829"/>
              <a:gd name="connsiteY26" fmla="*/ 2643447 h 2799554"/>
              <a:gd name="connsiteX27" fmla="*/ 2252138 w 5329829"/>
              <a:gd name="connsiteY27" fmla="*/ 2687295 h 2799554"/>
              <a:gd name="connsiteX28" fmla="*/ 2068042 w 5329829"/>
              <a:gd name="connsiteY28" fmla="*/ 2686072 h 2799554"/>
              <a:gd name="connsiteX29" fmla="*/ 1964035 w 5329829"/>
              <a:gd name="connsiteY29" fmla="*/ 2608067 h 2799554"/>
              <a:gd name="connsiteX30" fmla="*/ 1838394 w 5329829"/>
              <a:gd name="connsiteY30" fmla="*/ 2699483 h 2799554"/>
              <a:gd name="connsiteX31" fmla="*/ 1732323 w 5329829"/>
              <a:gd name="connsiteY31" fmla="*/ 2792108 h 2799554"/>
              <a:gd name="connsiteX32" fmla="*/ 1651528 w 5329829"/>
              <a:gd name="connsiteY32" fmla="*/ 2796086 h 2799554"/>
              <a:gd name="connsiteX33" fmla="*/ 1617342 w 5329829"/>
              <a:gd name="connsiteY33" fmla="*/ 2738076 h 2799554"/>
              <a:gd name="connsiteX34" fmla="*/ 1509001 w 5329829"/>
              <a:gd name="connsiteY34" fmla="*/ 2738075 h 2799554"/>
              <a:gd name="connsiteX35" fmla="*/ 1430790 w 5329829"/>
              <a:gd name="connsiteY35" fmla="*/ 2701199 h 2799554"/>
              <a:gd name="connsiteX36" fmla="*/ 1335655 w 5329829"/>
              <a:gd name="connsiteY36" fmla="*/ 2742410 h 2799554"/>
              <a:gd name="connsiteX37" fmla="*/ 1217271 w 5329829"/>
              <a:gd name="connsiteY37" fmla="*/ 2744651 h 2799554"/>
              <a:gd name="connsiteX38" fmla="*/ 1158252 w 5329829"/>
              <a:gd name="connsiteY38" fmla="*/ 2788083 h 2799554"/>
              <a:gd name="connsiteX39" fmla="*/ 1090050 w 5329829"/>
              <a:gd name="connsiteY39" fmla="*/ 2744652 h 2799554"/>
              <a:gd name="connsiteX40" fmla="*/ 1006298 w 5329829"/>
              <a:gd name="connsiteY40" fmla="*/ 2751077 h 2799554"/>
              <a:gd name="connsiteX41" fmla="*/ 931024 w 5329829"/>
              <a:gd name="connsiteY41" fmla="*/ 2720798 h 2799554"/>
              <a:gd name="connsiteX42" fmla="*/ 863233 w 5329829"/>
              <a:gd name="connsiteY42" fmla="*/ 2661083 h 2799554"/>
              <a:gd name="connsiteX43" fmla="*/ 780948 w 5329829"/>
              <a:gd name="connsiteY43" fmla="*/ 2751077 h 2799554"/>
              <a:gd name="connsiteX44" fmla="*/ 646219 w 5329829"/>
              <a:gd name="connsiteY44" fmla="*/ 2788082 h 2799554"/>
              <a:gd name="connsiteX45" fmla="*/ 533931 w 5329829"/>
              <a:gd name="connsiteY45" fmla="*/ 2764078 h 2799554"/>
              <a:gd name="connsiteX46" fmla="*/ 438867 w 5329829"/>
              <a:gd name="connsiteY46" fmla="*/ 2787377 h 2799554"/>
              <a:gd name="connsiteX47" fmla="*/ 376694 w 5329829"/>
              <a:gd name="connsiteY47" fmla="*/ 2656713 h 2799554"/>
              <a:gd name="connsiteX48" fmla="*/ 364156 w 5329829"/>
              <a:gd name="connsiteY48" fmla="*/ 181056 h 2799554"/>
              <a:gd name="connsiteX0" fmla="*/ 364156 w 5329829"/>
              <a:gd name="connsiteY0" fmla="*/ 181056 h 2799554"/>
              <a:gd name="connsiteX1" fmla="*/ 5329083 w 5329829"/>
              <a:gd name="connsiteY1" fmla="*/ 182141 h 2799554"/>
              <a:gd name="connsiteX2" fmla="*/ 5329084 w 5329829"/>
              <a:gd name="connsiteY2" fmla="*/ 2656713 h 2799554"/>
              <a:gd name="connsiteX3" fmla="*/ 5270013 w 5329829"/>
              <a:gd name="connsiteY3" fmla="*/ 2756242 h 2799554"/>
              <a:gd name="connsiteX4" fmla="*/ 5138167 w 5329829"/>
              <a:gd name="connsiteY4" fmla="*/ 2786668 h 2799554"/>
              <a:gd name="connsiteX5" fmla="*/ 4945651 w 5329829"/>
              <a:gd name="connsiteY5" fmla="*/ 2698490 h 2799554"/>
              <a:gd name="connsiteX6" fmla="*/ 4775706 w 5329829"/>
              <a:gd name="connsiteY6" fmla="*/ 2748568 h 2799554"/>
              <a:gd name="connsiteX7" fmla="*/ 4585507 w 5329829"/>
              <a:gd name="connsiteY7" fmla="*/ 2719646 h 2799554"/>
              <a:gd name="connsiteX8" fmla="*/ 4373037 w 5329829"/>
              <a:gd name="connsiteY8" fmla="*/ 2703516 h 2799554"/>
              <a:gd name="connsiteX9" fmla="*/ 4213199 w 5329829"/>
              <a:gd name="connsiteY9" fmla="*/ 2586398 h 2799554"/>
              <a:gd name="connsiteX10" fmla="*/ 4065854 w 5329829"/>
              <a:gd name="connsiteY10" fmla="*/ 2621067 h 2799554"/>
              <a:gd name="connsiteX11" fmla="*/ 3952252 w 5329829"/>
              <a:gd name="connsiteY11" fmla="*/ 2699995 h 2799554"/>
              <a:gd name="connsiteX12" fmla="*/ 3888546 w 5329829"/>
              <a:gd name="connsiteY12" fmla="*/ 2640477 h 2799554"/>
              <a:gd name="connsiteX13" fmla="*/ 3740831 w 5329829"/>
              <a:gd name="connsiteY13" fmla="*/ 2699073 h 2799554"/>
              <a:gd name="connsiteX14" fmla="*/ 3638921 w 5329829"/>
              <a:gd name="connsiteY14" fmla="*/ 2685812 h 2799554"/>
              <a:gd name="connsiteX15" fmla="*/ 3537487 w 5329829"/>
              <a:gd name="connsiteY15" fmla="*/ 2695962 h 2799554"/>
              <a:gd name="connsiteX16" fmla="*/ 3446659 w 5329829"/>
              <a:gd name="connsiteY16" fmla="*/ 2614526 h 2799554"/>
              <a:gd name="connsiteX17" fmla="*/ 3347377 w 5329829"/>
              <a:gd name="connsiteY17" fmla="*/ 2632974 h 2799554"/>
              <a:gd name="connsiteX18" fmla="*/ 3212125 w 5329829"/>
              <a:gd name="connsiteY18" fmla="*/ 2508392 h 2799554"/>
              <a:gd name="connsiteX19" fmla="*/ 3123199 w 5329829"/>
              <a:gd name="connsiteY19" fmla="*/ 2543166 h 2799554"/>
              <a:gd name="connsiteX20" fmla="*/ 3086425 w 5329829"/>
              <a:gd name="connsiteY20" fmla="*/ 2598094 h 2799554"/>
              <a:gd name="connsiteX21" fmla="*/ 3017112 w 5329829"/>
              <a:gd name="connsiteY21" fmla="*/ 2647068 h 2799554"/>
              <a:gd name="connsiteX22" fmla="*/ 2906308 w 5329829"/>
              <a:gd name="connsiteY22" fmla="*/ 2695662 h 2799554"/>
              <a:gd name="connsiteX23" fmla="*/ 2761461 w 5329829"/>
              <a:gd name="connsiteY23" fmla="*/ 2662497 h 2799554"/>
              <a:gd name="connsiteX24" fmla="*/ 2677286 w 5329829"/>
              <a:gd name="connsiteY24" fmla="*/ 2693344 h 2799554"/>
              <a:gd name="connsiteX25" fmla="*/ 2475405 w 5329829"/>
              <a:gd name="connsiteY25" fmla="*/ 2625401 h 2799554"/>
              <a:gd name="connsiteX26" fmla="*/ 2319279 w 5329829"/>
              <a:gd name="connsiteY26" fmla="*/ 2643447 h 2799554"/>
              <a:gd name="connsiteX27" fmla="*/ 2252138 w 5329829"/>
              <a:gd name="connsiteY27" fmla="*/ 2687295 h 2799554"/>
              <a:gd name="connsiteX28" fmla="*/ 2068042 w 5329829"/>
              <a:gd name="connsiteY28" fmla="*/ 2686072 h 2799554"/>
              <a:gd name="connsiteX29" fmla="*/ 1964035 w 5329829"/>
              <a:gd name="connsiteY29" fmla="*/ 2608067 h 2799554"/>
              <a:gd name="connsiteX30" fmla="*/ 1838394 w 5329829"/>
              <a:gd name="connsiteY30" fmla="*/ 2699483 h 2799554"/>
              <a:gd name="connsiteX31" fmla="*/ 1732323 w 5329829"/>
              <a:gd name="connsiteY31" fmla="*/ 2792108 h 2799554"/>
              <a:gd name="connsiteX32" fmla="*/ 1651528 w 5329829"/>
              <a:gd name="connsiteY32" fmla="*/ 2796086 h 2799554"/>
              <a:gd name="connsiteX33" fmla="*/ 1617342 w 5329829"/>
              <a:gd name="connsiteY33" fmla="*/ 2738076 h 2799554"/>
              <a:gd name="connsiteX34" fmla="*/ 1509001 w 5329829"/>
              <a:gd name="connsiteY34" fmla="*/ 2738075 h 2799554"/>
              <a:gd name="connsiteX35" fmla="*/ 1430790 w 5329829"/>
              <a:gd name="connsiteY35" fmla="*/ 2701199 h 2799554"/>
              <a:gd name="connsiteX36" fmla="*/ 1335655 w 5329829"/>
              <a:gd name="connsiteY36" fmla="*/ 2742410 h 2799554"/>
              <a:gd name="connsiteX37" fmla="*/ 1217271 w 5329829"/>
              <a:gd name="connsiteY37" fmla="*/ 2744651 h 2799554"/>
              <a:gd name="connsiteX38" fmla="*/ 1158252 w 5329829"/>
              <a:gd name="connsiteY38" fmla="*/ 2788083 h 2799554"/>
              <a:gd name="connsiteX39" fmla="*/ 1090050 w 5329829"/>
              <a:gd name="connsiteY39" fmla="*/ 2744652 h 2799554"/>
              <a:gd name="connsiteX40" fmla="*/ 1006298 w 5329829"/>
              <a:gd name="connsiteY40" fmla="*/ 2751077 h 2799554"/>
              <a:gd name="connsiteX41" fmla="*/ 931024 w 5329829"/>
              <a:gd name="connsiteY41" fmla="*/ 2720798 h 2799554"/>
              <a:gd name="connsiteX42" fmla="*/ 863233 w 5329829"/>
              <a:gd name="connsiteY42" fmla="*/ 2661083 h 2799554"/>
              <a:gd name="connsiteX43" fmla="*/ 780948 w 5329829"/>
              <a:gd name="connsiteY43" fmla="*/ 2751077 h 2799554"/>
              <a:gd name="connsiteX44" fmla="*/ 646219 w 5329829"/>
              <a:gd name="connsiteY44" fmla="*/ 2788082 h 2799554"/>
              <a:gd name="connsiteX45" fmla="*/ 533931 w 5329829"/>
              <a:gd name="connsiteY45" fmla="*/ 2764078 h 2799554"/>
              <a:gd name="connsiteX46" fmla="*/ 438867 w 5329829"/>
              <a:gd name="connsiteY46" fmla="*/ 2787377 h 2799554"/>
              <a:gd name="connsiteX47" fmla="*/ 376694 w 5329829"/>
              <a:gd name="connsiteY47" fmla="*/ 2656713 h 2799554"/>
              <a:gd name="connsiteX48" fmla="*/ 364156 w 5329829"/>
              <a:gd name="connsiteY48" fmla="*/ 181056 h 2799554"/>
              <a:gd name="connsiteX0" fmla="*/ 7 w 4965680"/>
              <a:gd name="connsiteY0" fmla="*/ 192 h 2618690"/>
              <a:gd name="connsiteX1" fmla="*/ 4964934 w 4965680"/>
              <a:gd name="connsiteY1" fmla="*/ 1277 h 2618690"/>
              <a:gd name="connsiteX2" fmla="*/ 4964935 w 4965680"/>
              <a:gd name="connsiteY2" fmla="*/ 2475849 h 2618690"/>
              <a:gd name="connsiteX3" fmla="*/ 4905864 w 4965680"/>
              <a:gd name="connsiteY3" fmla="*/ 2575378 h 2618690"/>
              <a:gd name="connsiteX4" fmla="*/ 4774018 w 4965680"/>
              <a:gd name="connsiteY4" fmla="*/ 2605804 h 2618690"/>
              <a:gd name="connsiteX5" fmla="*/ 4581502 w 4965680"/>
              <a:gd name="connsiteY5" fmla="*/ 2517626 h 2618690"/>
              <a:gd name="connsiteX6" fmla="*/ 4411557 w 4965680"/>
              <a:gd name="connsiteY6" fmla="*/ 2567704 h 2618690"/>
              <a:gd name="connsiteX7" fmla="*/ 4221358 w 4965680"/>
              <a:gd name="connsiteY7" fmla="*/ 2538782 h 2618690"/>
              <a:gd name="connsiteX8" fmla="*/ 4008888 w 4965680"/>
              <a:gd name="connsiteY8" fmla="*/ 2522652 h 2618690"/>
              <a:gd name="connsiteX9" fmla="*/ 3849050 w 4965680"/>
              <a:gd name="connsiteY9" fmla="*/ 2405534 h 2618690"/>
              <a:gd name="connsiteX10" fmla="*/ 3701705 w 4965680"/>
              <a:gd name="connsiteY10" fmla="*/ 2440203 h 2618690"/>
              <a:gd name="connsiteX11" fmla="*/ 3588103 w 4965680"/>
              <a:gd name="connsiteY11" fmla="*/ 2519131 h 2618690"/>
              <a:gd name="connsiteX12" fmla="*/ 3524397 w 4965680"/>
              <a:gd name="connsiteY12" fmla="*/ 2459613 h 2618690"/>
              <a:gd name="connsiteX13" fmla="*/ 3376682 w 4965680"/>
              <a:gd name="connsiteY13" fmla="*/ 2518209 h 2618690"/>
              <a:gd name="connsiteX14" fmla="*/ 3274772 w 4965680"/>
              <a:gd name="connsiteY14" fmla="*/ 2504948 h 2618690"/>
              <a:gd name="connsiteX15" fmla="*/ 3173338 w 4965680"/>
              <a:gd name="connsiteY15" fmla="*/ 2515098 h 2618690"/>
              <a:gd name="connsiteX16" fmla="*/ 3082510 w 4965680"/>
              <a:gd name="connsiteY16" fmla="*/ 2433662 h 2618690"/>
              <a:gd name="connsiteX17" fmla="*/ 2983228 w 4965680"/>
              <a:gd name="connsiteY17" fmla="*/ 2452110 h 2618690"/>
              <a:gd name="connsiteX18" fmla="*/ 2847976 w 4965680"/>
              <a:gd name="connsiteY18" fmla="*/ 2327528 h 2618690"/>
              <a:gd name="connsiteX19" fmla="*/ 2759050 w 4965680"/>
              <a:gd name="connsiteY19" fmla="*/ 2362302 h 2618690"/>
              <a:gd name="connsiteX20" fmla="*/ 2722276 w 4965680"/>
              <a:gd name="connsiteY20" fmla="*/ 2417230 h 2618690"/>
              <a:gd name="connsiteX21" fmla="*/ 2652963 w 4965680"/>
              <a:gd name="connsiteY21" fmla="*/ 2466204 h 2618690"/>
              <a:gd name="connsiteX22" fmla="*/ 2542159 w 4965680"/>
              <a:gd name="connsiteY22" fmla="*/ 2514798 h 2618690"/>
              <a:gd name="connsiteX23" fmla="*/ 2397312 w 4965680"/>
              <a:gd name="connsiteY23" fmla="*/ 2481633 h 2618690"/>
              <a:gd name="connsiteX24" fmla="*/ 2313137 w 4965680"/>
              <a:gd name="connsiteY24" fmla="*/ 2512480 h 2618690"/>
              <a:gd name="connsiteX25" fmla="*/ 2111256 w 4965680"/>
              <a:gd name="connsiteY25" fmla="*/ 2444537 h 2618690"/>
              <a:gd name="connsiteX26" fmla="*/ 1955130 w 4965680"/>
              <a:gd name="connsiteY26" fmla="*/ 2462583 h 2618690"/>
              <a:gd name="connsiteX27" fmla="*/ 1887989 w 4965680"/>
              <a:gd name="connsiteY27" fmla="*/ 2506431 h 2618690"/>
              <a:gd name="connsiteX28" fmla="*/ 1703893 w 4965680"/>
              <a:gd name="connsiteY28" fmla="*/ 2505208 h 2618690"/>
              <a:gd name="connsiteX29" fmla="*/ 1599886 w 4965680"/>
              <a:gd name="connsiteY29" fmla="*/ 2427203 h 2618690"/>
              <a:gd name="connsiteX30" fmla="*/ 1474245 w 4965680"/>
              <a:gd name="connsiteY30" fmla="*/ 2518619 h 2618690"/>
              <a:gd name="connsiteX31" fmla="*/ 1368174 w 4965680"/>
              <a:gd name="connsiteY31" fmla="*/ 2611244 h 2618690"/>
              <a:gd name="connsiteX32" fmla="*/ 1287379 w 4965680"/>
              <a:gd name="connsiteY32" fmla="*/ 2615222 h 2618690"/>
              <a:gd name="connsiteX33" fmla="*/ 1253193 w 4965680"/>
              <a:gd name="connsiteY33" fmla="*/ 2557212 h 2618690"/>
              <a:gd name="connsiteX34" fmla="*/ 1144852 w 4965680"/>
              <a:gd name="connsiteY34" fmla="*/ 2557211 h 2618690"/>
              <a:gd name="connsiteX35" fmla="*/ 1066641 w 4965680"/>
              <a:gd name="connsiteY35" fmla="*/ 2520335 h 2618690"/>
              <a:gd name="connsiteX36" fmla="*/ 971506 w 4965680"/>
              <a:gd name="connsiteY36" fmla="*/ 2561546 h 2618690"/>
              <a:gd name="connsiteX37" fmla="*/ 853122 w 4965680"/>
              <a:gd name="connsiteY37" fmla="*/ 2563787 h 2618690"/>
              <a:gd name="connsiteX38" fmla="*/ 794103 w 4965680"/>
              <a:gd name="connsiteY38" fmla="*/ 2607219 h 2618690"/>
              <a:gd name="connsiteX39" fmla="*/ 725901 w 4965680"/>
              <a:gd name="connsiteY39" fmla="*/ 2563788 h 2618690"/>
              <a:gd name="connsiteX40" fmla="*/ 642149 w 4965680"/>
              <a:gd name="connsiteY40" fmla="*/ 2570213 h 2618690"/>
              <a:gd name="connsiteX41" fmla="*/ 566875 w 4965680"/>
              <a:gd name="connsiteY41" fmla="*/ 2539934 h 2618690"/>
              <a:gd name="connsiteX42" fmla="*/ 499084 w 4965680"/>
              <a:gd name="connsiteY42" fmla="*/ 2480219 h 2618690"/>
              <a:gd name="connsiteX43" fmla="*/ 416799 w 4965680"/>
              <a:gd name="connsiteY43" fmla="*/ 2570213 h 2618690"/>
              <a:gd name="connsiteX44" fmla="*/ 282070 w 4965680"/>
              <a:gd name="connsiteY44" fmla="*/ 2607218 h 2618690"/>
              <a:gd name="connsiteX45" fmla="*/ 169782 w 4965680"/>
              <a:gd name="connsiteY45" fmla="*/ 2583214 h 2618690"/>
              <a:gd name="connsiteX46" fmla="*/ 74718 w 4965680"/>
              <a:gd name="connsiteY46" fmla="*/ 2606513 h 2618690"/>
              <a:gd name="connsiteX47" fmla="*/ 12545 w 4965680"/>
              <a:gd name="connsiteY47" fmla="*/ 2475849 h 2618690"/>
              <a:gd name="connsiteX48" fmla="*/ 7 w 4965680"/>
              <a:gd name="connsiteY48" fmla="*/ 192 h 2618690"/>
              <a:gd name="connsiteX0" fmla="*/ 7 w 4965680"/>
              <a:gd name="connsiteY0" fmla="*/ 192 h 2618690"/>
              <a:gd name="connsiteX1" fmla="*/ 4964934 w 4965680"/>
              <a:gd name="connsiteY1" fmla="*/ 1277 h 2618690"/>
              <a:gd name="connsiteX2" fmla="*/ 4964935 w 4965680"/>
              <a:gd name="connsiteY2" fmla="*/ 2475849 h 2618690"/>
              <a:gd name="connsiteX3" fmla="*/ 4905864 w 4965680"/>
              <a:gd name="connsiteY3" fmla="*/ 2575378 h 2618690"/>
              <a:gd name="connsiteX4" fmla="*/ 4774018 w 4965680"/>
              <a:gd name="connsiteY4" fmla="*/ 2605804 h 2618690"/>
              <a:gd name="connsiteX5" fmla="*/ 4581502 w 4965680"/>
              <a:gd name="connsiteY5" fmla="*/ 2517626 h 2618690"/>
              <a:gd name="connsiteX6" fmla="*/ 4411557 w 4965680"/>
              <a:gd name="connsiteY6" fmla="*/ 2567704 h 2618690"/>
              <a:gd name="connsiteX7" fmla="*/ 4221358 w 4965680"/>
              <a:gd name="connsiteY7" fmla="*/ 2538782 h 2618690"/>
              <a:gd name="connsiteX8" fmla="*/ 4008888 w 4965680"/>
              <a:gd name="connsiteY8" fmla="*/ 2522652 h 2618690"/>
              <a:gd name="connsiteX9" fmla="*/ 3849050 w 4965680"/>
              <a:gd name="connsiteY9" fmla="*/ 2405534 h 2618690"/>
              <a:gd name="connsiteX10" fmla="*/ 3701705 w 4965680"/>
              <a:gd name="connsiteY10" fmla="*/ 2440203 h 2618690"/>
              <a:gd name="connsiteX11" fmla="*/ 3588103 w 4965680"/>
              <a:gd name="connsiteY11" fmla="*/ 2519131 h 2618690"/>
              <a:gd name="connsiteX12" fmla="*/ 3524397 w 4965680"/>
              <a:gd name="connsiteY12" fmla="*/ 2459613 h 2618690"/>
              <a:gd name="connsiteX13" fmla="*/ 3376682 w 4965680"/>
              <a:gd name="connsiteY13" fmla="*/ 2518209 h 2618690"/>
              <a:gd name="connsiteX14" fmla="*/ 3274772 w 4965680"/>
              <a:gd name="connsiteY14" fmla="*/ 2504948 h 2618690"/>
              <a:gd name="connsiteX15" fmla="*/ 3173338 w 4965680"/>
              <a:gd name="connsiteY15" fmla="*/ 2515098 h 2618690"/>
              <a:gd name="connsiteX16" fmla="*/ 3082510 w 4965680"/>
              <a:gd name="connsiteY16" fmla="*/ 2433662 h 2618690"/>
              <a:gd name="connsiteX17" fmla="*/ 2983228 w 4965680"/>
              <a:gd name="connsiteY17" fmla="*/ 2452110 h 2618690"/>
              <a:gd name="connsiteX18" fmla="*/ 2847976 w 4965680"/>
              <a:gd name="connsiteY18" fmla="*/ 2327528 h 2618690"/>
              <a:gd name="connsiteX19" fmla="*/ 2759050 w 4965680"/>
              <a:gd name="connsiteY19" fmla="*/ 2362302 h 2618690"/>
              <a:gd name="connsiteX20" fmla="*/ 2722276 w 4965680"/>
              <a:gd name="connsiteY20" fmla="*/ 2417230 h 2618690"/>
              <a:gd name="connsiteX21" fmla="*/ 2652963 w 4965680"/>
              <a:gd name="connsiteY21" fmla="*/ 2466204 h 2618690"/>
              <a:gd name="connsiteX22" fmla="*/ 2542159 w 4965680"/>
              <a:gd name="connsiteY22" fmla="*/ 2514798 h 2618690"/>
              <a:gd name="connsiteX23" fmla="*/ 2397312 w 4965680"/>
              <a:gd name="connsiteY23" fmla="*/ 2481633 h 2618690"/>
              <a:gd name="connsiteX24" fmla="*/ 2313137 w 4965680"/>
              <a:gd name="connsiteY24" fmla="*/ 2512480 h 2618690"/>
              <a:gd name="connsiteX25" fmla="*/ 2111256 w 4965680"/>
              <a:gd name="connsiteY25" fmla="*/ 2444537 h 2618690"/>
              <a:gd name="connsiteX26" fmla="*/ 1955130 w 4965680"/>
              <a:gd name="connsiteY26" fmla="*/ 2462583 h 2618690"/>
              <a:gd name="connsiteX27" fmla="*/ 1887989 w 4965680"/>
              <a:gd name="connsiteY27" fmla="*/ 2506431 h 2618690"/>
              <a:gd name="connsiteX28" fmla="*/ 1703893 w 4965680"/>
              <a:gd name="connsiteY28" fmla="*/ 2505208 h 2618690"/>
              <a:gd name="connsiteX29" fmla="*/ 1599886 w 4965680"/>
              <a:gd name="connsiteY29" fmla="*/ 2427203 h 2618690"/>
              <a:gd name="connsiteX30" fmla="*/ 1474245 w 4965680"/>
              <a:gd name="connsiteY30" fmla="*/ 2518619 h 2618690"/>
              <a:gd name="connsiteX31" fmla="*/ 1368174 w 4965680"/>
              <a:gd name="connsiteY31" fmla="*/ 2611244 h 2618690"/>
              <a:gd name="connsiteX32" fmla="*/ 1287379 w 4965680"/>
              <a:gd name="connsiteY32" fmla="*/ 2615222 h 2618690"/>
              <a:gd name="connsiteX33" fmla="*/ 1253193 w 4965680"/>
              <a:gd name="connsiteY33" fmla="*/ 2557212 h 2618690"/>
              <a:gd name="connsiteX34" fmla="*/ 1144852 w 4965680"/>
              <a:gd name="connsiteY34" fmla="*/ 2557211 h 2618690"/>
              <a:gd name="connsiteX35" fmla="*/ 1066641 w 4965680"/>
              <a:gd name="connsiteY35" fmla="*/ 2520335 h 2618690"/>
              <a:gd name="connsiteX36" fmla="*/ 971506 w 4965680"/>
              <a:gd name="connsiteY36" fmla="*/ 2561546 h 2618690"/>
              <a:gd name="connsiteX37" fmla="*/ 853122 w 4965680"/>
              <a:gd name="connsiteY37" fmla="*/ 2563787 h 2618690"/>
              <a:gd name="connsiteX38" fmla="*/ 794103 w 4965680"/>
              <a:gd name="connsiteY38" fmla="*/ 2607219 h 2618690"/>
              <a:gd name="connsiteX39" fmla="*/ 725901 w 4965680"/>
              <a:gd name="connsiteY39" fmla="*/ 2563788 h 2618690"/>
              <a:gd name="connsiteX40" fmla="*/ 642149 w 4965680"/>
              <a:gd name="connsiteY40" fmla="*/ 2570213 h 2618690"/>
              <a:gd name="connsiteX41" fmla="*/ 566875 w 4965680"/>
              <a:gd name="connsiteY41" fmla="*/ 2539934 h 2618690"/>
              <a:gd name="connsiteX42" fmla="*/ 499084 w 4965680"/>
              <a:gd name="connsiteY42" fmla="*/ 2480219 h 2618690"/>
              <a:gd name="connsiteX43" fmla="*/ 416799 w 4965680"/>
              <a:gd name="connsiteY43" fmla="*/ 2570213 h 2618690"/>
              <a:gd name="connsiteX44" fmla="*/ 282070 w 4965680"/>
              <a:gd name="connsiteY44" fmla="*/ 2607218 h 2618690"/>
              <a:gd name="connsiteX45" fmla="*/ 169782 w 4965680"/>
              <a:gd name="connsiteY45" fmla="*/ 2583214 h 2618690"/>
              <a:gd name="connsiteX46" fmla="*/ 74718 w 4965680"/>
              <a:gd name="connsiteY46" fmla="*/ 2606513 h 2618690"/>
              <a:gd name="connsiteX47" fmla="*/ 12545 w 4965680"/>
              <a:gd name="connsiteY47" fmla="*/ 2475849 h 2618690"/>
              <a:gd name="connsiteX48" fmla="*/ 7 w 4965680"/>
              <a:gd name="connsiteY48" fmla="*/ 192 h 2618690"/>
              <a:gd name="connsiteX0" fmla="*/ 7 w 4965680"/>
              <a:gd name="connsiteY0" fmla="*/ 0 h 2618498"/>
              <a:gd name="connsiteX1" fmla="*/ 4964934 w 4965680"/>
              <a:gd name="connsiteY1" fmla="*/ 1085 h 2618498"/>
              <a:gd name="connsiteX2" fmla="*/ 4964935 w 4965680"/>
              <a:gd name="connsiteY2" fmla="*/ 2475657 h 2618498"/>
              <a:gd name="connsiteX3" fmla="*/ 4905864 w 4965680"/>
              <a:gd name="connsiteY3" fmla="*/ 2575186 h 2618498"/>
              <a:gd name="connsiteX4" fmla="*/ 4774018 w 4965680"/>
              <a:gd name="connsiteY4" fmla="*/ 2605612 h 2618498"/>
              <a:gd name="connsiteX5" fmla="*/ 4581502 w 4965680"/>
              <a:gd name="connsiteY5" fmla="*/ 2517434 h 2618498"/>
              <a:gd name="connsiteX6" fmla="*/ 4411557 w 4965680"/>
              <a:gd name="connsiteY6" fmla="*/ 2567512 h 2618498"/>
              <a:gd name="connsiteX7" fmla="*/ 4221358 w 4965680"/>
              <a:gd name="connsiteY7" fmla="*/ 2538590 h 2618498"/>
              <a:gd name="connsiteX8" fmla="*/ 4008888 w 4965680"/>
              <a:gd name="connsiteY8" fmla="*/ 2522460 h 2618498"/>
              <a:gd name="connsiteX9" fmla="*/ 3849050 w 4965680"/>
              <a:gd name="connsiteY9" fmla="*/ 2405342 h 2618498"/>
              <a:gd name="connsiteX10" fmla="*/ 3701705 w 4965680"/>
              <a:gd name="connsiteY10" fmla="*/ 2440011 h 2618498"/>
              <a:gd name="connsiteX11" fmla="*/ 3588103 w 4965680"/>
              <a:gd name="connsiteY11" fmla="*/ 2518939 h 2618498"/>
              <a:gd name="connsiteX12" fmla="*/ 3524397 w 4965680"/>
              <a:gd name="connsiteY12" fmla="*/ 2459421 h 2618498"/>
              <a:gd name="connsiteX13" fmla="*/ 3376682 w 4965680"/>
              <a:gd name="connsiteY13" fmla="*/ 2518017 h 2618498"/>
              <a:gd name="connsiteX14" fmla="*/ 3274772 w 4965680"/>
              <a:gd name="connsiteY14" fmla="*/ 2504756 h 2618498"/>
              <a:gd name="connsiteX15" fmla="*/ 3173338 w 4965680"/>
              <a:gd name="connsiteY15" fmla="*/ 2514906 h 2618498"/>
              <a:gd name="connsiteX16" fmla="*/ 3082510 w 4965680"/>
              <a:gd name="connsiteY16" fmla="*/ 2433470 h 2618498"/>
              <a:gd name="connsiteX17" fmla="*/ 2983228 w 4965680"/>
              <a:gd name="connsiteY17" fmla="*/ 2451918 h 2618498"/>
              <a:gd name="connsiteX18" fmla="*/ 2847976 w 4965680"/>
              <a:gd name="connsiteY18" fmla="*/ 2327336 h 2618498"/>
              <a:gd name="connsiteX19" fmla="*/ 2759050 w 4965680"/>
              <a:gd name="connsiteY19" fmla="*/ 2362110 h 2618498"/>
              <a:gd name="connsiteX20" fmla="*/ 2722276 w 4965680"/>
              <a:gd name="connsiteY20" fmla="*/ 2417038 h 2618498"/>
              <a:gd name="connsiteX21" fmla="*/ 2652963 w 4965680"/>
              <a:gd name="connsiteY21" fmla="*/ 2466012 h 2618498"/>
              <a:gd name="connsiteX22" fmla="*/ 2542159 w 4965680"/>
              <a:gd name="connsiteY22" fmla="*/ 2514606 h 2618498"/>
              <a:gd name="connsiteX23" fmla="*/ 2397312 w 4965680"/>
              <a:gd name="connsiteY23" fmla="*/ 2481441 h 2618498"/>
              <a:gd name="connsiteX24" fmla="*/ 2313137 w 4965680"/>
              <a:gd name="connsiteY24" fmla="*/ 2512288 h 2618498"/>
              <a:gd name="connsiteX25" fmla="*/ 2111256 w 4965680"/>
              <a:gd name="connsiteY25" fmla="*/ 2444345 h 2618498"/>
              <a:gd name="connsiteX26" fmla="*/ 1955130 w 4965680"/>
              <a:gd name="connsiteY26" fmla="*/ 2462391 h 2618498"/>
              <a:gd name="connsiteX27" fmla="*/ 1887989 w 4965680"/>
              <a:gd name="connsiteY27" fmla="*/ 2506239 h 2618498"/>
              <a:gd name="connsiteX28" fmla="*/ 1703893 w 4965680"/>
              <a:gd name="connsiteY28" fmla="*/ 2505016 h 2618498"/>
              <a:gd name="connsiteX29" fmla="*/ 1599886 w 4965680"/>
              <a:gd name="connsiteY29" fmla="*/ 2427011 h 2618498"/>
              <a:gd name="connsiteX30" fmla="*/ 1474245 w 4965680"/>
              <a:gd name="connsiteY30" fmla="*/ 2518427 h 2618498"/>
              <a:gd name="connsiteX31" fmla="*/ 1368174 w 4965680"/>
              <a:gd name="connsiteY31" fmla="*/ 2611052 h 2618498"/>
              <a:gd name="connsiteX32" fmla="*/ 1287379 w 4965680"/>
              <a:gd name="connsiteY32" fmla="*/ 2615030 h 2618498"/>
              <a:gd name="connsiteX33" fmla="*/ 1253193 w 4965680"/>
              <a:gd name="connsiteY33" fmla="*/ 2557020 h 2618498"/>
              <a:gd name="connsiteX34" fmla="*/ 1144852 w 4965680"/>
              <a:gd name="connsiteY34" fmla="*/ 2557019 h 2618498"/>
              <a:gd name="connsiteX35" fmla="*/ 1066641 w 4965680"/>
              <a:gd name="connsiteY35" fmla="*/ 2520143 h 2618498"/>
              <a:gd name="connsiteX36" fmla="*/ 971506 w 4965680"/>
              <a:gd name="connsiteY36" fmla="*/ 2561354 h 2618498"/>
              <a:gd name="connsiteX37" fmla="*/ 853122 w 4965680"/>
              <a:gd name="connsiteY37" fmla="*/ 2563595 h 2618498"/>
              <a:gd name="connsiteX38" fmla="*/ 794103 w 4965680"/>
              <a:gd name="connsiteY38" fmla="*/ 2607027 h 2618498"/>
              <a:gd name="connsiteX39" fmla="*/ 725901 w 4965680"/>
              <a:gd name="connsiteY39" fmla="*/ 2563596 h 2618498"/>
              <a:gd name="connsiteX40" fmla="*/ 642149 w 4965680"/>
              <a:gd name="connsiteY40" fmla="*/ 2570021 h 2618498"/>
              <a:gd name="connsiteX41" fmla="*/ 566875 w 4965680"/>
              <a:gd name="connsiteY41" fmla="*/ 2539742 h 2618498"/>
              <a:gd name="connsiteX42" fmla="*/ 499084 w 4965680"/>
              <a:gd name="connsiteY42" fmla="*/ 2480027 h 2618498"/>
              <a:gd name="connsiteX43" fmla="*/ 416799 w 4965680"/>
              <a:gd name="connsiteY43" fmla="*/ 2570021 h 2618498"/>
              <a:gd name="connsiteX44" fmla="*/ 282070 w 4965680"/>
              <a:gd name="connsiteY44" fmla="*/ 2607026 h 2618498"/>
              <a:gd name="connsiteX45" fmla="*/ 169782 w 4965680"/>
              <a:gd name="connsiteY45" fmla="*/ 2583022 h 2618498"/>
              <a:gd name="connsiteX46" fmla="*/ 74718 w 4965680"/>
              <a:gd name="connsiteY46" fmla="*/ 2606321 h 2618498"/>
              <a:gd name="connsiteX47" fmla="*/ 12545 w 4965680"/>
              <a:gd name="connsiteY47" fmla="*/ 2475657 h 2618498"/>
              <a:gd name="connsiteX48" fmla="*/ 7 w 4965680"/>
              <a:gd name="connsiteY48" fmla="*/ 0 h 2618498"/>
              <a:gd name="connsiteX0" fmla="*/ 0 w 4965673"/>
              <a:gd name="connsiteY0" fmla="*/ 128934 h 2747432"/>
              <a:gd name="connsiteX1" fmla="*/ 4964927 w 4965673"/>
              <a:gd name="connsiteY1" fmla="*/ 130019 h 2747432"/>
              <a:gd name="connsiteX2" fmla="*/ 4964928 w 4965673"/>
              <a:gd name="connsiteY2" fmla="*/ 2604591 h 2747432"/>
              <a:gd name="connsiteX3" fmla="*/ 4905857 w 4965673"/>
              <a:gd name="connsiteY3" fmla="*/ 2704120 h 2747432"/>
              <a:gd name="connsiteX4" fmla="*/ 4774011 w 4965673"/>
              <a:gd name="connsiteY4" fmla="*/ 2734546 h 2747432"/>
              <a:gd name="connsiteX5" fmla="*/ 4581495 w 4965673"/>
              <a:gd name="connsiteY5" fmla="*/ 2646368 h 2747432"/>
              <a:gd name="connsiteX6" fmla="*/ 4411550 w 4965673"/>
              <a:gd name="connsiteY6" fmla="*/ 2696446 h 2747432"/>
              <a:gd name="connsiteX7" fmla="*/ 4221351 w 4965673"/>
              <a:gd name="connsiteY7" fmla="*/ 2667524 h 2747432"/>
              <a:gd name="connsiteX8" fmla="*/ 4008881 w 4965673"/>
              <a:gd name="connsiteY8" fmla="*/ 2651394 h 2747432"/>
              <a:gd name="connsiteX9" fmla="*/ 3849043 w 4965673"/>
              <a:gd name="connsiteY9" fmla="*/ 2534276 h 2747432"/>
              <a:gd name="connsiteX10" fmla="*/ 3701698 w 4965673"/>
              <a:gd name="connsiteY10" fmla="*/ 2568945 h 2747432"/>
              <a:gd name="connsiteX11" fmla="*/ 3588096 w 4965673"/>
              <a:gd name="connsiteY11" fmla="*/ 2647873 h 2747432"/>
              <a:gd name="connsiteX12" fmla="*/ 3524390 w 4965673"/>
              <a:gd name="connsiteY12" fmla="*/ 2588355 h 2747432"/>
              <a:gd name="connsiteX13" fmla="*/ 3376675 w 4965673"/>
              <a:gd name="connsiteY13" fmla="*/ 2646951 h 2747432"/>
              <a:gd name="connsiteX14" fmla="*/ 3274765 w 4965673"/>
              <a:gd name="connsiteY14" fmla="*/ 2633690 h 2747432"/>
              <a:gd name="connsiteX15" fmla="*/ 3173331 w 4965673"/>
              <a:gd name="connsiteY15" fmla="*/ 2643840 h 2747432"/>
              <a:gd name="connsiteX16" fmla="*/ 3082503 w 4965673"/>
              <a:gd name="connsiteY16" fmla="*/ 2562404 h 2747432"/>
              <a:gd name="connsiteX17" fmla="*/ 2983221 w 4965673"/>
              <a:gd name="connsiteY17" fmla="*/ 2580852 h 2747432"/>
              <a:gd name="connsiteX18" fmla="*/ 2847969 w 4965673"/>
              <a:gd name="connsiteY18" fmla="*/ 2456270 h 2747432"/>
              <a:gd name="connsiteX19" fmla="*/ 2759043 w 4965673"/>
              <a:gd name="connsiteY19" fmla="*/ 2491044 h 2747432"/>
              <a:gd name="connsiteX20" fmla="*/ 2722269 w 4965673"/>
              <a:gd name="connsiteY20" fmla="*/ 2545972 h 2747432"/>
              <a:gd name="connsiteX21" fmla="*/ 2652956 w 4965673"/>
              <a:gd name="connsiteY21" fmla="*/ 2594946 h 2747432"/>
              <a:gd name="connsiteX22" fmla="*/ 2542152 w 4965673"/>
              <a:gd name="connsiteY22" fmla="*/ 2643540 h 2747432"/>
              <a:gd name="connsiteX23" fmla="*/ 2397305 w 4965673"/>
              <a:gd name="connsiteY23" fmla="*/ 2610375 h 2747432"/>
              <a:gd name="connsiteX24" fmla="*/ 2313130 w 4965673"/>
              <a:gd name="connsiteY24" fmla="*/ 2641222 h 2747432"/>
              <a:gd name="connsiteX25" fmla="*/ 2111249 w 4965673"/>
              <a:gd name="connsiteY25" fmla="*/ 2573279 h 2747432"/>
              <a:gd name="connsiteX26" fmla="*/ 1955123 w 4965673"/>
              <a:gd name="connsiteY26" fmla="*/ 2591325 h 2747432"/>
              <a:gd name="connsiteX27" fmla="*/ 1887982 w 4965673"/>
              <a:gd name="connsiteY27" fmla="*/ 2635173 h 2747432"/>
              <a:gd name="connsiteX28" fmla="*/ 1703886 w 4965673"/>
              <a:gd name="connsiteY28" fmla="*/ 2633950 h 2747432"/>
              <a:gd name="connsiteX29" fmla="*/ 1599879 w 4965673"/>
              <a:gd name="connsiteY29" fmla="*/ 2555945 h 2747432"/>
              <a:gd name="connsiteX30" fmla="*/ 1474238 w 4965673"/>
              <a:gd name="connsiteY30" fmla="*/ 2647361 h 2747432"/>
              <a:gd name="connsiteX31" fmla="*/ 1368167 w 4965673"/>
              <a:gd name="connsiteY31" fmla="*/ 2739986 h 2747432"/>
              <a:gd name="connsiteX32" fmla="*/ 1287372 w 4965673"/>
              <a:gd name="connsiteY32" fmla="*/ 2743964 h 2747432"/>
              <a:gd name="connsiteX33" fmla="*/ 1253186 w 4965673"/>
              <a:gd name="connsiteY33" fmla="*/ 2685954 h 2747432"/>
              <a:gd name="connsiteX34" fmla="*/ 1144845 w 4965673"/>
              <a:gd name="connsiteY34" fmla="*/ 2685953 h 2747432"/>
              <a:gd name="connsiteX35" fmla="*/ 1066634 w 4965673"/>
              <a:gd name="connsiteY35" fmla="*/ 2649077 h 2747432"/>
              <a:gd name="connsiteX36" fmla="*/ 971499 w 4965673"/>
              <a:gd name="connsiteY36" fmla="*/ 2690288 h 2747432"/>
              <a:gd name="connsiteX37" fmla="*/ 853115 w 4965673"/>
              <a:gd name="connsiteY37" fmla="*/ 2692529 h 2747432"/>
              <a:gd name="connsiteX38" fmla="*/ 794096 w 4965673"/>
              <a:gd name="connsiteY38" fmla="*/ 2735961 h 2747432"/>
              <a:gd name="connsiteX39" fmla="*/ 725894 w 4965673"/>
              <a:gd name="connsiteY39" fmla="*/ 2692530 h 2747432"/>
              <a:gd name="connsiteX40" fmla="*/ 642142 w 4965673"/>
              <a:gd name="connsiteY40" fmla="*/ 2698955 h 2747432"/>
              <a:gd name="connsiteX41" fmla="*/ 566868 w 4965673"/>
              <a:gd name="connsiteY41" fmla="*/ 2668676 h 2747432"/>
              <a:gd name="connsiteX42" fmla="*/ 499077 w 4965673"/>
              <a:gd name="connsiteY42" fmla="*/ 2608961 h 2747432"/>
              <a:gd name="connsiteX43" fmla="*/ 416792 w 4965673"/>
              <a:gd name="connsiteY43" fmla="*/ 2698955 h 2747432"/>
              <a:gd name="connsiteX44" fmla="*/ 282063 w 4965673"/>
              <a:gd name="connsiteY44" fmla="*/ 2735960 h 2747432"/>
              <a:gd name="connsiteX45" fmla="*/ 169775 w 4965673"/>
              <a:gd name="connsiteY45" fmla="*/ 2711956 h 2747432"/>
              <a:gd name="connsiteX46" fmla="*/ 74711 w 4965673"/>
              <a:gd name="connsiteY46" fmla="*/ 2735255 h 2747432"/>
              <a:gd name="connsiteX47" fmla="*/ 12538 w 4965673"/>
              <a:gd name="connsiteY47" fmla="*/ 2604591 h 2747432"/>
              <a:gd name="connsiteX48" fmla="*/ 0 w 4965673"/>
              <a:gd name="connsiteY48" fmla="*/ 128934 h 2747432"/>
              <a:gd name="connsiteX0" fmla="*/ 0 w 4965673"/>
              <a:gd name="connsiteY0" fmla="*/ 0 h 2618498"/>
              <a:gd name="connsiteX1" fmla="*/ 4964927 w 4965673"/>
              <a:gd name="connsiteY1" fmla="*/ 1085 h 2618498"/>
              <a:gd name="connsiteX2" fmla="*/ 4964928 w 4965673"/>
              <a:gd name="connsiteY2" fmla="*/ 2475657 h 2618498"/>
              <a:gd name="connsiteX3" fmla="*/ 4905857 w 4965673"/>
              <a:gd name="connsiteY3" fmla="*/ 2575186 h 2618498"/>
              <a:gd name="connsiteX4" fmla="*/ 4774011 w 4965673"/>
              <a:gd name="connsiteY4" fmla="*/ 2605612 h 2618498"/>
              <a:gd name="connsiteX5" fmla="*/ 4581495 w 4965673"/>
              <a:gd name="connsiteY5" fmla="*/ 2517434 h 2618498"/>
              <a:gd name="connsiteX6" fmla="*/ 4411550 w 4965673"/>
              <a:gd name="connsiteY6" fmla="*/ 2567512 h 2618498"/>
              <a:gd name="connsiteX7" fmla="*/ 4221351 w 4965673"/>
              <a:gd name="connsiteY7" fmla="*/ 2538590 h 2618498"/>
              <a:gd name="connsiteX8" fmla="*/ 4008881 w 4965673"/>
              <a:gd name="connsiteY8" fmla="*/ 2522460 h 2618498"/>
              <a:gd name="connsiteX9" fmla="*/ 3849043 w 4965673"/>
              <a:gd name="connsiteY9" fmla="*/ 2405342 h 2618498"/>
              <a:gd name="connsiteX10" fmla="*/ 3701698 w 4965673"/>
              <a:gd name="connsiteY10" fmla="*/ 2440011 h 2618498"/>
              <a:gd name="connsiteX11" fmla="*/ 3588096 w 4965673"/>
              <a:gd name="connsiteY11" fmla="*/ 2518939 h 2618498"/>
              <a:gd name="connsiteX12" fmla="*/ 3524390 w 4965673"/>
              <a:gd name="connsiteY12" fmla="*/ 2459421 h 2618498"/>
              <a:gd name="connsiteX13" fmla="*/ 3376675 w 4965673"/>
              <a:gd name="connsiteY13" fmla="*/ 2518017 h 2618498"/>
              <a:gd name="connsiteX14" fmla="*/ 3274765 w 4965673"/>
              <a:gd name="connsiteY14" fmla="*/ 2504756 h 2618498"/>
              <a:gd name="connsiteX15" fmla="*/ 3173331 w 4965673"/>
              <a:gd name="connsiteY15" fmla="*/ 2514906 h 2618498"/>
              <a:gd name="connsiteX16" fmla="*/ 3082503 w 4965673"/>
              <a:gd name="connsiteY16" fmla="*/ 2433470 h 2618498"/>
              <a:gd name="connsiteX17" fmla="*/ 2983221 w 4965673"/>
              <a:gd name="connsiteY17" fmla="*/ 2451918 h 2618498"/>
              <a:gd name="connsiteX18" fmla="*/ 2847969 w 4965673"/>
              <a:gd name="connsiteY18" fmla="*/ 2327336 h 2618498"/>
              <a:gd name="connsiteX19" fmla="*/ 2759043 w 4965673"/>
              <a:gd name="connsiteY19" fmla="*/ 2362110 h 2618498"/>
              <a:gd name="connsiteX20" fmla="*/ 2722269 w 4965673"/>
              <a:gd name="connsiteY20" fmla="*/ 2417038 h 2618498"/>
              <a:gd name="connsiteX21" fmla="*/ 2652956 w 4965673"/>
              <a:gd name="connsiteY21" fmla="*/ 2466012 h 2618498"/>
              <a:gd name="connsiteX22" fmla="*/ 2542152 w 4965673"/>
              <a:gd name="connsiteY22" fmla="*/ 2514606 h 2618498"/>
              <a:gd name="connsiteX23" fmla="*/ 2397305 w 4965673"/>
              <a:gd name="connsiteY23" fmla="*/ 2481441 h 2618498"/>
              <a:gd name="connsiteX24" fmla="*/ 2313130 w 4965673"/>
              <a:gd name="connsiteY24" fmla="*/ 2512288 h 2618498"/>
              <a:gd name="connsiteX25" fmla="*/ 2111249 w 4965673"/>
              <a:gd name="connsiteY25" fmla="*/ 2444345 h 2618498"/>
              <a:gd name="connsiteX26" fmla="*/ 1955123 w 4965673"/>
              <a:gd name="connsiteY26" fmla="*/ 2462391 h 2618498"/>
              <a:gd name="connsiteX27" fmla="*/ 1887982 w 4965673"/>
              <a:gd name="connsiteY27" fmla="*/ 2506239 h 2618498"/>
              <a:gd name="connsiteX28" fmla="*/ 1703886 w 4965673"/>
              <a:gd name="connsiteY28" fmla="*/ 2505016 h 2618498"/>
              <a:gd name="connsiteX29" fmla="*/ 1599879 w 4965673"/>
              <a:gd name="connsiteY29" fmla="*/ 2427011 h 2618498"/>
              <a:gd name="connsiteX30" fmla="*/ 1474238 w 4965673"/>
              <a:gd name="connsiteY30" fmla="*/ 2518427 h 2618498"/>
              <a:gd name="connsiteX31" fmla="*/ 1368167 w 4965673"/>
              <a:gd name="connsiteY31" fmla="*/ 2611052 h 2618498"/>
              <a:gd name="connsiteX32" fmla="*/ 1287372 w 4965673"/>
              <a:gd name="connsiteY32" fmla="*/ 2615030 h 2618498"/>
              <a:gd name="connsiteX33" fmla="*/ 1253186 w 4965673"/>
              <a:gd name="connsiteY33" fmla="*/ 2557020 h 2618498"/>
              <a:gd name="connsiteX34" fmla="*/ 1144845 w 4965673"/>
              <a:gd name="connsiteY34" fmla="*/ 2557019 h 2618498"/>
              <a:gd name="connsiteX35" fmla="*/ 1066634 w 4965673"/>
              <a:gd name="connsiteY35" fmla="*/ 2520143 h 2618498"/>
              <a:gd name="connsiteX36" fmla="*/ 971499 w 4965673"/>
              <a:gd name="connsiteY36" fmla="*/ 2561354 h 2618498"/>
              <a:gd name="connsiteX37" fmla="*/ 853115 w 4965673"/>
              <a:gd name="connsiteY37" fmla="*/ 2563595 h 2618498"/>
              <a:gd name="connsiteX38" fmla="*/ 794096 w 4965673"/>
              <a:gd name="connsiteY38" fmla="*/ 2607027 h 2618498"/>
              <a:gd name="connsiteX39" fmla="*/ 725894 w 4965673"/>
              <a:gd name="connsiteY39" fmla="*/ 2563596 h 2618498"/>
              <a:gd name="connsiteX40" fmla="*/ 642142 w 4965673"/>
              <a:gd name="connsiteY40" fmla="*/ 2570021 h 2618498"/>
              <a:gd name="connsiteX41" fmla="*/ 566868 w 4965673"/>
              <a:gd name="connsiteY41" fmla="*/ 2539742 h 2618498"/>
              <a:gd name="connsiteX42" fmla="*/ 499077 w 4965673"/>
              <a:gd name="connsiteY42" fmla="*/ 2480027 h 2618498"/>
              <a:gd name="connsiteX43" fmla="*/ 416792 w 4965673"/>
              <a:gd name="connsiteY43" fmla="*/ 2570021 h 2618498"/>
              <a:gd name="connsiteX44" fmla="*/ 282063 w 4965673"/>
              <a:gd name="connsiteY44" fmla="*/ 2607026 h 2618498"/>
              <a:gd name="connsiteX45" fmla="*/ 169775 w 4965673"/>
              <a:gd name="connsiteY45" fmla="*/ 2583022 h 2618498"/>
              <a:gd name="connsiteX46" fmla="*/ 74711 w 4965673"/>
              <a:gd name="connsiteY46" fmla="*/ 2606321 h 2618498"/>
              <a:gd name="connsiteX47" fmla="*/ 12538 w 4965673"/>
              <a:gd name="connsiteY47" fmla="*/ 2475657 h 2618498"/>
              <a:gd name="connsiteX48" fmla="*/ 0 w 4965673"/>
              <a:gd name="connsiteY48" fmla="*/ 0 h 2618498"/>
              <a:gd name="connsiteX0" fmla="*/ 2759 w 4968432"/>
              <a:gd name="connsiteY0" fmla="*/ 0 h 2618498"/>
              <a:gd name="connsiteX1" fmla="*/ 4967686 w 4968432"/>
              <a:gd name="connsiteY1" fmla="*/ 1085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4968432"/>
              <a:gd name="connsiteY0" fmla="*/ 0 h 2618498"/>
              <a:gd name="connsiteX1" fmla="*/ 4788963 w 4968432"/>
              <a:gd name="connsiteY1" fmla="*/ 224491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4973271"/>
              <a:gd name="connsiteY0" fmla="*/ 0 h 2618498"/>
              <a:gd name="connsiteX1" fmla="*/ 4973271 w 4973271"/>
              <a:gd name="connsiteY1" fmla="*/ 12258 h 2618498"/>
              <a:gd name="connsiteX2" fmla="*/ 4967687 w 4973271"/>
              <a:gd name="connsiteY2" fmla="*/ 2475657 h 2618498"/>
              <a:gd name="connsiteX3" fmla="*/ 4908616 w 4973271"/>
              <a:gd name="connsiteY3" fmla="*/ 2575186 h 2618498"/>
              <a:gd name="connsiteX4" fmla="*/ 4776770 w 4973271"/>
              <a:gd name="connsiteY4" fmla="*/ 2605612 h 2618498"/>
              <a:gd name="connsiteX5" fmla="*/ 4584254 w 4973271"/>
              <a:gd name="connsiteY5" fmla="*/ 2517434 h 2618498"/>
              <a:gd name="connsiteX6" fmla="*/ 4414309 w 4973271"/>
              <a:gd name="connsiteY6" fmla="*/ 2567512 h 2618498"/>
              <a:gd name="connsiteX7" fmla="*/ 4224110 w 4973271"/>
              <a:gd name="connsiteY7" fmla="*/ 2538590 h 2618498"/>
              <a:gd name="connsiteX8" fmla="*/ 4011640 w 4973271"/>
              <a:gd name="connsiteY8" fmla="*/ 2522460 h 2618498"/>
              <a:gd name="connsiteX9" fmla="*/ 3851802 w 4973271"/>
              <a:gd name="connsiteY9" fmla="*/ 2405342 h 2618498"/>
              <a:gd name="connsiteX10" fmla="*/ 3704457 w 4973271"/>
              <a:gd name="connsiteY10" fmla="*/ 2440011 h 2618498"/>
              <a:gd name="connsiteX11" fmla="*/ 3590855 w 4973271"/>
              <a:gd name="connsiteY11" fmla="*/ 2518939 h 2618498"/>
              <a:gd name="connsiteX12" fmla="*/ 3527149 w 4973271"/>
              <a:gd name="connsiteY12" fmla="*/ 2459421 h 2618498"/>
              <a:gd name="connsiteX13" fmla="*/ 3379434 w 4973271"/>
              <a:gd name="connsiteY13" fmla="*/ 2518017 h 2618498"/>
              <a:gd name="connsiteX14" fmla="*/ 3277524 w 4973271"/>
              <a:gd name="connsiteY14" fmla="*/ 2504756 h 2618498"/>
              <a:gd name="connsiteX15" fmla="*/ 3176090 w 4973271"/>
              <a:gd name="connsiteY15" fmla="*/ 2514906 h 2618498"/>
              <a:gd name="connsiteX16" fmla="*/ 3085262 w 4973271"/>
              <a:gd name="connsiteY16" fmla="*/ 2433470 h 2618498"/>
              <a:gd name="connsiteX17" fmla="*/ 2985980 w 4973271"/>
              <a:gd name="connsiteY17" fmla="*/ 2451918 h 2618498"/>
              <a:gd name="connsiteX18" fmla="*/ 2850728 w 4973271"/>
              <a:gd name="connsiteY18" fmla="*/ 2327336 h 2618498"/>
              <a:gd name="connsiteX19" fmla="*/ 2761802 w 4973271"/>
              <a:gd name="connsiteY19" fmla="*/ 2362110 h 2618498"/>
              <a:gd name="connsiteX20" fmla="*/ 2725028 w 4973271"/>
              <a:gd name="connsiteY20" fmla="*/ 2417038 h 2618498"/>
              <a:gd name="connsiteX21" fmla="*/ 2655715 w 4973271"/>
              <a:gd name="connsiteY21" fmla="*/ 2466012 h 2618498"/>
              <a:gd name="connsiteX22" fmla="*/ 2544911 w 4973271"/>
              <a:gd name="connsiteY22" fmla="*/ 2514606 h 2618498"/>
              <a:gd name="connsiteX23" fmla="*/ 2400064 w 4973271"/>
              <a:gd name="connsiteY23" fmla="*/ 2481441 h 2618498"/>
              <a:gd name="connsiteX24" fmla="*/ 2315889 w 4973271"/>
              <a:gd name="connsiteY24" fmla="*/ 2512288 h 2618498"/>
              <a:gd name="connsiteX25" fmla="*/ 2114008 w 4973271"/>
              <a:gd name="connsiteY25" fmla="*/ 2444345 h 2618498"/>
              <a:gd name="connsiteX26" fmla="*/ 1957882 w 4973271"/>
              <a:gd name="connsiteY26" fmla="*/ 2462391 h 2618498"/>
              <a:gd name="connsiteX27" fmla="*/ 1890741 w 4973271"/>
              <a:gd name="connsiteY27" fmla="*/ 2506239 h 2618498"/>
              <a:gd name="connsiteX28" fmla="*/ 1706645 w 4973271"/>
              <a:gd name="connsiteY28" fmla="*/ 2505016 h 2618498"/>
              <a:gd name="connsiteX29" fmla="*/ 1602638 w 4973271"/>
              <a:gd name="connsiteY29" fmla="*/ 2427011 h 2618498"/>
              <a:gd name="connsiteX30" fmla="*/ 1476997 w 4973271"/>
              <a:gd name="connsiteY30" fmla="*/ 2518427 h 2618498"/>
              <a:gd name="connsiteX31" fmla="*/ 1370926 w 4973271"/>
              <a:gd name="connsiteY31" fmla="*/ 2611052 h 2618498"/>
              <a:gd name="connsiteX32" fmla="*/ 1290131 w 4973271"/>
              <a:gd name="connsiteY32" fmla="*/ 2615030 h 2618498"/>
              <a:gd name="connsiteX33" fmla="*/ 1255945 w 4973271"/>
              <a:gd name="connsiteY33" fmla="*/ 2557020 h 2618498"/>
              <a:gd name="connsiteX34" fmla="*/ 1147604 w 4973271"/>
              <a:gd name="connsiteY34" fmla="*/ 2557019 h 2618498"/>
              <a:gd name="connsiteX35" fmla="*/ 1069393 w 4973271"/>
              <a:gd name="connsiteY35" fmla="*/ 2520143 h 2618498"/>
              <a:gd name="connsiteX36" fmla="*/ 974258 w 4973271"/>
              <a:gd name="connsiteY36" fmla="*/ 2561354 h 2618498"/>
              <a:gd name="connsiteX37" fmla="*/ 855874 w 4973271"/>
              <a:gd name="connsiteY37" fmla="*/ 2563595 h 2618498"/>
              <a:gd name="connsiteX38" fmla="*/ 796855 w 4973271"/>
              <a:gd name="connsiteY38" fmla="*/ 2607027 h 2618498"/>
              <a:gd name="connsiteX39" fmla="*/ 728653 w 4973271"/>
              <a:gd name="connsiteY39" fmla="*/ 2563596 h 2618498"/>
              <a:gd name="connsiteX40" fmla="*/ 644901 w 4973271"/>
              <a:gd name="connsiteY40" fmla="*/ 2570021 h 2618498"/>
              <a:gd name="connsiteX41" fmla="*/ 569627 w 4973271"/>
              <a:gd name="connsiteY41" fmla="*/ 2539742 h 2618498"/>
              <a:gd name="connsiteX42" fmla="*/ 501836 w 4973271"/>
              <a:gd name="connsiteY42" fmla="*/ 2480027 h 2618498"/>
              <a:gd name="connsiteX43" fmla="*/ 419551 w 4973271"/>
              <a:gd name="connsiteY43" fmla="*/ 2570021 h 2618498"/>
              <a:gd name="connsiteX44" fmla="*/ 284822 w 4973271"/>
              <a:gd name="connsiteY44" fmla="*/ 2607026 h 2618498"/>
              <a:gd name="connsiteX45" fmla="*/ 172534 w 4973271"/>
              <a:gd name="connsiteY45" fmla="*/ 2583022 h 2618498"/>
              <a:gd name="connsiteX46" fmla="*/ 77470 w 4973271"/>
              <a:gd name="connsiteY46" fmla="*/ 2606321 h 2618498"/>
              <a:gd name="connsiteX47" fmla="*/ 15297 w 4973271"/>
              <a:gd name="connsiteY47" fmla="*/ 2475657 h 2618498"/>
              <a:gd name="connsiteX48" fmla="*/ 2759 w 4973271"/>
              <a:gd name="connsiteY48" fmla="*/ 0 h 2618498"/>
              <a:gd name="connsiteX0" fmla="*/ 2759 w 4973276"/>
              <a:gd name="connsiteY0" fmla="*/ 0 h 2618498"/>
              <a:gd name="connsiteX1" fmla="*/ 4973271 w 4973276"/>
              <a:gd name="connsiteY1" fmla="*/ 12258 h 2618498"/>
              <a:gd name="connsiteX2" fmla="*/ 4967687 w 4973276"/>
              <a:gd name="connsiteY2" fmla="*/ 2475657 h 2618498"/>
              <a:gd name="connsiteX3" fmla="*/ 4908616 w 4973276"/>
              <a:gd name="connsiteY3" fmla="*/ 2575186 h 2618498"/>
              <a:gd name="connsiteX4" fmla="*/ 4776770 w 4973276"/>
              <a:gd name="connsiteY4" fmla="*/ 2605612 h 2618498"/>
              <a:gd name="connsiteX5" fmla="*/ 4584254 w 4973276"/>
              <a:gd name="connsiteY5" fmla="*/ 2517434 h 2618498"/>
              <a:gd name="connsiteX6" fmla="*/ 4414309 w 4973276"/>
              <a:gd name="connsiteY6" fmla="*/ 2567512 h 2618498"/>
              <a:gd name="connsiteX7" fmla="*/ 4224110 w 4973276"/>
              <a:gd name="connsiteY7" fmla="*/ 2538590 h 2618498"/>
              <a:gd name="connsiteX8" fmla="*/ 4011640 w 4973276"/>
              <a:gd name="connsiteY8" fmla="*/ 2522460 h 2618498"/>
              <a:gd name="connsiteX9" fmla="*/ 3851802 w 4973276"/>
              <a:gd name="connsiteY9" fmla="*/ 2405342 h 2618498"/>
              <a:gd name="connsiteX10" fmla="*/ 3704457 w 4973276"/>
              <a:gd name="connsiteY10" fmla="*/ 2440011 h 2618498"/>
              <a:gd name="connsiteX11" fmla="*/ 3590855 w 4973276"/>
              <a:gd name="connsiteY11" fmla="*/ 2518939 h 2618498"/>
              <a:gd name="connsiteX12" fmla="*/ 3527149 w 4973276"/>
              <a:gd name="connsiteY12" fmla="*/ 2459421 h 2618498"/>
              <a:gd name="connsiteX13" fmla="*/ 3379434 w 4973276"/>
              <a:gd name="connsiteY13" fmla="*/ 2518017 h 2618498"/>
              <a:gd name="connsiteX14" fmla="*/ 3277524 w 4973276"/>
              <a:gd name="connsiteY14" fmla="*/ 2504756 h 2618498"/>
              <a:gd name="connsiteX15" fmla="*/ 3176090 w 4973276"/>
              <a:gd name="connsiteY15" fmla="*/ 2514906 h 2618498"/>
              <a:gd name="connsiteX16" fmla="*/ 3085262 w 4973276"/>
              <a:gd name="connsiteY16" fmla="*/ 2433470 h 2618498"/>
              <a:gd name="connsiteX17" fmla="*/ 2985980 w 4973276"/>
              <a:gd name="connsiteY17" fmla="*/ 2451918 h 2618498"/>
              <a:gd name="connsiteX18" fmla="*/ 2850728 w 4973276"/>
              <a:gd name="connsiteY18" fmla="*/ 2327336 h 2618498"/>
              <a:gd name="connsiteX19" fmla="*/ 2761802 w 4973276"/>
              <a:gd name="connsiteY19" fmla="*/ 2362110 h 2618498"/>
              <a:gd name="connsiteX20" fmla="*/ 2725028 w 4973276"/>
              <a:gd name="connsiteY20" fmla="*/ 2417038 h 2618498"/>
              <a:gd name="connsiteX21" fmla="*/ 2655715 w 4973276"/>
              <a:gd name="connsiteY21" fmla="*/ 2466012 h 2618498"/>
              <a:gd name="connsiteX22" fmla="*/ 2544911 w 4973276"/>
              <a:gd name="connsiteY22" fmla="*/ 2514606 h 2618498"/>
              <a:gd name="connsiteX23" fmla="*/ 2400064 w 4973276"/>
              <a:gd name="connsiteY23" fmla="*/ 2481441 h 2618498"/>
              <a:gd name="connsiteX24" fmla="*/ 2315889 w 4973276"/>
              <a:gd name="connsiteY24" fmla="*/ 2512288 h 2618498"/>
              <a:gd name="connsiteX25" fmla="*/ 2114008 w 4973276"/>
              <a:gd name="connsiteY25" fmla="*/ 2444345 h 2618498"/>
              <a:gd name="connsiteX26" fmla="*/ 1957882 w 4973276"/>
              <a:gd name="connsiteY26" fmla="*/ 2462391 h 2618498"/>
              <a:gd name="connsiteX27" fmla="*/ 1890741 w 4973276"/>
              <a:gd name="connsiteY27" fmla="*/ 2506239 h 2618498"/>
              <a:gd name="connsiteX28" fmla="*/ 1706645 w 4973276"/>
              <a:gd name="connsiteY28" fmla="*/ 2505016 h 2618498"/>
              <a:gd name="connsiteX29" fmla="*/ 1602638 w 4973276"/>
              <a:gd name="connsiteY29" fmla="*/ 2427011 h 2618498"/>
              <a:gd name="connsiteX30" fmla="*/ 1476997 w 4973276"/>
              <a:gd name="connsiteY30" fmla="*/ 2518427 h 2618498"/>
              <a:gd name="connsiteX31" fmla="*/ 1370926 w 4973276"/>
              <a:gd name="connsiteY31" fmla="*/ 2611052 h 2618498"/>
              <a:gd name="connsiteX32" fmla="*/ 1290131 w 4973276"/>
              <a:gd name="connsiteY32" fmla="*/ 2615030 h 2618498"/>
              <a:gd name="connsiteX33" fmla="*/ 1255945 w 4973276"/>
              <a:gd name="connsiteY33" fmla="*/ 2557020 h 2618498"/>
              <a:gd name="connsiteX34" fmla="*/ 1147604 w 4973276"/>
              <a:gd name="connsiteY34" fmla="*/ 2557019 h 2618498"/>
              <a:gd name="connsiteX35" fmla="*/ 1069393 w 4973276"/>
              <a:gd name="connsiteY35" fmla="*/ 2520143 h 2618498"/>
              <a:gd name="connsiteX36" fmla="*/ 974258 w 4973276"/>
              <a:gd name="connsiteY36" fmla="*/ 2561354 h 2618498"/>
              <a:gd name="connsiteX37" fmla="*/ 855874 w 4973276"/>
              <a:gd name="connsiteY37" fmla="*/ 2563595 h 2618498"/>
              <a:gd name="connsiteX38" fmla="*/ 796855 w 4973276"/>
              <a:gd name="connsiteY38" fmla="*/ 2607027 h 2618498"/>
              <a:gd name="connsiteX39" fmla="*/ 728653 w 4973276"/>
              <a:gd name="connsiteY39" fmla="*/ 2563596 h 2618498"/>
              <a:gd name="connsiteX40" fmla="*/ 644901 w 4973276"/>
              <a:gd name="connsiteY40" fmla="*/ 2570021 h 2618498"/>
              <a:gd name="connsiteX41" fmla="*/ 569627 w 4973276"/>
              <a:gd name="connsiteY41" fmla="*/ 2539742 h 2618498"/>
              <a:gd name="connsiteX42" fmla="*/ 501836 w 4973276"/>
              <a:gd name="connsiteY42" fmla="*/ 2480027 h 2618498"/>
              <a:gd name="connsiteX43" fmla="*/ 419551 w 4973276"/>
              <a:gd name="connsiteY43" fmla="*/ 2570021 h 2618498"/>
              <a:gd name="connsiteX44" fmla="*/ 284822 w 4973276"/>
              <a:gd name="connsiteY44" fmla="*/ 2607026 h 2618498"/>
              <a:gd name="connsiteX45" fmla="*/ 172534 w 4973276"/>
              <a:gd name="connsiteY45" fmla="*/ 2583022 h 2618498"/>
              <a:gd name="connsiteX46" fmla="*/ 77470 w 4973276"/>
              <a:gd name="connsiteY46" fmla="*/ 2606321 h 2618498"/>
              <a:gd name="connsiteX47" fmla="*/ 15297 w 4973276"/>
              <a:gd name="connsiteY47" fmla="*/ 2475657 h 2618498"/>
              <a:gd name="connsiteX48" fmla="*/ 2759 w 4973276"/>
              <a:gd name="connsiteY48" fmla="*/ 0 h 2618498"/>
              <a:gd name="connsiteX0" fmla="*/ 2759 w 4968432"/>
              <a:gd name="connsiteY0" fmla="*/ 0 h 2618498"/>
              <a:gd name="connsiteX1" fmla="*/ 4766621 w 4968432"/>
              <a:gd name="connsiteY1" fmla="*/ 246833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5017954"/>
              <a:gd name="connsiteY0" fmla="*/ 1000 h 2619498"/>
              <a:gd name="connsiteX1" fmla="*/ 4766621 w 5017954"/>
              <a:gd name="connsiteY1" fmla="*/ 247833 h 2619498"/>
              <a:gd name="connsiteX2" fmla="*/ 4967687 w 5017954"/>
              <a:gd name="connsiteY2" fmla="*/ 2476657 h 2619498"/>
              <a:gd name="connsiteX3" fmla="*/ 4908616 w 5017954"/>
              <a:gd name="connsiteY3" fmla="*/ 2576186 h 2619498"/>
              <a:gd name="connsiteX4" fmla="*/ 4776770 w 5017954"/>
              <a:gd name="connsiteY4" fmla="*/ 2606612 h 2619498"/>
              <a:gd name="connsiteX5" fmla="*/ 4584254 w 5017954"/>
              <a:gd name="connsiteY5" fmla="*/ 2518434 h 2619498"/>
              <a:gd name="connsiteX6" fmla="*/ 4414309 w 5017954"/>
              <a:gd name="connsiteY6" fmla="*/ 2568512 h 2619498"/>
              <a:gd name="connsiteX7" fmla="*/ 4224110 w 5017954"/>
              <a:gd name="connsiteY7" fmla="*/ 2539590 h 2619498"/>
              <a:gd name="connsiteX8" fmla="*/ 4011640 w 5017954"/>
              <a:gd name="connsiteY8" fmla="*/ 2523460 h 2619498"/>
              <a:gd name="connsiteX9" fmla="*/ 3851802 w 5017954"/>
              <a:gd name="connsiteY9" fmla="*/ 2406342 h 2619498"/>
              <a:gd name="connsiteX10" fmla="*/ 3704457 w 5017954"/>
              <a:gd name="connsiteY10" fmla="*/ 2441011 h 2619498"/>
              <a:gd name="connsiteX11" fmla="*/ 3590855 w 5017954"/>
              <a:gd name="connsiteY11" fmla="*/ 2519939 h 2619498"/>
              <a:gd name="connsiteX12" fmla="*/ 3527149 w 5017954"/>
              <a:gd name="connsiteY12" fmla="*/ 2460421 h 2619498"/>
              <a:gd name="connsiteX13" fmla="*/ 3379434 w 5017954"/>
              <a:gd name="connsiteY13" fmla="*/ 2519017 h 2619498"/>
              <a:gd name="connsiteX14" fmla="*/ 3277524 w 5017954"/>
              <a:gd name="connsiteY14" fmla="*/ 2505756 h 2619498"/>
              <a:gd name="connsiteX15" fmla="*/ 3176090 w 5017954"/>
              <a:gd name="connsiteY15" fmla="*/ 2515906 h 2619498"/>
              <a:gd name="connsiteX16" fmla="*/ 3085262 w 5017954"/>
              <a:gd name="connsiteY16" fmla="*/ 2434470 h 2619498"/>
              <a:gd name="connsiteX17" fmla="*/ 2985980 w 5017954"/>
              <a:gd name="connsiteY17" fmla="*/ 2452918 h 2619498"/>
              <a:gd name="connsiteX18" fmla="*/ 2850728 w 5017954"/>
              <a:gd name="connsiteY18" fmla="*/ 2328336 h 2619498"/>
              <a:gd name="connsiteX19" fmla="*/ 2761802 w 5017954"/>
              <a:gd name="connsiteY19" fmla="*/ 2363110 h 2619498"/>
              <a:gd name="connsiteX20" fmla="*/ 2725028 w 5017954"/>
              <a:gd name="connsiteY20" fmla="*/ 2418038 h 2619498"/>
              <a:gd name="connsiteX21" fmla="*/ 2655715 w 5017954"/>
              <a:gd name="connsiteY21" fmla="*/ 2467012 h 2619498"/>
              <a:gd name="connsiteX22" fmla="*/ 2544911 w 5017954"/>
              <a:gd name="connsiteY22" fmla="*/ 2515606 h 2619498"/>
              <a:gd name="connsiteX23" fmla="*/ 2400064 w 5017954"/>
              <a:gd name="connsiteY23" fmla="*/ 2482441 h 2619498"/>
              <a:gd name="connsiteX24" fmla="*/ 2315889 w 5017954"/>
              <a:gd name="connsiteY24" fmla="*/ 2513288 h 2619498"/>
              <a:gd name="connsiteX25" fmla="*/ 2114008 w 5017954"/>
              <a:gd name="connsiteY25" fmla="*/ 2445345 h 2619498"/>
              <a:gd name="connsiteX26" fmla="*/ 1957882 w 5017954"/>
              <a:gd name="connsiteY26" fmla="*/ 2463391 h 2619498"/>
              <a:gd name="connsiteX27" fmla="*/ 1890741 w 5017954"/>
              <a:gd name="connsiteY27" fmla="*/ 2507239 h 2619498"/>
              <a:gd name="connsiteX28" fmla="*/ 1706645 w 5017954"/>
              <a:gd name="connsiteY28" fmla="*/ 2506016 h 2619498"/>
              <a:gd name="connsiteX29" fmla="*/ 1602638 w 5017954"/>
              <a:gd name="connsiteY29" fmla="*/ 2428011 h 2619498"/>
              <a:gd name="connsiteX30" fmla="*/ 1476997 w 5017954"/>
              <a:gd name="connsiteY30" fmla="*/ 2519427 h 2619498"/>
              <a:gd name="connsiteX31" fmla="*/ 1370926 w 5017954"/>
              <a:gd name="connsiteY31" fmla="*/ 2612052 h 2619498"/>
              <a:gd name="connsiteX32" fmla="*/ 1290131 w 5017954"/>
              <a:gd name="connsiteY32" fmla="*/ 2616030 h 2619498"/>
              <a:gd name="connsiteX33" fmla="*/ 1255945 w 5017954"/>
              <a:gd name="connsiteY33" fmla="*/ 2558020 h 2619498"/>
              <a:gd name="connsiteX34" fmla="*/ 1147604 w 5017954"/>
              <a:gd name="connsiteY34" fmla="*/ 2558019 h 2619498"/>
              <a:gd name="connsiteX35" fmla="*/ 1069393 w 5017954"/>
              <a:gd name="connsiteY35" fmla="*/ 2521143 h 2619498"/>
              <a:gd name="connsiteX36" fmla="*/ 974258 w 5017954"/>
              <a:gd name="connsiteY36" fmla="*/ 2562354 h 2619498"/>
              <a:gd name="connsiteX37" fmla="*/ 855874 w 5017954"/>
              <a:gd name="connsiteY37" fmla="*/ 2564595 h 2619498"/>
              <a:gd name="connsiteX38" fmla="*/ 796855 w 5017954"/>
              <a:gd name="connsiteY38" fmla="*/ 2608027 h 2619498"/>
              <a:gd name="connsiteX39" fmla="*/ 728653 w 5017954"/>
              <a:gd name="connsiteY39" fmla="*/ 2564596 h 2619498"/>
              <a:gd name="connsiteX40" fmla="*/ 644901 w 5017954"/>
              <a:gd name="connsiteY40" fmla="*/ 2571021 h 2619498"/>
              <a:gd name="connsiteX41" fmla="*/ 569627 w 5017954"/>
              <a:gd name="connsiteY41" fmla="*/ 2540742 h 2619498"/>
              <a:gd name="connsiteX42" fmla="*/ 501836 w 5017954"/>
              <a:gd name="connsiteY42" fmla="*/ 2481027 h 2619498"/>
              <a:gd name="connsiteX43" fmla="*/ 419551 w 5017954"/>
              <a:gd name="connsiteY43" fmla="*/ 2571021 h 2619498"/>
              <a:gd name="connsiteX44" fmla="*/ 284822 w 5017954"/>
              <a:gd name="connsiteY44" fmla="*/ 2608026 h 2619498"/>
              <a:gd name="connsiteX45" fmla="*/ 172534 w 5017954"/>
              <a:gd name="connsiteY45" fmla="*/ 2584022 h 2619498"/>
              <a:gd name="connsiteX46" fmla="*/ 77470 w 5017954"/>
              <a:gd name="connsiteY46" fmla="*/ 2607321 h 2619498"/>
              <a:gd name="connsiteX47" fmla="*/ 15297 w 5017954"/>
              <a:gd name="connsiteY47" fmla="*/ 2476657 h 2619498"/>
              <a:gd name="connsiteX48" fmla="*/ 2759 w 5017954"/>
              <a:gd name="connsiteY48" fmla="*/ 1000 h 2619498"/>
              <a:gd name="connsiteX0" fmla="*/ 2759 w 5146412"/>
              <a:gd name="connsiteY0" fmla="*/ 599254 h 3217752"/>
              <a:gd name="connsiteX1" fmla="*/ 4967686 w 5146412"/>
              <a:gd name="connsiteY1" fmla="*/ 58581 h 3217752"/>
              <a:gd name="connsiteX2" fmla="*/ 4967687 w 5146412"/>
              <a:gd name="connsiteY2" fmla="*/ 3074911 h 3217752"/>
              <a:gd name="connsiteX3" fmla="*/ 4908616 w 5146412"/>
              <a:gd name="connsiteY3" fmla="*/ 3174440 h 3217752"/>
              <a:gd name="connsiteX4" fmla="*/ 4776770 w 5146412"/>
              <a:gd name="connsiteY4" fmla="*/ 3204866 h 3217752"/>
              <a:gd name="connsiteX5" fmla="*/ 4584254 w 5146412"/>
              <a:gd name="connsiteY5" fmla="*/ 3116688 h 3217752"/>
              <a:gd name="connsiteX6" fmla="*/ 4414309 w 5146412"/>
              <a:gd name="connsiteY6" fmla="*/ 3166766 h 3217752"/>
              <a:gd name="connsiteX7" fmla="*/ 4224110 w 5146412"/>
              <a:gd name="connsiteY7" fmla="*/ 3137844 h 3217752"/>
              <a:gd name="connsiteX8" fmla="*/ 4011640 w 5146412"/>
              <a:gd name="connsiteY8" fmla="*/ 3121714 h 3217752"/>
              <a:gd name="connsiteX9" fmla="*/ 3851802 w 5146412"/>
              <a:gd name="connsiteY9" fmla="*/ 3004596 h 3217752"/>
              <a:gd name="connsiteX10" fmla="*/ 3704457 w 5146412"/>
              <a:gd name="connsiteY10" fmla="*/ 3039265 h 3217752"/>
              <a:gd name="connsiteX11" fmla="*/ 3590855 w 5146412"/>
              <a:gd name="connsiteY11" fmla="*/ 3118193 h 3217752"/>
              <a:gd name="connsiteX12" fmla="*/ 3527149 w 5146412"/>
              <a:gd name="connsiteY12" fmla="*/ 3058675 h 3217752"/>
              <a:gd name="connsiteX13" fmla="*/ 3379434 w 5146412"/>
              <a:gd name="connsiteY13" fmla="*/ 3117271 h 3217752"/>
              <a:gd name="connsiteX14" fmla="*/ 3277524 w 5146412"/>
              <a:gd name="connsiteY14" fmla="*/ 3104010 h 3217752"/>
              <a:gd name="connsiteX15" fmla="*/ 3176090 w 5146412"/>
              <a:gd name="connsiteY15" fmla="*/ 3114160 h 3217752"/>
              <a:gd name="connsiteX16" fmla="*/ 3085262 w 5146412"/>
              <a:gd name="connsiteY16" fmla="*/ 3032724 h 3217752"/>
              <a:gd name="connsiteX17" fmla="*/ 2985980 w 5146412"/>
              <a:gd name="connsiteY17" fmla="*/ 3051172 h 3217752"/>
              <a:gd name="connsiteX18" fmla="*/ 2850728 w 5146412"/>
              <a:gd name="connsiteY18" fmla="*/ 2926590 h 3217752"/>
              <a:gd name="connsiteX19" fmla="*/ 2761802 w 5146412"/>
              <a:gd name="connsiteY19" fmla="*/ 2961364 h 3217752"/>
              <a:gd name="connsiteX20" fmla="*/ 2725028 w 5146412"/>
              <a:gd name="connsiteY20" fmla="*/ 3016292 h 3217752"/>
              <a:gd name="connsiteX21" fmla="*/ 2655715 w 5146412"/>
              <a:gd name="connsiteY21" fmla="*/ 3065266 h 3217752"/>
              <a:gd name="connsiteX22" fmla="*/ 2544911 w 5146412"/>
              <a:gd name="connsiteY22" fmla="*/ 3113860 h 3217752"/>
              <a:gd name="connsiteX23" fmla="*/ 2400064 w 5146412"/>
              <a:gd name="connsiteY23" fmla="*/ 3080695 h 3217752"/>
              <a:gd name="connsiteX24" fmla="*/ 2315889 w 5146412"/>
              <a:gd name="connsiteY24" fmla="*/ 3111542 h 3217752"/>
              <a:gd name="connsiteX25" fmla="*/ 2114008 w 5146412"/>
              <a:gd name="connsiteY25" fmla="*/ 3043599 h 3217752"/>
              <a:gd name="connsiteX26" fmla="*/ 1957882 w 5146412"/>
              <a:gd name="connsiteY26" fmla="*/ 3061645 h 3217752"/>
              <a:gd name="connsiteX27" fmla="*/ 1890741 w 5146412"/>
              <a:gd name="connsiteY27" fmla="*/ 3105493 h 3217752"/>
              <a:gd name="connsiteX28" fmla="*/ 1706645 w 5146412"/>
              <a:gd name="connsiteY28" fmla="*/ 3104270 h 3217752"/>
              <a:gd name="connsiteX29" fmla="*/ 1602638 w 5146412"/>
              <a:gd name="connsiteY29" fmla="*/ 3026265 h 3217752"/>
              <a:gd name="connsiteX30" fmla="*/ 1476997 w 5146412"/>
              <a:gd name="connsiteY30" fmla="*/ 3117681 h 3217752"/>
              <a:gd name="connsiteX31" fmla="*/ 1370926 w 5146412"/>
              <a:gd name="connsiteY31" fmla="*/ 3210306 h 3217752"/>
              <a:gd name="connsiteX32" fmla="*/ 1290131 w 5146412"/>
              <a:gd name="connsiteY32" fmla="*/ 3214284 h 3217752"/>
              <a:gd name="connsiteX33" fmla="*/ 1255945 w 5146412"/>
              <a:gd name="connsiteY33" fmla="*/ 3156274 h 3217752"/>
              <a:gd name="connsiteX34" fmla="*/ 1147604 w 5146412"/>
              <a:gd name="connsiteY34" fmla="*/ 3156273 h 3217752"/>
              <a:gd name="connsiteX35" fmla="*/ 1069393 w 5146412"/>
              <a:gd name="connsiteY35" fmla="*/ 3119397 h 3217752"/>
              <a:gd name="connsiteX36" fmla="*/ 974258 w 5146412"/>
              <a:gd name="connsiteY36" fmla="*/ 3160608 h 3217752"/>
              <a:gd name="connsiteX37" fmla="*/ 855874 w 5146412"/>
              <a:gd name="connsiteY37" fmla="*/ 3162849 h 3217752"/>
              <a:gd name="connsiteX38" fmla="*/ 796855 w 5146412"/>
              <a:gd name="connsiteY38" fmla="*/ 3206281 h 3217752"/>
              <a:gd name="connsiteX39" fmla="*/ 728653 w 5146412"/>
              <a:gd name="connsiteY39" fmla="*/ 3162850 h 3217752"/>
              <a:gd name="connsiteX40" fmla="*/ 644901 w 5146412"/>
              <a:gd name="connsiteY40" fmla="*/ 3169275 h 3217752"/>
              <a:gd name="connsiteX41" fmla="*/ 569627 w 5146412"/>
              <a:gd name="connsiteY41" fmla="*/ 3138996 h 3217752"/>
              <a:gd name="connsiteX42" fmla="*/ 501836 w 5146412"/>
              <a:gd name="connsiteY42" fmla="*/ 3079281 h 3217752"/>
              <a:gd name="connsiteX43" fmla="*/ 419551 w 5146412"/>
              <a:gd name="connsiteY43" fmla="*/ 3169275 h 3217752"/>
              <a:gd name="connsiteX44" fmla="*/ 284822 w 5146412"/>
              <a:gd name="connsiteY44" fmla="*/ 3206280 h 3217752"/>
              <a:gd name="connsiteX45" fmla="*/ 172534 w 5146412"/>
              <a:gd name="connsiteY45" fmla="*/ 3182276 h 3217752"/>
              <a:gd name="connsiteX46" fmla="*/ 77470 w 5146412"/>
              <a:gd name="connsiteY46" fmla="*/ 3205575 h 3217752"/>
              <a:gd name="connsiteX47" fmla="*/ 15297 w 5146412"/>
              <a:gd name="connsiteY47" fmla="*/ 3074911 h 3217752"/>
              <a:gd name="connsiteX48" fmla="*/ 2759 w 5146412"/>
              <a:gd name="connsiteY48" fmla="*/ 599254 h 3217752"/>
              <a:gd name="connsiteX0" fmla="*/ 2759 w 5335458"/>
              <a:gd name="connsiteY0" fmla="*/ 218800 h 3384643"/>
              <a:gd name="connsiteX1" fmla="*/ 4967686 w 5335458"/>
              <a:gd name="connsiteY1" fmla="*/ 225472 h 3384643"/>
              <a:gd name="connsiteX2" fmla="*/ 4967687 w 5335458"/>
              <a:gd name="connsiteY2" fmla="*/ 3241802 h 3384643"/>
              <a:gd name="connsiteX3" fmla="*/ 4908616 w 5335458"/>
              <a:gd name="connsiteY3" fmla="*/ 3341331 h 3384643"/>
              <a:gd name="connsiteX4" fmla="*/ 4776770 w 5335458"/>
              <a:gd name="connsiteY4" fmla="*/ 3371757 h 3384643"/>
              <a:gd name="connsiteX5" fmla="*/ 4584254 w 5335458"/>
              <a:gd name="connsiteY5" fmla="*/ 3283579 h 3384643"/>
              <a:gd name="connsiteX6" fmla="*/ 4414309 w 5335458"/>
              <a:gd name="connsiteY6" fmla="*/ 3333657 h 3384643"/>
              <a:gd name="connsiteX7" fmla="*/ 4224110 w 5335458"/>
              <a:gd name="connsiteY7" fmla="*/ 3304735 h 3384643"/>
              <a:gd name="connsiteX8" fmla="*/ 4011640 w 5335458"/>
              <a:gd name="connsiteY8" fmla="*/ 3288605 h 3384643"/>
              <a:gd name="connsiteX9" fmla="*/ 3851802 w 5335458"/>
              <a:gd name="connsiteY9" fmla="*/ 3171487 h 3384643"/>
              <a:gd name="connsiteX10" fmla="*/ 3704457 w 5335458"/>
              <a:gd name="connsiteY10" fmla="*/ 3206156 h 3384643"/>
              <a:gd name="connsiteX11" fmla="*/ 3590855 w 5335458"/>
              <a:gd name="connsiteY11" fmla="*/ 3285084 h 3384643"/>
              <a:gd name="connsiteX12" fmla="*/ 3527149 w 5335458"/>
              <a:gd name="connsiteY12" fmla="*/ 3225566 h 3384643"/>
              <a:gd name="connsiteX13" fmla="*/ 3379434 w 5335458"/>
              <a:gd name="connsiteY13" fmla="*/ 3284162 h 3384643"/>
              <a:gd name="connsiteX14" fmla="*/ 3277524 w 5335458"/>
              <a:gd name="connsiteY14" fmla="*/ 3270901 h 3384643"/>
              <a:gd name="connsiteX15" fmla="*/ 3176090 w 5335458"/>
              <a:gd name="connsiteY15" fmla="*/ 3281051 h 3384643"/>
              <a:gd name="connsiteX16" fmla="*/ 3085262 w 5335458"/>
              <a:gd name="connsiteY16" fmla="*/ 3199615 h 3384643"/>
              <a:gd name="connsiteX17" fmla="*/ 2985980 w 5335458"/>
              <a:gd name="connsiteY17" fmla="*/ 3218063 h 3384643"/>
              <a:gd name="connsiteX18" fmla="*/ 2850728 w 5335458"/>
              <a:gd name="connsiteY18" fmla="*/ 3093481 h 3384643"/>
              <a:gd name="connsiteX19" fmla="*/ 2761802 w 5335458"/>
              <a:gd name="connsiteY19" fmla="*/ 3128255 h 3384643"/>
              <a:gd name="connsiteX20" fmla="*/ 2725028 w 5335458"/>
              <a:gd name="connsiteY20" fmla="*/ 3183183 h 3384643"/>
              <a:gd name="connsiteX21" fmla="*/ 2655715 w 5335458"/>
              <a:gd name="connsiteY21" fmla="*/ 3232157 h 3384643"/>
              <a:gd name="connsiteX22" fmla="*/ 2544911 w 5335458"/>
              <a:gd name="connsiteY22" fmla="*/ 3280751 h 3384643"/>
              <a:gd name="connsiteX23" fmla="*/ 2400064 w 5335458"/>
              <a:gd name="connsiteY23" fmla="*/ 3247586 h 3384643"/>
              <a:gd name="connsiteX24" fmla="*/ 2315889 w 5335458"/>
              <a:gd name="connsiteY24" fmla="*/ 3278433 h 3384643"/>
              <a:gd name="connsiteX25" fmla="*/ 2114008 w 5335458"/>
              <a:gd name="connsiteY25" fmla="*/ 3210490 h 3384643"/>
              <a:gd name="connsiteX26" fmla="*/ 1957882 w 5335458"/>
              <a:gd name="connsiteY26" fmla="*/ 3228536 h 3384643"/>
              <a:gd name="connsiteX27" fmla="*/ 1890741 w 5335458"/>
              <a:gd name="connsiteY27" fmla="*/ 3272384 h 3384643"/>
              <a:gd name="connsiteX28" fmla="*/ 1706645 w 5335458"/>
              <a:gd name="connsiteY28" fmla="*/ 3271161 h 3384643"/>
              <a:gd name="connsiteX29" fmla="*/ 1602638 w 5335458"/>
              <a:gd name="connsiteY29" fmla="*/ 3193156 h 3384643"/>
              <a:gd name="connsiteX30" fmla="*/ 1476997 w 5335458"/>
              <a:gd name="connsiteY30" fmla="*/ 3284572 h 3384643"/>
              <a:gd name="connsiteX31" fmla="*/ 1370926 w 5335458"/>
              <a:gd name="connsiteY31" fmla="*/ 3377197 h 3384643"/>
              <a:gd name="connsiteX32" fmla="*/ 1290131 w 5335458"/>
              <a:gd name="connsiteY32" fmla="*/ 3381175 h 3384643"/>
              <a:gd name="connsiteX33" fmla="*/ 1255945 w 5335458"/>
              <a:gd name="connsiteY33" fmla="*/ 3323165 h 3384643"/>
              <a:gd name="connsiteX34" fmla="*/ 1147604 w 5335458"/>
              <a:gd name="connsiteY34" fmla="*/ 3323164 h 3384643"/>
              <a:gd name="connsiteX35" fmla="*/ 1069393 w 5335458"/>
              <a:gd name="connsiteY35" fmla="*/ 3286288 h 3384643"/>
              <a:gd name="connsiteX36" fmla="*/ 974258 w 5335458"/>
              <a:gd name="connsiteY36" fmla="*/ 3327499 h 3384643"/>
              <a:gd name="connsiteX37" fmla="*/ 855874 w 5335458"/>
              <a:gd name="connsiteY37" fmla="*/ 3329740 h 3384643"/>
              <a:gd name="connsiteX38" fmla="*/ 796855 w 5335458"/>
              <a:gd name="connsiteY38" fmla="*/ 3373172 h 3384643"/>
              <a:gd name="connsiteX39" fmla="*/ 728653 w 5335458"/>
              <a:gd name="connsiteY39" fmla="*/ 3329741 h 3384643"/>
              <a:gd name="connsiteX40" fmla="*/ 644901 w 5335458"/>
              <a:gd name="connsiteY40" fmla="*/ 3336166 h 3384643"/>
              <a:gd name="connsiteX41" fmla="*/ 569627 w 5335458"/>
              <a:gd name="connsiteY41" fmla="*/ 3305887 h 3384643"/>
              <a:gd name="connsiteX42" fmla="*/ 501836 w 5335458"/>
              <a:gd name="connsiteY42" fmla="*/ 3246172 h 3384643"/>
              <a:gd name="connsiteX43" fmla="*/ 419551 w 5335458"/>
              <a:gd name="connsiteY43" fmla="*/ 3336166 h 3384643"/>
              <a:gd name="connsiteX44" fmla="*/ 284822 w 5335458"/>
              <a:gd name="connsiteY44" fmla="*/ 3373171 h 3384643"/>
              <a:gd name="connsiteX45" fmla="*/ 172534 w 5335458"/>
              <a:gd name="connsiteY45" fmla="*/ 3349167 h 3384643"/>
              <a:gd name="connsiteX46" fmla="*/ 77470 w 5335458"/>
              <a:gd name="connsiteY46" fmla="*/ 3372466 h 3384643"/>
              <a:gd name="connsiteX47" fmla="*/ 15297 w 5335458"/>
              <a:gd name="connsiteY47" fmla="*/ 3241802 h 3384643"/>
              <a:gd name="connsiteX48" fmla="*/ 2759 w 5335458"/>
              <a:gd name="connsiteY48" fmla="*/ 218800 h 3384643"/>
              <a:gd name="connsiteX0" fmla="*/ 0 w 5332699"/>
              <a:gd name="connsiteY0" fmla="*/ 218800 h 3384643"/>
              <a:gd name="connsiteX1" fmla="*/ 4964927 w 5332699"/>
              <a:gd name="connsiteY1" fmla="*/ 225472 h 3384643"/>
              <a:gd name="connsiteX2" fmla="*/ 4964928 w 5332699"/>
              <a:gd name="connsiteY2" fmla="*/ 3241802 h 3384643"/>
              <a:gd name="connsiteX3" fmla="*/ 4905857 w 5332699"/>
              <a:gd name="connsiteY3" fmla="*/ 3341331 h 3384643"/>
              <a:gd name="connsiteX4" fmla="*/ 4774011 w 5332699"/>
              <a:gd name="connsiteY4" fmla="*/ 3371757 h 3384643"/>
              <a:gd name="connsiteX5" fmla="*/ 4581495 w 5332699"/>
              <a:gd name="connsiteY5" fmla="*/ 3283579 h 3384643"/>
              <a:gd name="connsiteX6" fmla="*/ 4411550 w 5332699"/>
              <a:gd name="connsiteY6" fmla="*/ 3333657 h 3384643"/>
              <a:gd name="connsiteX7" fmla="*/ 4221351 w 5332699"/>
              <a:gd name="connsiteY7" fmla="*/ 3304735 h 3384643"/>
              <a:gd name="connsiteX8" fmla="*/ 4008881 w 5332699"/>
              <a:gd name="connsiteY8" fmla="*/ 3288605 h 3384643"/>
              <a:gd name="connsiteX9" fmla="*/ 3849043 w 5332699"/>
              <a:gd name="connsiteY9" fmla="*/ 3171487 h 3384643"/>
              <a:gd name="connsiteX10" fmla="*/ 3701698 w 5332699"/>
              <a:gd name="connsiteY10" fmla="*/ 3206156 h 3384643"/>
              <a:gd name="connsiteX11" fmla="*/ 3588096 w 5332699"/>
              <a:gd name="connsiteY11" fmla="*/ 3285084 h 3384643"/>
              <a:gd name="connsiteX12" fmla="*/ 3524390 w 5332699"/>
              <a:gd name="connsiteY12" fmla="*/ 3225566 h 3384643"/>
              <a:gd name="connsiteX13" fmla="*/ 3376675 w 5332699"/>
              <a:gd name="connsiteY13" fmla="*/ 3284162 h 3384643"/>
              <a:gd name="connsiteX14" fmla="*/ 3274765 w 5332699"/>
              <a:gd name="connsiteY14" fmla="*/ 3270901 h 3384643"/>
              <a:gd name="connsiteX15" fmla="*/ 3173331 w 5332699"/>
              <a:gd name="connsiteY15" fmla="*/ 3281051 h 3384643"/>
              <a:gd name="connsiteX16" fmla="*/ 3082503 w 5332699"/>
              <a:gd name="connsiteY16" fmla="*/ 3199615 h 3384643"/>
              <a:gd name="connsiteX17" fmla="*/ 2983221 w 5332699"/>
              <a:gd name="connsiteY17" fmla="*/ 3218063 h 3384643"/>
              <a:gd name="connsiteX18" fmla="*/ 2847969 w 5332699"/>
              <a:gd name="connsiteY18" fmla="*/ 3093481 h 3384643"/>
              <a:gd name="connsiteX19" fmla="*/ 2759043 w 5332699"/>
              <a:gd name="connsiteY19" fmla="*/ 3128255 h 3384643"/>
              <a:gd name="connsiteX20" fmla="*/ 2722269 w 5332699"/>
              <a:gd name="connsiteY20" fmla="*/ 3183183 h 3384643"/>
              <a:gd name="connsiteX21" fmla="*/ 2652956 w 5332699"/>
              <a:gd name="connsiteY21" fmla="*/ 3232157 h 3384643"/>
              <a:gd name="connsiteX22" fmla="*/ 2542152 w 5332699"/>
              <a:gd name="connsiteY22" fmla="*/ 3280751 h 3384643"/>
              <a:gd name="connsiteX23" fmla="*/ 2397305 w 5332699"/>
              <a:gd name="connsiteY23" fmla="*/ 3247586 h 3384643"/>
              <a:gd name="connsiteX24" fmla="*/ 2313130 w 5332699"/>
              <a:gd name="connsiteY24" fmla="*/ 3278433 h 3384643"/>
              <a:gd name="connsiteX25" fmla="*/ 2111249 w 5332699"/>
              <a:gd name="connsiteY25" fmla="*/ 3210490 h 3384643"/>
              <a:gd name="connsiteX26" fmla="*/ 1955123 w 5332699"/>
              <a:gd name="connsiteY26" fmla="*/ 3228536 h 3384643"/>
              <a:gd name="connsiteX27" fmla="*/ 1887982 w 5332699"/>
              <a:gd name="connsiteY27" fmla="*/ 3272384 h 3384643"/>
              <a:gd name="connsiteX28" fmla="*/ 1703886 w 5332699"/>
              <a:gd name="connsiteY28" fmla="*/ 3271161 h 3384643"/>
              <a:gd name="connsiteX29" fmla="*/ 1599879 w 5332699"/>
              <a:gd name="connsiteY29" fmla="*/ 3193156 h 3384643"/>
              <a:gd name="connsiteX30" fmla="*/ 1474238 w 5332699"/>
              <a:gd name="connsiteY30" fmla="*/ 3284572 h 3384643"/>
              <a:gd name="connsiteX31" fmla="*/ 1368167 w 5332699"/>
              <a:gd name="connsiteY31" fmla="*/ 3377197 h 3384643"/>
              <a:gd name="connsiteX32" fmla="*/ 1287372 w 5332699"/>
              <a:gd name="connsiteY32" fmla="*/ 3381175 h 3384643"/>
              <a:gd name="connsiteX33" fmla="*/ 1253186 w 5332699"/>
              <a:gd name="connsiteY33" fmla="*/ 3323165 h 3384643"/>
              <a:gd name="connsiteX34" fmla="*/ 1144845 w 5332699"/>
              <a:gd name="connsiteY34" fmla="*/ 3323164 h 3384643"/>
              <a:gd name="connsiteX35" fmla="*/ 1066634 w 5332699"/>
              <a:gd name="connsiteY35" fmla="*/ 3286288 h 3384643"/>
              <a:gd name="connsiteX36" fmla="*/ 971499 w 5332699"/>
              <a:gd name="connsiteY36" fmla="*/ 3327499 h 3384643"/>
              <a:gd name="connsiteX37" fmla="*/ 853115 w 5332699"/>
              <a:gd name="connsiteY37" fmla="*/ 3329740 h 3384643"/>
              <a:gd name="connsiteX38" fmla="*/ 794096 w 5332699"/>
              <a:gd name="connsiteY38" fmla="*/ 3373172 h 3384643"/>
              <a:gd name="connsiteX39" fmla="*/ 725894 w 5332699"/>
              <a:gd name="connsiteY39" fmla="*/ 3329741 h 3384643"/>
              <a:gd name="connsiteX40" fmla="*/ 642142 w 5332699"/>
              <a:gd name="connsiteY40" fmla="*/ 3336166 h 3384643"/>
              <a:gd name="connsiteX41" fmla="*/ 566868 w 5332699"/>
              <a:gd name="connsiteY41" fmla="*/ 3305887 h 3384643"/>
              <a:gd name="connsiteX42" fmla="*/ 499077 w 5332699"/>
              <a:gd name="connsiteY42" fmla="*/ 3246172 h 3384643"/>
              <a:gd name="connsiteX43" fmla="*/ 416792 w 5332699"/>
              <a:gd name="connsiteY43" fmla="*/ 3336166 h 3384643"/>
              <a:gd name="connsiteX44" fmla="*/ 282063 w 5332699"/>
              <a:gd name="connsiteY44" fmla="*/ 3373171 h 3384643"/>
              <a:gd name="connsiteX45" fmla="*/ 169775 w 5332699"/>
              <a:gd name="connsiteY45" fmla="*/ 3349167 h 3384643"/>
              <a:gd name="connsiteX46" fmla="*/ 74711 w 5332699"/>
              <a:gd name="connsiteY46" fmla="*/ 3372466 h 3384643"/>
              <a:gd name="connsiteX47" fmla="*/ 12538 w 5332699"/>
              <a:gd name="connsiteY47" fmla="*/ 3241802 h 3384643"/>
              <a:gd name="connsiteX48" fmla="*/ 0 w 5332699"/>
              <a:gd name="connsiteY48" fmla="*/ 218800 h 3384643"/>
              <a:gd name="connsiteX0" fmla="*/ 317204 w 5295970"/>
              <a:gd name="connsiteY0" fmla="*/ 126494 h 3443135"/>
              <a:gd name="connsiteX1" fmla="*/ 4952607 w 5295970"/>
              <a:gd name="connsiteY1" fmla="*/ 283964 h 3443135"/>
              <a:gd name="connsiteX2" fmla="*/ 4952608 w 5295970"/>
              <a:gd name="connsiteY2" fmla="*/ 3300294 h 3443135"/>
              <a:gd name="connsiteX3" fmla="*/ 4893537 w 5295970"/>
              <a:gd name="connsiteY3" fmla="*/ 3399823 h 3443135"/>
              <a:gd name="connsiteX4" fmla="*/ 4761691 w 5295970"/>
              <a:gd name="connsiteY4" fmla="*/ 3430249 h 3443135"/>
              <a:gd name="connsiteX5" fmla="*/ 4569175 w 5295970"/>
              <a:gd name="connsiteY5" fmla="*/ 3342071 h 3443135"/>
              <a:gd name="connsiteX6" fmla="*/ 4399230 w 5295970"/>
              <a:gd name="connsiteY6" fmla="*/ 3392149 h 3443135"/>
              <a:gd name="connsiteX7" fmla="*/ 4209031 w 5295970"/>
              <a:gd name="connsiteY7" fmla="*/ 3363227 h 3443135"/>
              <a:gd name="connsiteX8" fmla="*/ 3996561 w 5295970"/>
              <a:gd name="connsiteY8" fmla="*/ 3347097 h 3443135"/>
              <a:gd name="connsiteX9" fmla="*/ 3836723 w 5295970"/>
              <a:gd name="connsiteY9" fmla="*/ 3229979 h 3443135"/>
              <a:gd name="connsiteX10" fmla="*/ 3689378 w 5295970"/>
              <a:gd name="connsiteY10" fmla="*/ 3264648 h 3443135"/>
              <a:gd name="connsiteX11" fmla="*/ 3575776 w 5295970"/>
              <a:gd name="connsiteY11" fmla="*/ 3343576 h 3443135"/>
              <a:gd name="connsiteX12" fmla="*/ 3512070 w 5295970"/>
              <a:gd name="connsiteY12" fmla="*/ 3284058 h 3443135"/>
              <a:gd name="connsiteX13" fmla="*/ 3364355 w 5295970"/>
              <a:gd name="connsiteY13" fmla="*/ 3342654 h 3443135"/>
              <a:gd name="connsiteX14" fmla="*/ 3262445 w 5295970"/>
              <a:gd name="connsiteY14" fmla="*/ 3329393 h 3443135"/>
              <a:gd name="connsiteX15" fmla="*/ 3161011 w 5295970"/>
              <a:gd name="connsiteY15" fmla="*/ 3339543 h 3443135"/>
              <a:gd name="connsiteX16" fmla="*/ 3070183 w 5295970"/>
              <a:gd name="connsiteY16" fmla="*/ 3258107 h 3443135"/>
              <a:gd name="connsiteX17" fmla="*/ 2970901 w 5295970"/>
              <a:gd name="connsiteY17" fmla="*/ 3276555 h 3443135"/>
              <a:gd name="connsiteX18" fmla="*/ 2835649 w 5295970"/>
              <a:gd name="connsiteY18" fmla="*/ 3151973 h 3443135"/>
              <a:gd name="connsiteX19" fmla="*/ 2746723 w 5295970"/>
              <a:gd name="connsiteY19" fmla="*/ 3186747 h 3443135"/>
              <a:gd name="connsiteX20" fmla="*/ 2709949 w 5295970"/>
              <a:gd name="connsiteY20" fmla="*/ 3241675 h 3443135"/>
              <a:gd name="connsiteX21" fmla="*/ 2640636 w 5295970"/>
              <a:gd name="connsiteY21" fmla="*/ 3290649 h 3443135"/>
              <a:gd name="connsiteX22" fmla="*/ 2529832 w 5295970"/>
              <a:gd name="connsiteY22" fmla="*/ 3339243 h 3443135"/>
              <a:gd name="connsiteX23" fmla="*/ 2384985 w 5295970"/>
              <a:gd name="connsiteY23" fmla="*/ 3306078 h 3443135"/>
              <a:gd name="connsiteX24" fmla="*/ 2300810 w 5295970"/>
              <a:gd name="connsiteY24" fmla="*/ 3336925 h 3443135"/>
              <a:gd name="connsiteX25" fmla="*/ 2098929 w 5295970"/>
              <a:gd name="connsiteY25" fmla="*/ 3268982 h 3443135"/>
              <a:gd name="connsiteX26" fmla="*/ 1942803 w 5295970"/>
              <a:gd name="connsiteY26" fmla="*/ 3287028 h 3443135"/>
              <a:gd name="connsiteX27" fmla="*/ 1875662 w 5295970"/>
              <a:gd name="connsiteY27" fmla="*/ 3330876 h 3443135"/>
              <a:gd name="connsiteX28" fmla="*/ 1691566 w 5295970"/>
              <a:gd name="connsiteY28" fmla="*/ 3329653 h 3443135"/>
              <a:gd name="connsiteX29" fmla="*/ 1587559 w 5295970"/>
              <a:gd name="connsiteY29" fmla="*/ 3251648 h 3443135"/>
              <a:gd name="connsiteX30" fmla="*/ 1461918 w 5295970"/>
              <a:gd name="connsiteY30" fmla="*/ 3343064 h 3443135"/>
              <a:gd name="connsiteX31" fmla="*/ 1355847 w 5295970"/>
              <a:gd name="connsiteY31" fmla="*/ 3435689 h 3443135"/>
              <a:gd name="connsiteX32" fmla="*/ 1275052 w 5295970"/>
              <a:gd name="connsiteY32" fmla="*/ 3439667 h 3443135"/>
              <a:gd name="connsiteX33" fmla="*/ 1240866 w 5295970"/>
              <a:gd name="connsiteY33" fmla="*/ 3381657 h 3443135"/>
              <a:gd name="connsiteX34" fmla="*/ 1132525 w 5295970"/>
              <a:gd name="connsiteY34" fmla="*/ 3381656 h 3443135"/>
              <a:gd name="connsiteX35" fmla="*/ 1054314 w 5295970"/>
              <a:gd name="connsiteY35" fmla="*/ 3344780 h 3443135"/>
              <a:gd name="connsiteX36" fmla="*/ 959179 w 5295970"/>
              <a:gd name="connsiteY36" fmla="*/ 3385991 h 3443135"/>
              <a:gd name="connsiteX37" fmla="*/ 840795 w 5295970"/>
              <a:gd name="connsiteY37" fmla="*/ 3388232 h 3443135"/>
              <a:gd name="connsiteX38" fmla="*/ 781776 w 5295970"/>
              <a:gd name="connsiteY38" fmla="*/ 3431664 h 3443135"/>
              <a:gd name="connsiteX39" fmla="*/ 713574 w 5295970"/>
              <a:gd name="connsiteY39" fmla="*/ 3388233 h 3443135"/>
              <a:gd name="connsiteX40" fmla="*/ 629822 w 5295970"/>
              <a:gd name="connsiteY40" fmla="*/ 3394658 h 3443135"/>
              <a:gd name="connsiteX41" fmla="*/ 554548 w 5295970"/>
              <a:gd name="connsiteY41" fmla="*/ 3364379 h 3443135"/>
              <a:gd name="connsiteX42" fmla="*/ 486757 w 5295970"/>
              <a:gd name="connsiteY42" fmla="*/ 3304664 h 3443135"/>
              <a:gd name="connsiteX43" fmla="*/ 404472 w 5295970"/>
              <a:gd name="connsiteY43" fmla="*/ 3394658 h 3443135"/>
              <a:gd name="connsiteX44" fmla="*/ 269743 w 5295970"/>
              <a:gd name="connsiteY44" fmla="*/ 3431663 h 3443135"/>
              <a:gd name="connsiteX45" fmla="*/ 157455 w 5295970"/>
              <a:gd name="connsiteY45" fmla="*/ 3407659 h 3443135"/>
              <a:gd name="connsiteX46" fmla="*/ 62391 w 5295970"/>
              <a:gd name="connsiteY46" fmla="*/ 3430958 h 3443135"/>
              <a:gd name="connsiteX47" fmla="*/ 218 w 5295970"/>
              <a:gd name="connsiteY47" fmla="*/ 3300294 h 3443135"/>
              <a:gd name="connsiteX48" fmla="*/ 317204 w 5295970"/>
              <a:gd name="connsiteY48" fmla="*/ 126494 h 3443135"/>
              <a:gd name="connsiteX0" fmla="*/ 389809 w 5290593"/>
              <a:gd name="connsiteY0" fmla="*/ 83274 h 3483694"/>
              <a:gd name="connsiteX1" fmla="*/ 4952607 w 5290593"/>
              <a:gd name="connsiteY1" fmla="*/ 324523 h 3483694"/>
              <a:gd name="connsiteX2" fmla="*/ 4952608 w 5290593"/>
              <a:gd name="connsiteY2" fmla="*/ 3340853 h 3483694"/>
              <a:gd name="connsiteX3" fmla="*/ 4893537 w 5290593"/>
              <a:gd name="connsiteY3" fmla="*/ 3440382 h 3483694"/>
              <a:gd name="connsiteX4" fmla="*/ 4761691 w 5290593"/>
              <a:gd name="connsiteY4" fmla="*/ 3470808 h 3483694"/>
              <a:gd name="connsiteX5" fmla="*/ 4569175 w 5290593"/>
              <a:gd name="connsiteY5" fmla="*/ 3382630 h 3483694"/>
              <a:gd name="connsiteX6" fmla="*/ 4399230 w 5290593"/>
              <a:gd name="connsiteY6" fmla="*/ 3432708 h 3483694"/>
              <a:gd name="connsiteX7" fmla="*/ 4209031 w 5290593"/>
              <a:gd name="connsiteY7" fmla="*/ 3403786 h 3483694"/>
              <a:gd name="connsiteX8" fmla="*/ 3996561 w 5290593"/>
              <a:gd name="connsiteY8" fmla="*/ 3387656 h 3483694"/>
              <a:gd name="connsiteX9" fmla="*/ 3836723 w 5290593"/>
              <a:gd name="connsiteY9" fmla="*/ 3270538 h 3483694"/>
              <a:gd name="connsiteX10" fmla="*/ 3689378 w 5290593"/>
              <a:gd name="connsiteY10" fmla="*/ 3305207 h 3483694"/>
              <a:gd name="connsiteX11" fmla="*/ 3575776 w 5290593"/>
              <a:gd name="connsiteY11" fmla="*/ 3384135 h 3483694"/>
              <a:gd name="connsiteX12" fmla="*/ 3512070 w 5290593"/>
              <a:gd name="connsiteY12" fmla="*/ 3324617 h 3483694"/>
              <a:gd name="connsiteX13" fmla="*/ 3364355 w 5290593"/>
              <a:gd name="connsiteY13" fmla="*/ 3383213 h 3483694"/>
              <a:gd name="connsiteX14" fmla="*/ 3262445 w 5290593"/>
              <a:gd name="connsiteY14" fmla="*/ 3369952 h 3483694"/>
              <a:gd name="connsiteX15" fmla="*/ 3161011 w 5290593"/>
              <a:gd name="connsiteY15" fmla="*/ 3380102 h 3483694"/>
              <a:gd name="connsiteX16" fmla="*/ 3070183 w 5290593"/>
              <a:gd name="connsiteY16" fmla="*/ 3298666 h 3483694"/>
              <a:gd name="connsiteX17" fmla="*/ 2970901 w 5290593"/>
              <a:gd name="connsiteY17" fmla="*/ 3317114 h 3483694"/>
              <a:gd name="connsiteX18" fmla="*/ 2835649 w 5290593"/>
              <a:gd name="connsiteY18" fmla="*/ 3192532 h 3483694"/>
              <a:gd name="connsiteX19" fmla="*/ 2746723 w 5290593"/>
              <a:gd name="connsiteY19" fmla="*/ 3227306 h 3483694"/>
              <a:gd name="connsiteX20" fmla="*/ 2709949 w 5290593"/>
              <a:gd name="connsiteY20" fmla="*/ 3282234 h 3483694"/>
              <a:gd name="connsiteX21" fmla="*/ 2640636 w 5290593"/>
              <a:gd name="connsiteY21" fmla="*/ 3331208 h 3483694"/>
              <a:gd name="connsiteX22" fmla="*/ 2529832 w 5290593"/>
              <a:gd name="connsiteY22" fmla="*/ 3379802 h 3483694"/>
              <a:gd name="connsiteX23" fmla="*/ 2384985 w 5290593"/>
              <a:gd name="connsiteY23" fmla="*/ 3346637 h 3483694"/>
              <a:gd name="connsiteX24" fmla="*/ 2300810 w 5290593"/>
              <a:gd name="connsiteY24" fmla="*/ 3377484 h 3483694"/>
              <a:gd name="connsiteX25" fmla="*/ 2098929 w 5290593"/>
              <a:gd name="connsiteY25" fmla="*/ 3309541 h 3483694"/>
              <a:gd name="connsiteX26" fmla="*/ 1942803 w 5290593"/>
              <a:gd name="connsiteY26" fmla="*/ 3327587 h 3483694"/>
              <a:gd name="connsiteX27" fmla="*/ 1875662 w 5290593"/>
              <a:gd name="connsiteY27" fmla="*/ 3371435 h 3483694"/>
              <a:gd name="connsiteX28" fmla="*/ 1691566 w 5290593"/>
              <a:gd name="connsiteY28" fmla="*/ 3370212 h 3483694"/>
              <a:gd name="connsiteX29" fmla="*/ 1587559 w 5290593"/>
              <a:gd name="connsiteY29" fmla="*/ 3292207 h 3483694"/>
              <a:gd name="connsiteX30" fmla="*/ 1461918 w 5290593"/>
              <a:gd name="connsiteY30" fmla="*/ 3383623 h 3483694"/>
              <a:gd name="connsiteX31" fmla="*/ 1355847 w 5290593"/>
              <a:gd name="connsiteY31" fmla="*/ 3476248 h 3483694"/>
              <a:gd name="connsiteX32" fmla="*/ 1275052 w 5290593"/>
              <a:gd name="connsiteY32" fmla="*/ 3480226 h 3483694"/>
              <a:gd name="connsiteX33" fmla="*/ 1240866 w 5290593"/>
              <a:gd name="connsiteY33" fmla="*/ 3422216 h 3483694"/>
              <a:gd name="connsiteX34" fmla="*/ 1132525 w 5290593"/>
              <a:gd name="connsiteY34" fmla="*/ 3422215 h 3483694"/>
              <a:gd name="connsiteX35" fmla="*/ 1054314 w 5290593"/>
              <a:gd name="connsiteY35" fmla="*/ 3385339 h 3483694"/>
              <a:gd name="connsiteX36" fmla="*/ 959179 w 5290593"/>
              <a:gd name="connsiteY36" fmla="*/ 3426550 h 3483694"/>
              <a:gd name="connsiteX37" fmla="*/ 840795 w 5290593"/>
              <a:gd name="connsiteY37" fmla="*/ 3428791 h 3483694"/>
              <a:gd name="connsiteX38" fmla="*/ 781776 w 5290593"/>
              <a:gd name="connsiteY38" fmla="*/ 3472223 h 3483694"/>
              <a:gd name="connsiteX39" fmla="*/ 713574 w 5290593"/>
              <a:gd name="connsiteY39" fmla="*/ 3428792 h 3483694"/>
              <a:gd name="connsiteX40" fmla="*/ 629822 w 5290593"/>
              <a:gd name="connsiteY40" fmla="*/ 3435217 h 3483694"/>
              <a:gd name="connsiteX41" fmla="*/ 554548 w 5290593"/>
              <a:gd name="connsiteY41" fmla="*/ 3404938 h 3483694"/>
              <a:gd name="connsiteX42" fmla="*/ 486757 w 5290593"/>
              <a:gd name="connsiteY42" fmla="*/ 3345223 h 3483694"/>
              <a:gd name="connsiteX43" fmla="*/ 404472 w 5290593"/>
              <a:gd name="connsiteY43" fmla="*/ 3435217 h 3483694"/>
              <a:gd name="connsiteX44" fmla="*/ 269743 w 5290593"/>
              <a:gd name="connsiteY44" fmla="*/ 3472222 h 3483694"/>
              <a:gd name="connsiteX45" fmla="*/ 157455 w 5290593"/>
              <a:gd name="connsiteY45" fmla="*/ 3448218 h 3483694"/>
              <a:gd name="connsiteX46" fmla="*/ 62391 w 5290593"/>
              <a:gd name="connsiteY46" fmla="*/ 3471517 h 3483694"/>
              <a:gd name="connsiteX47" fmla="*/ 218 w 5290593"/>
              <a:gd name="connsiteY47" fmla="*/ 3340853 h 3483694"/>
              <a:gd name="connsiteX48" fmla="*/ 389809 w 5290593"/>
              <a:gd name="connsiteY48" fmla="*/ 83274 h 3483694"/>
              <a:gd name="connsiteX0" fmla="*/ 410334 w 5311118"/>
              <a:gd name="connsiteY0" fmla="*/ 140362 h 3679332"/>
              <a:gd name="connsiteX1" fmla="*/ 4973132 w 5311118"/>
              <a:gd name="connsiteY1" fmla="*/ 381611 h 3679332"/>
              <a:gd name="connsiteX2" fmla="*/ 4973133 w 5311118"/>
              <a:gd name="connsiteY2" fmla="*/ 3397941 h 3679332"/>
              <a:gd name="connsiteX3" fmla="*/ 4914062 w 5311118"/>
              <a:gd name="connsiteY3" fmla="*/ 3497470 h 3679332"/>
              <a:gd name="connsiteX4" fmla="*/ 4782216 w 5311118"/>
              <a:gd name="connsiteY4" fmla="*/ 3527896 h 3679332"/>
              <a:gd name="connsiteX5" fmla="*/ 4589700 w 5311118"/>
              <a:gd name="connsiteY5" fmla="*/ 3439718 h 3679332"/>
              <a:gd name="connsiteX6" fmla="*/ 4419755 w 5311118"/>
              <a:gd name="connsiteY6" fmla="*/ 3489796 h 3679332"/>
              <a:gd name="connsiteX7" fmla="*/ 4229556 w 5311118"/>
              <a:gd name="connsiteY7" fmla="*/ 3460874 h 3679332"/>
              <a:gd name="connsiteX8" fmla="*/ 4017086 w 5311118"/>
              <a:gd name="connsiteY8" fmla="*/ 3444744 h 3679332"/>
              <a:gd name="connsiteX9" fmla="*/ 3857248 w 5311118"/>
              <a:gd name="connsiteY9" fmla="*/ 3327626 h 3679332"/>
              <a:gd name="connsiteX10" fmla="*/ 3709903 w 5311118"/>
              <a:gd name="connsiteY10" fmla="*/ 3362295 h 3679332"/>
              <a:gd name="connsiteX11" fmla="*/ 3596301 w 5311118"/>
              <a:gd name="connsiteY11" fmla="*/ 3441223 h 3679332"/>
              <a:gd name="connsiteX12" fmla="*/ 3532595 w 5311118"/>
              <a:gd name="connsiteY12" fmla="*/ 3381705 h 3679332"/>
              <a:gd name="connsiteX13" fmla="*/ 3384880 w 5311118"/>
              <a:gd name="connsiteY13" fmla="*/ 3440301 h 3679332"/>
              <a:gd name="connsiteX14" fmla="*/ 3282970 w 5311118"/>
              <a:gd name="connsiteY14" fmla="*/ 3427040 h 3679332"/>
              <a:gd name="connsiteX15" fmla="*/ 3181536 w 5311118"/>
              <a:gd name="connsiteY15" fmla="*/ 3437190 h 3679332"/>
              <a:gd name="connsiteX16" fmla="*/ 3090708 w 5311118"/>
              <a:gd name="connsiteY16" fmla="*/ 3355754 h 3679332"/>
              <a:gd name="connsiteX17" fmla="*/ 2991426 w 5311118"/>
              <a:gd name="connsiteY17" fmla="*/ 3374202 h 3679332"/>
              <a:gd name="connsiteX18" fmla="*/ 2856174 w 5311118"/>
              <a:gd name="connsiteY18" fmla="*/ 3249620 h 3679332"/>
              <a:gd name="connsiteX19" fmla="*/ 2767248 w 5311118"/>
              <a:gd name="connsiteY19" fmla="*/ 3284394 h 3679332"/>
              <a:gd name="connsiteX20" fmla="*/ 2730474 w 5311118"/>
              <a:gd name="connsiteY20" fmla="*/ 3339322 h 3679332"/>
              <a:gd name="connsiteX21" fmla="*/ 2661161 w 5311118"/>
              <a:gd name="connsiteY21" fmla="*/ 3388296 h 3679332"/>
              <a:gd name="connsiteX22" fmla="*/ 2550357 w 5311118"/>
              <a:gd name="connsiteY22" fmla="*/ 3436890 h 3679332"/>
              <a:gd name="connsiteX23" fmla="*/ 2405510 w 5311118"/>
              <a:gd name="connsiteY23" fmla="*/ 3403725 h 3679332"/>
              <a:gd name="connsiteX24" fmla="*/ 2321335 w 5311118"/>
              <a:gd name="connsiteY24" fmla="*/ 3434572 h 3679332"/>
              <a:gd name="connsiteX25" fmla="*/ 2119454 w 5311118"/>
              <a:gd name="connsiteY25" fmla="*/ 3366629 h 3679332"/>
              <a:gd name="connsiteX26" fmla="*/ 1963328 w 5311118"/>
              <a:gd name="connsiteY26" fmla="*/ 3384675 h 3679332"/>
              <a:gd name="connsiteX27" fmla="*/ 1896187 w 5311118"/>
              <a:gd name="connsiteY27" fmla="*/ 3428523 h 3679332"/>
              <a:gd name="connsiteX28" fmla="*/ 1712091 w 5311118"/>
              <a:gd name="connsiteY28" fmla="*/ 3427300 h 3679332"/>
              <a:gd name="connsiteX29" fmla="*/ 1608084 w 5311118"/>
              <a:gd name="connsiteY29" fmla="*/ 3349295 h 3679332"/>
              <a:gd name="connsiteX30" fmla="*/ 1482443 w 5311118"/>
              <a:gd name="connsiteY30" fmla="*/ 3440711 h 3679332"/>
              <a:gd name="connsiteX31" fmla="*/ 1376372 w 5311118"/>
              <a:gd name="connsiteY31" fmla="*/ 3533336 h 3679332"/>
              <a:gd name="connsiteX32" fmla="*/ 1295577 w 5311118"/>
              <a:gd name="connsiteY32" fmla="*/ 3537314 h 3679332"/>
              <a:gd name="connsiteX33" fmla="*/ 1261391 w 5311118"/>
              <a:gd name="connsiteY33" fmla="*/ 3479304 h 3679332"/>
              <a:gd name="connsiteX34" fmla="*/ 1153050 w 5311118"/>
              <a:gd name="connsiteY34" fmla="*/ 3479303 h 3679332"/>
              <a:gd name="connsiteX35" fmla="*/ 1074839 w 5311118"/>
              <a:gd name="connsiteY35" fmla="*/ 3442427 h 3679332"/>
              <a:gd name="connsiteX36" fmla="*/ 979704 w 5311118"/>
              <a:gd name="connsiteY36" fmla="*/ 3483638 h 3679332"/>
              <a:gd name="connsiteX37" fmla="*/ 861320 w 5311118"/>
              <a:gd name="connsiteY37" fmla="*/ 3485879 h 3679332"/>
              <a:gd name="connsiteX38" fmla="*/ 802301 w 5311118"/>
              <a:gd name="connsiteY38" fmla="*/ 3529311 h 3679332"/>
              <a:gd name="connsiteX39" fmla="*/ 734099 w 5311118"/>
              <a:gd name="connsiteY39" fmla="*/ 3485880 h 3679332"/>
              <a:gd name="connsiteX40" fmla="*/ 650347 w 5311118"/>
              <a:gd name="connsiteY40" fmla="*/ 3492305 h 3679332"/>
              <a:gd name="connsiteX41" fmla="*/ 575073 w 5311118"/>
              <a:gd name="connsiteY41" fmla="*/ 3462026 h 3679332"/>
              <a:gd name="connsiteX42" fmla="*/ 507282 w 5311118"/>
              <a:gd name="connsiteY42" fmla="*/ 3402311 h 3679332"/>
              <a:gd name="connsiteX43" fmla="*/ 424997 w 5311118"/>
              <a:gd name="connsiteY43" fmla="*/ 3492305 h 3679332"/>
              <a:gd name="connsiteX44" fmla="*/ 290268 w 5311118"/>
              <a:gd name="connsiteY44" fmla="*/ 3529310 h 3679332"/>
              <a:gd name="connsiteX45" fmla="*/ 177980 w 5311118"/>
              <a:gd name="connsiteY45" fmla="*/ 3505306 h 3679332"/>
              <a:gd name="connsiteX46" fmla="*/ 82916 w 5311118"/>
              <a:gd name="connsiteY46" fmla="*/ 3528605 h 3679332"/>
              <a:gd name="connsiteX47" fmla="*/ 20743 w 5311118"/>
              <a:gd name="connsiteY47" fmla="*/ 3397941 h 3679332"/>
              <a:gd name="connsiteX48" fmla="*/ 173300 w 5311118"/>
              <a:gd name="connsiteY48" fmla="*/ 1282030 h 3679332"/>
              <a:gd name="connsiteX49" fmla="*/ 410334 w 5311118"/>
              <a:gd name="connsiteY49" fmla="*/ 140362 h 3679332"/>
              <a:gd name="connsiteX0" fmla="*/ 485034 w 5385818"/>
              <a:gd name="connsiteY0" fmla="*/ 288627 h 3827597"/>
              <a:gd name="connsiteX1" fmla="*/ 5047832 w 5385818"/>
              <a:gd name="connsiteY1" fmla="*/ 529876 h 3827597"/>
              <a:gd name="connsiteX2" fmla="*/ 5047833 w 5385818"/>
              <a:gd name="connsiteY2" fmla="*/ 3546206 h 3827597"/>
              <a:gd name="connsiteX3" fmla="*/ 4988762 w 5385818"/>
              <a:gd name="connsiteY3" fmla="*/ 3645735 h 3827597"/>
              <a:gd name="connsiteX4" fmla="*/ 4856916 w 5385818"/>
              <a:gd name="connsiteY4" fmla="*/ 3676161 h 3827597"/>
              <a:gd name="connsiteX5" fmla="*/ 4664400 w 5385818"/>
              <a:gd name="connsiteY5" fmla="*/ 3587983 h 3827597"/>
              <a:gd name="connsiteX6" fmla="*/ 4494455 w 5385818"/>
              <a:gd name="connsiteY6" fmla="*/ 3638061 h 3827597"/>
              <a:gd name="connsiteX7" fmla="*/ 4304256 w 5385818"/>
              <a:gd name="connsiteY7" fmla="*/ 3609139 h 3827597"/>
              <a:gd name="connsiteX8" fmla="*/ 4091786 w 5385818"/>
              <a:gd name="connsiteY8" fmla="*/ 3593009 h 3827597"/>
              <a:gd name="connsiteX9" fmla="*/ 3931948 w 5385818"/>
              <a:gd name="connsiteY9" fmla="*/ 3475891 h 3827597"/>
              <a:gd name="connsiteX10" fmla="*/ 3784603 w 5385818"/>
              <a:gd name="connsiteY10" fmla="*/ 3510560 h 3827597"/>
              <a:gd name="connsiteX11" fmla="*/ 3671001 w 5385818"/>
              <a:gd name="connsiteY11" fmla="*/ 3589488 h 3827597"/>
              <a:gd name="connsiteX12" fmla="*/ 3607295 w 5385818"/>
              <a:gd name="connsiteY12" fmla="*/ 3529970 h 3827597"/>
              <a:gd name="connsiteX13" fmla="*/ 3459580 w 5385818"/>
              <a:gd name="connsiteY13" fmla="*/ 3588566 h 3827597"/>
              <a:gd name="connsiteX14" fmla="*/ 3357670 w 5385818"/>
              <a:gd name="connsiteY14" fmla="*/ 3575305 h 3827597"/>
              <a:gd name="connsiteX15" fmla="*/ 3256236 w 5385818"/>
              <a:gd name="connsiteY15" fmla="*/ 3585455 h 3827597"/>
              <a:gd name="connsiteX16" fmla="*/ 3165408 w 5385818"/>
              <a:gd name="connsiteY16" fmla="*/ 3504019 h 3827597"/>
              <a:gd name="connsiteX17" fmla="*/ 3066126 w 5385818"/>
              <a:gd name="connsiteY17" fmla="*/ 3522467 h 3827597"/>
              <a:gd name="connsiteX18" fmla="*/ 2930874 w 5385818"/>
              <a:gd name="connsiteY18" fmla="*/ 3397885 h 3827597"/>
              <a:gd name="connsiteX19" fmla="*/ 2841948 w 5385818"/>
              <a:gd name="connsiteY19" fmla="*/ 3432659 h 3827597"/>
              <a:gd name="connsiteX20" fmla="*/ 2805174 w 5385818"/>
              <a:gd name="connsiteY20" fmla="*/ 3487587 h 3827597"/>
              <a:gd name="connsiteX21" fmla="*/ 2735861 w 5385818"/>
              <a:gd name="connsiteY21" fmla="*/ 3536561 h 3827597"/>
              <a:gd name="connsiteX22" fmla="*/ 2625057 w 5385818"/>
              <a:gd name="connsiteY22" fmla="*/ 3585155 h 3827597"/>
              <a:gd name="connsiteX23" fmla="*/ 2480210 w 5385818"/>
              <a:gd name="connsiteY23" fmla="*/ 3551990 h 3827597"/>
              <a:gd name="connsiteX24" fmla="*/ 2396035 w 5385818"/>
              <a:gd name="connsiteY24" fmla="*/ 3582837 h 3827597"/>
              <a:gd name="connsiteX25" fmla="*/ 2194154 w 5385818"/>
              <a:gd name="connsiteY25" fmla="*/ 3514894 h 3827597"/>
              <a:gd name="connsiteX26" fmla="*/ 2038028 w 5385818"/>
              <a:gd name="connsiteY26" fmla="*/ 3532940 h 3827597"/>
              <a:gd name="connsiteX27" fmla="*/ 1970887 w 5385818"/>
              <a:gd name="connsiteY27" fmla="*/ 3576788 h 3827597"/>
              <a:gd name="connsiteX28" fmla="*/ 1786791 w 5385818"/>
              <a:gd name="connsiteY28" fmla="*/ 3575565 h 3827597"/>
              <a:gd name="connsiteX29" fmla="*/ 1682784 w 5385818"/>
              <a:gd name="connsiteY29" fmla="*/ 3497560 h 3827597"/>
              <a:gd name="connsiteX30" fmla="*/ 1557143 w 5385818"/>
              <a:gd name="connsiteY30" fmla="*/ 3588976 h 3827597"/>
              <a:gd name="connsiteX31" fmla="*/ 1451072 w 5385818"/>
              <a:gd name="connsiteY31" fmla="*/ 3681601 h 3827597"/>
              <a:gd name="connsiteX32" fmla="*/ 1370277 w 5385818"/>
              <a:gd name="connsiteY32" fmla="*/ 3685579 h 3827597"/>
              <a:gd name="connsiteX33" fmla="*/ 1336091 w 5385818"/>
              <a:gd name="connsiteY33" fmla="*/ 3627569 h 3827597"/>
              <a:gd name="connsiteX34" fmla="*/ 1227750 w 5385818"/>
              <a:gd name="connsiteY34" fmla="*/ 3627568 h 3827597"/>
              <a:gd name="connsiteX35" fmla="*/ 1149539 w 5385818"/>
              <a:gd name="connsiteY35" fmla="*/ 3590692 h 3827597"/>
              <a:gd name="connsiteX36" fmla="*/ 1054404 w 5385818"/>
              <a:gd name="connsiteY36" fmla="*/ 3631903 h 3827597"/>
              <a:gd name="connsiteX37" fmla="*/ 936020 w 5385818"/>
              <a:gd name="connsiteY37" fmla="*/ 3634144 h 3827597"/>
              <a:gd name="connsiteX38" fmla="*/ 877001 w 5385818"/>
              <a:gd name="connsiteY38" fmla="*/ 3677576 h 3827597"/>
              <a:gd name="connsiteX39" fmla="*/ 808799 w 5385818"/>
              <a:gd name="connsiteY39" fmla="*/ 3634145 h 3827597"/>
              <a:gd name="connsiteX40" fmla="*/ 725047 w 5385818"/>
              <a:gd name="connsiteY40" fmla="*/ 3640570 h 3827597"/>
              <a:gd name="connsiteX41" fmla="*/ 649773 w 5385818"/>
              <a:gd name="connsiteY41" fmla="*/ 3610291 h 3827597"/>
              <a:gd name="connsiteX42" fmla="*/ 581982 w 5385818"/>
              <a:gd name="connsiteY42" fmla="*/ 3550576 h 3827597"/>
              <a:gd name="connsiteX43" fmla="*/ 499697 w 5385818"/>
              <a:gd name="connsiteY43" fmla="*/ 3640570 h 3827597"/>
              <a:gd name="connsiteX44" fmla="*/ 364968 w 5385818"/>
              <a:gd name="connsiteY44" fmla="*/ 3677575 h 3827597"/>
              <a:gd name="connsiteX45" fmla="*/ 252680 w 5385818"/>
              <a:gd name="connsiteY45" fmla="*/ 3653571 h 3827597"/>
              <a:gd name="connsiteX46" fmla="*/ 157616 w 5385818"/>
              <a:gd name="connsiteY46" fmla="*/ 3676870 h 3827597"/>
              <a:gd name="connsiteX47" fmla="*/ 95443 w 5385818"/>
              <a:gd name="connsiteY47" fmla="*/ 3546206 h 3827597"/>
              <a:gd name="connsiteX48" fmla="*/ 485034 w 5385818"/>
              <a:gd name="connsiteY48" fmla="*/ 288627 h 3827597"/>
              <a:gd name="connsiteX0" fmla="*/ 351970 w 5684669"/>
              <a:gd name="connsiteY0" fmla="*/ 376566 h 3675374"/>
              <a:gd name="connsiteX1" fmla="*/ 5316897 w 5684669"/>
              <a:gd name="connsiteY1" fmla="*/ 377653 h 3675374"/>
              <a:gd name="connsiteX2" fmla="*/ 5316898 w 5684669"/>
              <a:gd name="connsiteY2" fmla="*/ 3393983 h 3675374"/>
              <a:gd name="connsiteX3" fmla="*/ 5257827 w 5684669"/>
              <a:gd name="connsiteY3" fmla="*/ 3493512 h 3675374"/>
              <a:gd name="connsiteX4" fmla="*/ 5125981 w 5684669"/>
              <a:gd name="connsiteY4" fmla="*/ 3523938 h 3675374"/>
              <a:gd name="connsiteX5" fmla="*/ 4933465 w 5684669"/>
              <a:gd name="connsiteY5" fmla="*/ 3435760 h 3675374"/>
              <a:gd name="connsiteX6" fmla="*/ 4763520 w 5684669"/>
              <a:gd name="connsiteY6" fmla="*/ 3485838 h 3675374"/>
              <a:gd name="connsiteX7" fmla="*/ 4573321 w 5684669"/>
              <a:gd name="connsiteY7" fmla="*/ 3456916 h 3675374"/>
              <a:gd name="connsiteX8" fmla="*/ 4360851 w 5684669"/>
              <a:gd name="connsiteY8" fmla="*/ 3440786 h 3675374"/>
              <a:gd name="connsiteX9" fmla="*/ 4201013 w 5684669"/>
              <a:gd name="connsiteY9" fmla="*/ 3323668 h 3675374"/>
              <a:gd name="connsiteX10" fmla="*/ 4053668 w 5684669"/>
              <a:gd name="connsiteY10" fmla="*/ 3358337 h 3675374"/>
              <a:gd name="connsiteX11" fmla="*/ 3940066 w 5684669"/>
              <a:gd name="connsiteY11" fmla="*/ 3437265 h 3675374"/>
              <a:gd name="connsiteX12" fmla="*/ 3876360 w 5684669"/>
              <a:gd name="connsiteY12" fmla="*/ 3377747 h 3675374"/>
              <a:gd name="connsiteX13" fmla="*/ 3728645 w 5684669"/>
              <a:gd name="connsiteY13" fmla="*/ 3436343 h 3675374"/>
              <a:gd name="connsiteX14" fmla="*/ 3626735 w 5684669"/>
              <a:gd name="connsiteY14" fmla="*/ 3423082 h 3675374"/>
              <a:gd name="connsiteX15" fmla="*/ 3525301 w 5684669"/>
              <a:gd name="connsiteY15" fmla="*/ 3433232 h 3675374"/>
              <a:gd name="connsiteX16" fmla="*/ 3434473 w 5684669"/>
              <a:gd name="connsiteY16" fmla="*/ 3351796 h 3675374"/>
              <a:gd name="connsiteX17" fmla="*/ 3335191 w 5684669"/>
              <a:gd name="connsiteY17" fmla="*/ 3370244 h 3675374"/>
              <a:gd name="connsiteX18" fmla="*/ 3199939 w 5684669"/>
              <a:gd name="connsiteY18" fmla="*/ 3245662 h 3675374"/>
              <a:gd name="connsiteX19" fmla="*/ 3111013 w 5684669"/>
              <a:gd name="connsiteY19" fmla="*/ 3280436 h 3675374"/>
              <a:gd name="connsiteX20" fmla="*/ 3074239 w 5684669"/>
              <a:gd name="connsiteY20" fmla="*/ 3335364 h 3675374"/>
              <a:gd name="connsiteX21" fmla="*/ 3004926 w 5684669"/>
              <a:gd name="connsiteY21" fmla="*/ 3384338 h 3675374"/>
              <a:gd name="connsiteX22" fmla="*/ 2894122 w 5684669"/>
              <a:gd name="connsiteY22" fmla="*/ 3432932 h 3675374"/>
              <a:gd name="connsiteX23" fmla="*/ 2749275 w 5684669"/>
              <a:gd name="connsiteY23" fmla="*/ 3399767 h 3675374"/>
              <a:gd name="connsiteX24" fmla="*/ 2665100 w 5684669"/>
              <a:gd name="connsiteY24" fmla="*/ 3430614 h 3675374"/>
              <a:gd name="connsiteX25" fmla="*/ 2463219 w 5684669"/>
              <a:gd name="connsiteY25" fmla="*/ 3362671 h 3675374"/>
              <a:gd name="connsiteX26" fmla="*/ 2307093 w 5684669"/>
              <a:gd name="connsiteY26" fmla="*/ 3380717 h 3675374"/>
              <a:gd name="connsiteX27" fmla="*/ 2239952 w 5684669"/>
              <a:gd name="connsiteY27" fmla="*/ 3424565 h 3675374"/>
              <a:gd name="connsiteX28" fmla="*/ 2055856 w 5684669"/>
              <a:gd name="connsiteY28" fmla="*/ 3423342 h 3675374"/>
              <a:gd name="connsiteX29" fmla="*/ 1951849 w 5684669"/>
              <a:gd name="connsiteY29" fmla="*/ 3345337 h 3675374"/>
              <a:gd name="connsiteX30" fmla="*/ 1826208 w 5684669"/>
              <a:gd name="connsiteY30" fmla="*/ 3436753 h 3675374"/>
              <a:gd name="connsiteX31" fmla="*/ 1720137 w 5684669"/>
              <a:gd name="connsiteY31" fmla="*/ 3529378 h 3675374"/>
              <a:gd name="connsiteX32" fmla="*/ 1639342 w 5684669"/>
              <a:gd name="connsiteY32" fmla="*/ 3533356 h 3675374"/>
              <a:gd name="connsiteX33" fmla="*/ 1605156 w 5684669"/>
              <a:gd name="connsiteY33" fmla="*/ 3475346 h 3675374"/>
              <a:gd name="connsiteX34" fmla="*/ 1496815 w 5684669"/>
              <a:gd name="connsiteY34" fmla="*/ 3475345 h 3675374"/>
              <a:gd name="connsiteX35" fmla="*/ 1418604 w 5684669"/>
              <a:gd name="connsiteY35" fmla="*/ 3438469 h 3675374"/>
              <a:gd name="connsiteX36" fmla="*/ 1323469 w 5684669"/>
              <a:gd name="connsiteY36" fmla="*/ 3479680 h 3675374"/>
              <a:gd name="connsiteX37" fmla="*/ 1205085 w 5684669"/>
              <a:gd name="connsiteY37" fmla="*/ 3481921 h 3675374"/>
              <a:gd name="connsiteX38" fmla="*/ 1146066 w 5684669"/>
              <a:gd name="connsiteY38" fmla="*/ 3525353 h 3675374"/>
              <a:gd name="connsiteX39" fmla="*/ 1077864 w 5684669"/>
              <a:gd name="connsiteY39" fmla="*/ 3481922 h 3675374"/>
              <a:gd name="connsiteX40" fmla="*/ 994112 w 5684669"/>
              <a:gd name="connsiteY40" fmla="*/ 3488347 h 3675374"/>
              <a:gd name="connsiteX41" fmla="*/ 918838 w 5684669"/>
              <a:gd name="connsiteY41" fmla="*/ 3458068 h 3675374"/>
              <a:gd name="connsiteX42" fmla="*/ 851047 w 5684669"/>
              <a:gd name="connsiteY42" fmla="*/ 3398353 h 3675374"/>
              <a:gd name="connsiteX43" fmla="*/ 768762 w 5684669"/>
              <a:gd name="connsiteY43" fmla="*/ 3488347 h 3675374"/>
              <a:gd name="connsiteX44" fmla="*/ 634033 w 5684669"/>
              <a:gd name="connsiteY44" fmla="*/ 3525352 h 3675374"/>
              <a:gd name="connsiteX45" fmla="*/ 521745 w 5684669"/>
              <a:gd name="connsiteY45" fmla="*/ 3501348 h 3675374"/>
              <a:gd name="connsiteX46" fmla="*/ 426681 w 5684669"/>
              <a:gd name="connsiteY46" fmla="*/ 3524647 h 3675374"/>
              <a:gd name="connsiteX47" fmla="*/ 364508 w 5684669"/>
              <a:gd name="connsiteY47" fmla="*/ 3393983 h 3675374"/>
              <a:gd name="connsiteX48" fmla="*/ 351970 w 5684669"/>
              <a:gd name="connsiteY48" fmla="*/ 376566 h 3675374"/>
              <a:gd name="connsiteX0" fmla="*/ 351970 w 5684669"/>
              <a:gd name="connsiteY0" fmla="*/ 376566 h 3675374"/>
              <a:gd name="connsiteX1" fmla="*/ 5316897 w 5684669"/>
              <a:gd name="connsiteY1" fmla="*/ 377653 h 3675374"/>
              <a:gd name="connsiteX2" fmla="*/ 5316898 w 5684669"/>
              <a:gd name="connsiteY2" fmla="*/ 3393983 h 3675374"/>
              <a:gd name="connsiteX3" fmla="*/ 5257827 w 5684669"/>
              <a:gd name="connsiteY3" fmla="*/ 3493512 h 3675374"/>
              <a:gd name="connsiteX4" fmla="*/ 5125981 w 5684669"/>
              <a:gd name="connsiteY4" fmla="*/ 3523938 h 3675374"/>
              <a:gd name="connsiteX5" fmla="*/ 4933465 w 5684669"/>
              <a:gd name="connsiteY5" fmla="*/ 3435760 h 3675374"/>
              <a:gd name="connsiteX6" fmla="*/ 4763520 w 5684669"/>
              <a:gd name="connsiteY6" fmla="*/ 3485838 h 3675374"/>
              <a:gd name="connsiteX7" fmla="*/ 4573321 w 5684669"/>
              <a:gd name="connsiteY7" fmla="*/ 3456916 h 3675374"/>
              <a:gd name="connsiteX8" fmla="*/ 4360851 w 5684669"/>
              <a:gd name="connsiteY8" fmla="*/ 3440786 h 3675374"/>
              <a:gd name="connsiteX9" fmla="*/ 4201013 w 5684669"/>
              <a:gd name="connsiteY9" fmla="*/ 3323668 h 3675374"/>
              <a:gd name="connsiteX10" fmla="*/ 4053668 w 5684669"/>
              <a:gd name="connsiteY10" fmla="*/ 3358337 h 3675374"/>
              <a:gd name="connsiteX11" fmla="*/ 3940066 w 5684669"/>
              <a:gd name="connsiteY11" fmla="*/ 3437265 h 3675374"/>
              <a:gd name="connsiteX12" fmla="*/ 3876360 w 5684669"/>
              <a:gd name="connsiteY12" fmla="*/ 3377747 h 3675374"/>
              <a:gd name="connsiteX13" fmla="*/ 3728645 w 5684669"/>
              <a:gd name="connsiteY13" fmla="*/ 3436343 h 3675374"/>
              <a:gd name="connsiteX14" fmla="*/ 3626735 w 5684669"/>
              <a:gd name="connsiteY14" fmla="*/ 3423082 h 3675374"/>
              <a:gd name="connsiteX15" fmla="*/ 3525301 w 5684669"/>
              <a:gd name="connsiteY15" fmla="*/ 3433232 h 3675374"/>
              <a:gd name="connsiteX16" fmla="*/ 3434473 w 5684669"/>
              <a:gd name="connsiteY16" fmla="*/ 3351796 h 3675374"/>
              <a:gd name="connsiteX17" fmla="*/ 3335191 w 5684669"/>
              <a:gd name="connsiteY17" fmla="*/ 3370244 h 3675374"/>
              <a:gd name="connsiteX18" fmla="*/ 3199939 w 5684669"/>
              <a:gd name="connsiteY18" fmla="*/ 3245662 h 3675374"/>
              <a:gd name="connsiteX19" fmla="*/ 3111013 w 5684669"/>
              <a:gd name="connsiteY19" fmla="*/ 3280436 h 3675374"/>
              <a:gd name="connsiteX20" fmla="*/ 3074239 w 5684669"/>
              <a:gd name="connsiteY20" fmla="*/ 3335364 h 3675374"/>
              <a:gd name="connsiteX21" fmla="*/ 3004926 w 5684669"/>
              <a:gd name="connsiteY21" fmla="*/ 3384338 h 3675374"/>
              <a:gd name="connsiteX22" fmla="*/ 2894122 w 5684669"/>
              <a:gd name="connsiteY22" fmla="*/ 3432932 h 3675374"/>
              <a:gd name="connsiteX23" fmla="*/ 2749275 w 5684669"/>
              <a:gd name="connsiteY23" fmla="*/ 3399767 h 3675374"/>
              <a:gd name="connsiteX24" fmla="*/ 2665100 w 5684669"/>
              <a:gd name="connsiteY24" fmla="*/ 3430614 h 3675374"/>
              <a:gd name="connsiteX25" fmla="*/ 2463219 w 5684669"/>
              <a:gd name="connsiteY25" fmla="*/ 3362671 h 3675374"/>
              <a:gd name="connsiteX26" fmla="*/ 2307093 w 5684669"/>
              <a:gd name="connsiteY26" fmla="*/ 3380717 h 3675374"/>
              <a:gd name="connsiteX27" fmla="*/ 2239952 w 5684669"/>
              <a:gd name="connsiteY27" fmla="*/ 3424565 h 3675374"/>
              <a:gd name="connsiteX28" fmla="*/ 2055856 w 5684669"/>
              <a:gd name="connsiteY28" fmla="*/ 3423342 h 3675374"/>
              <a:gd name="connsiteX29" fmla="*/ 1951849 w 5684669"/>
              <a:gd name="connsiteY29" fmla="*/ 3345337 h 3675374"/>
              <a:gd name="connsiteX30" fmla="*/ 1826208 w 5684669"/>
              <a:gd name="connsiteY30" fmla="*/ 3436753 h 3675374"/>
              <a:gd name="connsiteX31" fmla="*/ 1720137 w 5684669"/>
              <a:gd name="connsiteY31" fmla="*/ 3529378 h 3675374"/>
              <a:gd name="connsiteX32" fmla="*/ 1639342 w 5684669"/>
              <a:gd name="connsiteY32" fmla="*/ 3533356 h 3675374"/>
              <a:gd name="connsiteX33" fmla="*/ 1605156 w 5684669"/>
              <a:gd name="connsiteY33" fmla="*/ 3475346 h 3675374"/>
              <a:gd name="connsiteX34" fmla="*/ 1496815 w 5684669"/>
              <a:gd name="connsiteY34" fmla="*/ 3475345 h 3675374"/>
              <a:gd name="connsiteX35" fmla="*/ 1418604 w 5684669"/>
              <a:gd name="connsiteY35" fmla="*/ 3438469 h 3675374"/>
              <a:gd name="connsiteX36" fmla="*/ 1323469 w 5684669"/>
              <a:gd name="connsiteY36" fmla="*/ 3479680 h 3675374"/>
              <a:gd name="connsiteX37" fmla="*/ 1205085 w 5684669"/>
              <a:gd name="connsiteY37" fmla="*/ 3481921 h 3675374"/>
              <a:gd name="connsiteX38" fmla="*/ 1146066 w 5684669"/>
              <a:gd name="connsiteY38" fmla="*/ 3525353 h 3675374"/>
              <a:gd name="connsiteX39" fmla="*/ 1077864 w 5684669"/>
              <a:gd name="connsiteY39" fmla="*/ 3481922 h 3675374"/>
              <a:gd name="connsiteX40" fmla="*/ 994112 w 5684669"/>
              <a:gd name="connsiteY40" fmla="*/ 3488347 h 3675374"/>
              <a:gd name="connsiteX41" fmla="*/ 918838 w 5684669"/>
              <a:gd name="connsiteY41" fmla="*/ 3458068 h 3675374"/>
              <a:gd name="connsiteX42" fmla="*/ 851047 w 5684669"/>
              <a:gd name="connsiteY42" fmla="*/ 3398353 h 3675374"/>
              <a:gd name="connsiteX43" fmla="*/ 768762 w 5684669"/>
              <a:gd name="connsiteY43" fmla="*/ 3488347 h 3675374"/>
              <a:gd name="connsiteX44" fmla="*/ 634033 w 5684669"/>
              <a:gd name="connsiteY44" fmla="*/ 3525352 h 3675374"/>
              <a:gd name="connsiteX45" fmla="*/ 521745 w 5684669"/>
              <a:gd name="connsiteY45" fmla="*/ 3501348 h 3675374"/>
              <a:gd name="connsiteX46" fmla="*/ 426681 w 5684669"/>
              <a:gd name="connsiteY46" fmla="*/ 3524647 h 3675374"/>
              <a:gd name="connsiteX47" fmla="*/ 364508 w 5684669"/>
              <a:gd name="connsiteY47" fmla="*/ 3393983 h 3675374"/>
              <a:gd name="connsiteX48" fmla="*/ 351970 w 5684669"/>
              <a:gd name="connsiteY48" fmla="*/ 376566 h 3675374"/>
              <a:gd name="connsiteX0" fmla="*/ 351970 w 5684669"/>
              <a:gd name="connsiteY0" fmla="*/ 223972 h 3522780"/>
              <a:gd name="connsiteX1" fmla="*/ 5316897 w 5684669"/>
              <a:gd name="connsiteY1" fmla="*/ 225059 h 3522780"/>
              <a:gd name="connsiteX2" fmla="*/ 5316898 w 5684669"/>
              <a:gd name="connsiteY2" fmla="*/ 3241389 h 3522780"/>
              <a:gd name="connsiteX3" fmla="*/ 5257827 w 5684669"/>
              <a:gd name="connsiteY3" fmla="*/ 3340918 h 3522780"/>
              <a:gd name="connsiteX4" fmla="*/ 5125981 w 5684669"/>
              <a:gd name="connsiteY4" fmla="*/ 3371344 h 3522780"/>
              <a:gd name="connsiteX5" fmla="*/ 4933465 w 5684669"/>
              <a:gd name="connsiteY5" fmla="*/ 3283166 h 3522780"/>
              <a:gd name="connsiteX6" fmla="*/ 4763520 w 5684669"/>
              <a:gd name="connsiteY6" fmla="*/ 3333244 h 3522780"/>
              <a:gd name="connsiteX7" fmla="*/ 4573321 w 5684669"/>
              <a:gd name="connsiteY7" fmla="*/ 3304322 h 3522780"/>
              <a:gd name="connsiteX8" fmla="*/ 4360851 w 5684669"/>
              <a:gd name="connsiteY8" fmla="*/ 3288192 h 3522780"/>
              <a:gd name="connsiteX9" fmla="*/ 4201013 w 5684669"/>
              <a:gd name="connsiteY9" fmla="*/ 3171074 h 3522780"/>
              <a:gd name="connsiteX10" fmla="*/ 4053668 w 5684669"/>
              <a:gd name="connsiteY10" fmla="*/ 3205743 h 3522780"/>
              <a:gd name="connsiteX11" fmla="*/ 3940066 w 5684669"/>
              <a:gd name="connsiteY11" fmla="*/ 3284671 h 3522780"/>
              <a:gd name="connsiteX12" fmla="*/ 3876360 w 5684669"/>
              <a:gd name="connsiteY12" fmla="*/ 3225153 h 3522780"/>
              <a:gd name="connsiteX13" fmla="*/ 3728645 w 5684669"/>
              <a:gd name="connsiteY13" fmla="*/ 3283749 h 3522780"/>
              <a:gd name="connsiteX14" fmla="*/ 3626735 w 5684669"/>
              <a:gd name="connsiteY14" fmla="*/ 3270488 h 3522780"/>
              <a:gd name="connsiteX15" fmla="*/ 3525301 w 5684669"/>
              <a:gd name="connsiteY15" fmla="*/ 3280638 h 3522780"/>
              <a:gd name="connsiteX16" fmla="*/ 3434473 w 5684669"/>
              <a:gd name="connsiteY16" fmla="*/ 3199202 h 3522780"/>
              <a:gd name="connsiteX17" fmla="*/ 3335191 w 5684669"/>
              <a:gd name="connsiteY17" fmla="*/ 3217650 h 3522780"/>
              <a:gd name="connsiteX18" fmla="*/ 3199939 w 5684669"/>
              <a:gd name="connsiteY18" fmla="*/ 3093068 h 3522780"/>
              <a:gd name="connsiteX19" fmla="*/ 3111013 w 5684669"/>
              <a:gd name="connsiteY19" fmla="*/ 3127842 h 3522780"/>
              <a:gd name="connsiteX20" fmla="*/ 3074239 w 5684669"/>
              <a:gd name="connsiteY20" fmla="*/ 3182770 h 3522780"/>
              <a:gd name="connsiteX21" fmla="*/ 3004926 w 5684669"/>
              <a:gd name="connsiteY21" fmla="*/ 3231744 h 3522780"/>
              <a:gd name="connsiteX22" fmla="*/ 2894122 w 5684669"/>
              <a:gd name="connsiteY22" fmla="*/ 3280338 h 3522780"/>
              <a:gd name="connsiteX23" fmla="*/ 2749275 w 5684669"/>
              <a:gd name="connsiteY23" fmla="*/ 3247173 h 3522780"/>
              <a:gd name="connsiteX24" fmla="*/ 2665100 w 5684669"/>
              <a:gd name="connsiteY24" fmla="*/ 3278020 h 3522780"/>
              <a:gd name="connsiteX25" fmla="*/ 2463219 w 5684669"/>
              <a:gd name="connsiteY25" fmla="*/ 3210077 h 3522780"/>
              <a:gd name="connsiteX26" fmla="*/ 2307093 w 5684669"/>
              <a:gd name="connsiteY26" fmla="*/ 3228123 h 3522780"/>
              <a:gd name="connsiteX27" fmla="*/ 2239952 w 5684669"/>
              <a:gd name="connsiteY27" fmla="*/ 3271971 h 3522780"/>
              <a:gd name="connsiteX28" fmla="*/ 2055856 w 5684669"/>
              <a:gd name="connsiteY28" fmla="*/ 3270748 h 3522780"/>
              <a:gd name="connsiteX29" fmla="*/ 1951849 w 5684669"/>
              <a:gd name="connsiteY29" fmla="*/ 3192743 h 3522780"/>
              <a:gd name="connsiteX30" fmla="*/ 1826208 w 5684669"/>
              <a:gd name="connsiteY30" fmla="*/ 3284159 h 3522780"/>
              <a:gd name="connsiteX31" fmla="*/ 1720137 w 5684669"/>
              <a:gd name="connsiteY31" fmla="*/ 3376784 h 3522780"/>
              <a:gd name="connsiteX32" fmla="*/ 1639342 w 5684669"/>
              <a:gd name="connsiteY32" fmla="*/ 3380762 h 3522780"/>
              <a:gd name="connsiteX33" fmla="*/ 1605156 w 5684669"/>
              <a:gd name="connsiteY33" fmla="*/ 3322752 h 3522780"/>
              <a:gd name="connsiteX34" fmla="*/ 1496815 w 5684669"/>
              <a:gd name="connsiteY34" fmla="*/ 3322751 h 3522780"/>
              <a:gd name="connsiteX35" fmla="*/ 1418604 w 5684669"/>
              <a:gd name="connsiteY35" fmla="*/ 3285875 h 3522780"/>
              <a:gd name="connsiteX36" fmla="*/ 1323469 w 5684669"/>
              <a:gd name="connsiteY36" fmla="*/ 3327086 h 3522780"/>
              <a:gd name="connsiteX37" fmla="*/ 1205085 w 5684669"/>
              <a:gd name="connsiteY37" fmla="*/ 3329327 h 3522780"/>
              <a:gd name="connsiteX38" fmla="*/ 1146066 w 5684669"/>
              <a:gd name="connsiteY38" fmla="*/ 3372759 h 3522780"/>
              <a:gd name="connsiteX39" fmla="*/ 1077864 w 5684669"/>
              <a:gd name="connsiteY39" fmla="*/ 3329328 h 3522780"/>
              <a:gd name="connsiteX40" fmla="*/ 994112 w 5684669"/>
              <a:gd name="connsiteY40" fmla="*/ 3335753 h 3522780"/>
              <a:gd name="connsiteX41" fmla="*/ 918838 w 5684669"/>
              <a:gd name="connsiteY41" fmla="*/ 3305474 h 3522780"/>
              <a:gd name="connsiteX42" fmla="*/ 851047 w 5684669"/>
              <a:gd name="connsiteY42" fmla="*/ 3245759 h 3522780"/>
              <a:gd name="connsiteX43" fmla="*/ 768762 w 5684669"/>
              <a:gd name="connsiteY43" fmla="*/ 3335753 h 3522780"/>
              <a:gd name="connsiteX44" fmla="*/ 634033 w 5684669"/>
              <a:gd name="connsiteY44" fmla="*/ 3372758 h 3522780"/>
              <a:gd name="connsiteX45" fmla="*/ 521745 w 5684669"/>
              <a:gd name="connsiteY45" fmla="*/ 3348754 h 3522780"/>
              <a:gd name="connsiteX46" fmla="*/ 426681 w 5684669"/>
              <a:gd name="connsiteY46" fmla="*/ 3372053 h 3522780"/>
              <a:gd name="connsiteX47" fmla="*/ 364508 w 5684669"/>
              <a:gd name="connsiteY47" fmla="*/ 3241389 h 3522780"/>
              <a:gd name="connsiteX48" fmla="*/ 351970 w 5684669"/>
              <a:gd name="connsiteY48" fmla="*/ 223972 h 3522780"/>
              <a:gd name="connsiteX0" fmla="*/ 3403 w 5336102"/>
              <a:gd name="connsiteY0" fmla="*/ 223972 h 3522780"/>
              <a:gd name="connsiteX1" fmla="*/ 4968330 w 5336102"/>
              <a:gd name="connsiteY1" fmla="*/ 225059 h 3522780"/>
              <a:gd name="connsiteX2" fmla="*/ 4968331 w 5336102"/>
              <a:gd name="connsiteY2" fmla="*/ 3241389 h 3522780"/>
              <a:gd name="connsiteX3" fmla="*/ 4909260 w 5336102"/>
              <a:gd name="connsiteY3" fmla="*/ 3340918 h 3522780"/>
              <a:gd name="connsiteX4" fmla="*/ 4777414 w 5336102"/>
              <a:gd name="connsiteY4" fmla="*/ 3371344 h 3522780"/>
              <a:gd name="connsiteX5" fmla="*/ 4584898 w 5336102"/>
              <a:gd name="connsiteY5" fmla="*/ 3283166 h 3522780"/>
              <a:gd name="connsiteX6" fmla="*/ 4414953 w 5336102"/>
              <a:gd name="connsiteY6" fmla="*/ 3333244 h 3522780"/>
              <a:gd name="connsiteX7" fmla="*/ 4224754 w 5336102"/>
              <a:gd name="connsiteY7" fmla="*/ 3304322 h 3522780"/>
              <a:gd name="connsiteX8" fmla="*/ 4012284 w 5336102"/>
              <a:gd name="connsiteY8" fmla="*/ 3288192 h 3522780"/>
              <a:gd name="connsiteX9" fmla="*/ 3852446 w 5336102"/>
              <a:gd name="connsiteY9" fmla="*/ 3171074 h 3522780"/>
              <a:gd name="connsiteX10" fmla="*/ 3705101 w 5336102"/>
              <a:gd name="connsiteY10" fmla="*/ 3205743 h 3522780"/>
              <a:gd name="connsiteX11" fmla="*/ 3591499 w 5336102"/>
              <a:gd name="connsiteY11" fmla="*/ 3284671 h 3522780"/>
              <a:gd name="connsiteX12" fmla="*/ 3527793 w 5336102"/>
              <a:gd name="connsiteY12" fmla="*/ 3225153 h 3522780"/>
              <a:gd name="connsiteX13" fmla="*/ 3380078 w 5336102"/>
              <a:gd name="connsiteY13" fmla="*/ 3283749 h 3522780"/>
              <a:gd name="connsiteX14" fmla="*/ 3278168 w 5336102"/>
              <a:gd name="connsiteY14" fmla="*/ 3270488 h 3522780"/>
              <a:gd name="connsiteX15" fmla="*/ 3176734 w 5336102"/>
              <a:gd name="connsiteY15" fmla="*/ 3280638 h 3522780"/>
              <a:gd name="connsiteX16" fmla="*/ 3085906 w 5336102"/>
              <a:gd name="connsiteY16" fmla="*/ 3199202 h 3522780"/>
              <a:gd name="connsiteX17" fmla="*/ 2986624 w 5336102"/>
              <a:gd name="connsiteY17" fmla="*/ 3217650 h 3522780"/>
              <a:gd name="connsiteX18" fmla="*/ 2851372 w 5336102"/>
              <a:gd name="connsiteY18" fmla="*/ 3093068 h 3522780"/>
              <a:gd name="connsiteX19" fmla="*/ 2762446 w 5336102"/>
              <a:gd name="connsiteY19" fmla="*/ 3127842 h 3522780"/>
              <a:gd name="connsiteX20" fmla="*/ 2725672 w 5336102"/>
              <a:gd name="connsiteY20" fmla="*/ 3182770 h 3522780"/>
              <a:gd name="connsiteX21" fmla="*/ 2656359 w 5336102"/>
              <a:gd name="connsiteY21" fmla="*/ 3231744 h 3522780"/>
              <a:gd name="connsiteX22" fmla="*/ 2545555 w 5336102"/>
              <a:gd name="connsiteY22" fmla="*/ 3280338 h 3522780"/>
              <a:gd name="connsiteX23" fmla="*/ 2400708 w 5336102"/>
              <a:gd name="connsiteY23" fmla="*/ 3247173 h 3522780"/>
              <a:gd name="connsiteX24" fmla="*/ 2316533 w 5336102"/>
              <a:gd name="connsiteY24" fmla="*/ 3278020 h 3522780"/>
              <a:gd name="connsiteX25" fmla="*/ 2114652 w 5336102"/>
              <a:gd name="connsiteY25" fmla="*/ 3210077 h 3522780"/>
              <a:gd name="connsiteX26" fmla="*/ 1958526 w 5336102"/>
              <a:gd name="connsiteY26" fmla="*/ 3228123 h 3522780"/>
              <a:gd name="connsiteX27" fmla="*/ 1891385 w 5336102"/>
              <a:gd name="connsiteY27" fmla="*/ 3271971 h 3522780"/>
              <a:gd name="connsiteX28" fmla="*/ 1707289 w 5336102"/>
              <a:gd name="connsiteY28" fmla="*/ 3270748 h 3522780"/>
              <a:gd name="connsiteX29" fmla="*/ 1603282 w 5336102"/>
              <a:gd name="connsiteY29" fmla="*/ 3192743 h 3522780"/>
              <a:gd name="connsiteX30" fmla="*/ 1477641 w 5336102"/>
              <a:gd name="connsiteY30" fmla="*/ 3284159 h 3522780"/>
              <a:gd name="connsiteX31" fmla="*/ 1371570 w 5336102"/>
              <a:gd name="connsiteY31" fmla="*/ 3376784 h 3522780"/>
              <a:gd name="connsiteX32" fmla="*/ 1290775 w 5336102"/>
              <a:gd name="connsiteY32" fmla="*/ 3380762 h 3522780"/>
              <a:gd name="connsiteX33" fmla="*/ 1256589 w 5336102"/>
              <a:gd name="connsiteY33" fmla="*/ 3322752 h 3522780"/>
              <a:gd name="connsiteX34" fmla="*/ 1148248 w 5336102"/>
              <a:gd name="connsiteY34" fmla="*/ 3322751 h 3522780"/>
              <a:gd name="connsiteX35" fmla="*/ 1070037 w 5336102"/>
              <a:gd name="connsiteY35" fmla="*/ 3285875 h 3522780"/>
              <a:gd name="connsiteX36" fmla="*/ 974902 w 5336102"/>
              <a:gd name="connsiteY36" fmla="*/ 3327086 h 3522780"/>
              <a:gd name="connsiteX37" fmla="*/ 856518 w 5336102"/>
              <a:gd name="connsiteY37" fmla="*/ 3329327 h 3522780"/>
              <a:gd name="connsiteX38" fmla="*/ 797499 w 5336102"/>
              <a:gd name="connsiteY38" fmla="*/ 3372759 h 3522780"/>
              <a:gd name="connsiteX39" fmla="*/ 729297 w 5336102"/>
              <a:gd name="connsiteY39" fmla="*/ 3329328 h 3522780"/>
              <a:gd name="connsiteX40" fmla="*/ 645545 w 5336102"/>
              <a:gd name="connsiteY40" fmla="*/ 3335753 h 3522780"/>
              <a:gd name="connsiteX41" fmla="*/ 570271 w 5336102"/>
              <a:gd name="connsiteY41" fmla="*/ 3305474 h 3522780"/>
              <a:gd name="connsiteX42" fmla="*/ 502480 w 5336102"/>
              <a:gd name="connsiteY42" fmla="*/ 3245759 h 3522780"/>
              <a:gd name="connsiteX43" fmla="*/ 420195 w 5336102"/>
              <a:gd name="connsiteY43" fmla="*/ 3335753 h 3522780"/>
              <a:gd name="connsiteX44" fmla="*/ 285466 w 5336102"/>
              <a:gd name="connsiteY44" fmla="*/ 3372758 h 3522780"/>
              <a:gd name="connsiteX45" fmla="*/ 173178 w 5336102"/>
              <a:gd name="connsiteY45" fmla="*/ 3348754 h 3522780"/>
              <a:gd name="connsiteX46" fmla="*/ 78114 w 5336102"/>
              <a:gd name="connsiteY46" fmla="*/ 3372053 h 3522780"/>
              <a:gd name="connsiteX47" fmla="*/ 15941 w 5336102"/>
              <a:gd name="connsiteY47" fmla="*/ 3241389 h 3522780"/>
              <a:gd name="connsiteX48" fmla="*/ 3403 w 5336102"/>
              <a:gd name="connsiteY48" fmla="*/ 223972 h 3522780"/>
              <a:gd name="connsiteX0" fmla="*/ 3403 w 5336102"/>
              <a:gd name="connsiteY0" fmla="*/ 223972 h 3522780"/>
              <a:gd name="connsiteX1" fmla="*/ 4968330 w 5336102"/>
              <a:gd name="connsiteY1" fmla="*/ 225059 h 3522780"/>
              <a:gd name="connsiteX2" fmla="*/ 4968331 w 5336102"/>
              <a:gd name="connsiteY2" fmla="*/ 3241389 h 3522780"/>
              <a:gd name="connsiteX3" fmla="*/ 4909260 w 5336102"/>
              <a:gd name="connsiteY3" fmla="*/ 3340918 h 3522780"/>
              <a:gd name="connsiteX4" fmla="*/ 4777414 w 5336102"/>
              <a:gd name="connsiteY4" fmla="*/ 3371344 h 3522780"/>
              <a:gd name="connsiteX5" fmla="*/ 4584898 w 5336102"/>
              <a:gd name="connsiteY5" fmla="*/ 3283166 h 3522780"/>
              <a:gd name="connsiteX6" fmla="*/ 4414953 w 5336102"/>
              <a:gd name="connsiteY6" fmla="*/ 3333244 h 3522780"/>
              <a:gd name="connsiteX7" fmla="*/ 4224754 w 5336102"/>
              <a:gd name="connsiteY7" fmla="*/ 3304322 h 3522780"/>
              <a:gd name="connsiteX8" fmla="*/ 4012284 w 5336102"/>
              <a:gd name="connsiteY8" fmla="*/ 3288192 h 3522780"/>
              <a:gd name="connsiteX9" fmla="*/ 3852446 w 5336102"/>
              <a:gd name="connsiteY9" fmla="*/ 3171074 h 3522780"/>
              <a:gd name="connsiteX10" fmla="*/ 3705101 w 5336102"/>
              <a:gd name="connsiteY10" fmla="*/ 3205743 h 3522780"/>
              <a:gd name="connsiteX11" fmla="*/ 3591499 w 5336102"/>
              <a:gd name="connsiteY11" fmla="*/ 3284671 h 3522780"/>
              <a:gd name="connsiteX12" fmla="*/ 3527793 w 5336102"/>
              <a:gd name="connsiteY12" fmla="*/ 3225153 h 3522780"/>
              <a:gd name="connsiteX13" fmla="*/ 3380078 w 5336102"/>
              <a:gd name="connsiteY13" fmla="*/ 3283749 h 3522780"/>
              <a:gd name="connsiteX14" fmla="*/ 3278168 w 5336102"/>
              <a:gd name="connsiteY14" fmla="*/ 3270488 h 3522780"/>
              <a:gd name="connsiteX15" fmla="*/ 3176734 w 5336102"/>
              <a:gd name="connsiteY15" fmla="*/ 3280638 h 3522780"/>
              <a:gd name="connsiteX16" fmla="*/ 3085906 w 5336102"/>
              <a:gd name="connsiteY16" fmla="*/ 3199202 h 3522780"/>
              <a:gd name="connsiteX17" fmla="*/ 2986624 w 5336102"/>
              <a:gd name="connsiteY17" fmla="*/ 3217650 h 3522780"/>
              <a:gd name="connsiteX18" fmla="*/ 2851372 w 5336102"/>
              <a:gd name="connsiteY18" fmla="*/ 3093068 h 3522780"/>
              <a:gd name="connsiteX19" fmla="*/ 2762446 w 5336102"/>
              <a:gd name="connsiteY19" fmla="*/ 3127842 h 3522780"/>
              <a:gd name="connsiteX20" fmla="*/ 2725672 w 5336102"/>
              <a:gd name="connsiteY20" fmla="*/ 3182770 h 3522780"/>
              <a:gd name="connsiteX21" fmla="*/ 2656359 w 5336102"/>
              <a:gd name="connsiteY21" fmla="*/ 3231744 h 3522780"/>
              <a:gd name="connsiteX22" fmla="*/ 2545555 w 5336102"/>
              <a:gd name="connsiteY22" fmla="*/ 3280338 h 3522780"/>
              <a:gd name="connsiteX23" fmla="*/ 2400708 w 5336102"/>
              <a:gd name="connsiteY23" fmla="*/ 3247173 h 3522780"/>
              <a:gd name="connsiteX24" fmla="*/ 2316533 w 5336102"/>
              <a:gd name="connsiteY24" fmla="*/ 3278020 h 3522780"/>
              <a:gd name="connsiteX25" fmla="*/ 2114652 w 5336102"/>
              <a:gd name="connsiteY25" fmla="*/ 3210077 h 3522780"/>
              <a:gd name="connsiteX26" fmla="*/ 1958526 w 5336102"/>
              <a:gd name="connsiteY26" fmla="*/ 3228123 h 3522780"/>
              <a:gd name="connsiteX27" fmla="*/ 1891385 w 5336102"/>
              <a:gd name="connsiteY27" fmla="*/ 3271971 h 3522780"/>
              <a:gd name="connsiteX28" fmla="*/ 1707289 w 5336102"/>
              <a:gd name="connsiteY28" fmla="*/ 3270748 h 3522780"/>
              <a:gd name="connsiteX29" fmla="*/ 1603282 w 5336102"/>
              <a:gd name="connsiteY29" fmla="*/ 3192743 h 3522780"/>
              <a:gd name="connsiteX30" fmla="*/ 1477641 w 5336102"/>
              <a:gd name="connsiteY30" fmla="*/ 3284159 h 3522780"/>
              <a:gd name="connsiteX31" fmla="*/ 1371570 w 5336102"/>
              <a:gd name="connsiteY31" fmla="*/ 3376784 h 3522780"/>
              <a:gd name="connsiteX32" fmla="*/ 1290775 w 5336102"/>
              <a:gd name="connsiteY32" fmla="*/ 3380762 h 3522780"/>
              <a:gd name="connsiteX33" fmla="*/ 1256589 w 5336102"/>
              <a:gd name="connsiteY33" fmla="*/ 3322752 h 3522780"/>
              <a:gd name="connsiteX34" fmla="*/ 1148248 w 5336102"/>
              <a:gd name="connsiteY34" fmla="*/ 3322751 h 3522780"/>
              <a:gd name="connsiteX35" fmla="*/ 1070037 w 5336102"/>
              <a:gd name="connsiteY35" fmla="*/ 3285875 h 3522780"/>
              <a:gd name="connsiteX36" fmla="*/ 974902 w 5336102"/>
              <a:gd name="connsiteY36" fmla="*/ 3327086 h 3522780"/>
              <a:gd name="connsiteX37" fmla="*/ 856518 w 5336102"/>
              <a:gd name="connsiteY37" fmla="*/ 3329327 h 3522780"/>
              <a:gd name="connsiteX38" fmla="*/ 797499 w 5336102"/>
              <a:gd name="connsiteY38" fmla="*/ 3372759 h 3522780"/>
              <a:gd name="connsiteX39" fmla="*/ 729297 w 5336102"/>
              <a:gd name="connsiteY39" fmla="*/ 3329328 h 3522780"/>
              <a:gd name="connsiteX40" fmla="*/ 645545 w 5336102"/>
              <a:gd name="connsiteY40" fmla="*/ 3335753 h 3522780"/>
              <a:gd name="connsiteX41" fmla="*/ 570271 w 5336102"/>
              <a:gd name="connsiteY41" fmla="*/ 3305474 h 3522780"/>
              <a:gd name="connsiteX42" fmla="*/ 502480 w 5336102"/>
              <a:gd name="connsiteY42" fmla="*/ 3245759 h 3522780"/>
              <a:gd name="connsiteX43" fmla="*/ 420195 w 5336102"/>
              <a:gd name="connsiteY43" fmla="*/ 3335753 h 3522780"/>
              <a:gd name="connsiteX44" fmla="*/ 285466 w 5336102"/>
              <a:gd name="connsiteY44" fmla="*/ 3372758 h 3522780"/>
              <a:gd name="connsiteX45" fmla="*/ 173178 w 5336102"/>
              <a:gd name="connsiteY45" fmla="*/ 3348754 h 3522780"/>
              <a:gd name="connsiteX46" fmla="*/ 78114 w 5336102"/>
              <a:gd name="connsiteY46" fmla="*/ 3372053 h 3522780"/>
              <a:gd name="connsiteX47" fmla="*/ 15941 w 5336102"/>
              <a:gd name="connsiteY47" fmla="*/ 3241389 h 3522780"/>
              <a:gd name="connsiteX48" fmla="*/ 3403 w 5336102"/>
              <a:gd name="connsiteY48" fmla="*/ 223972 h 3522780"/>
              <a:gd name="connsiteX0" fmla="*/ 3403 w 5336102"/>
              <a:gd name="connsiteY0" fmla="*/ 3791 h 3302599"/>
              <a:gd name="connsiteX1" fmla="*/ 4968330 w 5336102"/>
              <a:gd name="connsiteY1" fmla="*/ 4878 h 3302599"/>
              <a:gd name="connsiteX2" fmla="*/ 4968331 w 5336102"/>
              <a:gd name="connsiteY2" fmla="*/ 3021208 h 3302599"/>
              <a:gd name="connsiteX3" fmla="*/ 4909260 w 5336102"/>
              <a:gd name="connsiteY3" fmla="*/ 3120737 h 3302599"/>
              <a:gd name="connsiteX4" fmla="*/ 4777414 w 5336102"/>
              <a:gd name="connsiteY4" fmla="*/ 3151163 h 3302599"/>
              <a:gd name="connsiteX5" fmla="*/ 4584898 w 5336102"/>
              <a:gd name="connsiteY5" fmla="*/ 3062985 h 3302599"/>
              <a:gd name="connsiteX6" fmla="*/ 4414953 w 5336102"/>
              <a:gd name="connsiteY6" fmla="*/ 3113063 h 3302599"/>
              <a:gd name="connsiteX7" fmla="*/ 4224754 w 5336102"/>
              <a:gd name="connsiteY7" fmla="*/ 3084141 h 3302599"/>
              <a:gd name="connsiteX8" fmla="*/ 4012284 w 5336102"/>
              <a:gd name="connsiteY8" fmla="*/ 3068011 h 3302599"/>
              <a:gd name="connsiteX9" fmla="*/ 3852446 w 5336102"/>
              <a:gd name="connsiteY9" fmla="*/ 2950893 h 3302599"/>
              <a:gd name="connsiteX10" fmla="*/ 3705101 w 5336102"/>
              <a:gd name="connsiteY10" fmla="*/ 2985562 h 3302599"/>
              <a:gd name="connsiteX11" fmla="*/ 3591499 w 5336102"/>
              <a:gd name="connsiteY11" fmla="*/ 3064490 h 3302599"/>
              <a:gd name="connsiteX12" fmla="*/ 3527793 w 5336102"/>
              <a:gd name="connsiteY12" fmla="*/ 3004972 h 3302599"/>
              <a:gd name="connsiteX13" fmla="*/ 3380078 w 5336102"/>
              <a:gd name="connsiteY13" fmla="*/ 3063568 h 3302599"/>
              <a:gd name="connsiteX14" fmla="*/ 3278168 w 5336102"/>
              <a:gd name="connsiteY14" fmla="*/ 3050307 h 3302599"/>
              <a:gd name="connsiteX15" fmla="*/ 3176734 w 5336102"/>
              <a:gd name="connsiteY15" fmla="*/ 3060457 h 3302599"/>
              <a:gd name="connsiteX16" fmla="*/ 3085906 w 5336102"/>
              <a:gd name="connsiteY16" fmla="*/ 2979021 h 3302599"/>
              <a:gd name="connsiteX17" fmla="*/ 2986624 w 5336102"/>
              <a:gd name="connsiteY17" fmla="*/ 2997469 h 3302599"/>
              <a:gd name="connsiteX18" fmla="*/ 2851372 w 5336102"/>
              <a:gd name="connsiteY18" fmla="*/ 2872887 h 3302599"/>
              <a:gd name="connsiteX19" fmla="*/ 2762446 w 5336102"/>
              <a:gd name="connsiteY19" fmla="*/ 2907661 h 3302599"/>
              <a:gd name="connsiteX20" fmla="*/ 2725672 w 5336102"/>
              <a:gd name="connsiteY20" fmla="*/ 2962589 h 3302599"/>
              <a:gd name="connsiteX21" fmla="*/ 2656359 w 5336102"/>
              <a:gd name="connsiteY21" fmla="*/ 3011563 h 3302599"/>
              <a:gd name="connsiteX22" fmla="*/ 2545555 w 5336102"/>
              <a:gd name="connsiteY22" fmla="*/ 3060157 h 3302599"/>
              <a:gd name="connsiteX23" fmla="*/ 2400708 w 5336102"/>
              <a:gd name="connsiteY23" fmla="*/ 3026992 h 3302599"/>
              <a:gd name="connsiteX24" fmla="*/ 2316533 w 5336102"/>
              <a:gd name="connsiteY24" fmla="*/ 3057839 h 3302599"/>
              <a:gd name="connsiteX25" fmla="*/ 2114652 w 5336102"/>
              <a:gd name="connsiteY25" fmla="*/ 2989896 h 3302599"/>
              <a:gd name="connsiteX26" fmla="*/ 1958526 w 5336102"/>
              <a:gd name="connsiteY26" fmla="*/ 3007942 h 3302599"/>
              <a:gd name="connsiteX27" fmla="*/ 1891385 w 5336102"/>
              <a:gd name="connsiteY27" fmla="*/ 3051790 h 3302599"/>
              <a:gd name="connsiteX28" fmla="*/ 1707289 w 5336102"/>
              <a:gd name="connsiteY28" fmla="*/ 3050567 h 3302599"/>
              <a:gd name="connsiteX29" fmla="*/ 1603282 w 5336102"/>
              <a:gd name="connsiteY29" fmla="*/ 2972562 h 3302599"/>
              <a:gd name="connsiteX30" fmla="*/ 1477641 w 5336102"/>
              <a:gd name="connsiteY30" fmla="*/ 3063978 h 3302599"/>
              <a:gd name="connsiteX31" fmla="*/ 1371570 w 5336102"/>
              <a:gd name="connsiteY31" fmla="*/ 3156603 h 3302599"/>
              <a:gd name="connsiteX32" fmla="*/ 1290775 w 5336102"/>
              <a:gd name="connsiteY32" fmla="*/ 3160581 h 3302599"/>
              <a:gd name="connsiteX33" fmla="*/ 1256589 w 5336102"/>
              <a:gd name="connsiteY33" fmla="*/ 3102571 h 3302599"/>
              <a:gd name="connsiteX34" fmla="*/ 1148248 w 5336102"/>
              <a:gd name="connsiteY34" fmla="*/ 3102570 h 3302599"/>
              <a:gd name="connsiteX35" fmla="*/ 1070037 w 5336102"/>
              <a:gd name="connsiteY35" fmla="*/ 3065694 h 3302599"/>
              <a:gd name="connsiteX36" fmla="*/ 974902 w 5336102"/>
              <a:gd name="connsiteY36" fmla="*/ 3106905 h 3302599"/>
              <a:gd name="connsiteX37" fmla="*/ 856518 w 5336102"/>
              <a:gd name="connsiteY37" fmla="*/ 3109146 h 3302599"/>
              <a:gd name="connsiteX38" fmla="*/ 797499 w 5336102"/>
              <a:gd name="connsiteY38" fmla="*/ 3152578 h 3302599"/>
              <a:gd name="connsiteX39" fmla="*/ 729297 w 5336102"/>
              <a:gd name="connsiteY39" fmla="*/ 3109147 h 3302599"/>
              <a:gd name="connsiteX40" fmla="*/ 645545 w 5336102"/>
              <a:gd name="connsiteY40" fmla="*/ 3115572 h 3302599"/>
              <a:gd name="connsiteX41" fmla="*/ 570271 w 5336102"/>
              <a:gd name="connsiteY41" fmla="*/ 3085293 h 3302599"/>
              <a:gd name="connsiteX42" fmla="*/ 502480 w 5336102"/>
              <a:gd name="connsiteY42" fmla="*/ 3025578 h 3302599"/>
              <a:gd name="connsiteX43" fmla="*/ 420195 w 5336102"/>
              <a:gd name="connsiteY43" fmla="*/ 3115572 h 3302599"/>
              <a:gd name="connsiteX44" fmla="*/ 285466 w 5336102"/>
              <a:gd name="connsiteY44" fmla="*/ 3152577 h 3302599"/>
              <a:gd name="connsiteX45" fmla="*/ 173178 w 5336102"/>
              <a:gd name="connsiteY45" fmla="*/ 3128573 h 3302599"/>
              <a:gd name="connsiteX46" fmla="*/ 78114 w 5336102"/>
              <a:gd name="connsiteY46" fmla="*/ 3151872 h 3302599"/>
              <a:gd name="connsiteX47" fmla="*/ 15941 w 5336102"/>
              <a:gd name="connsiteY47" fmla="*/ 3021208 h 3302599"/>
              <a:gd name="connsiteX48" fmla="*/ 3403 w 5336102"/>
              <a:gd name="connsiteY48" fmla="*/ 3791 h 3302599"/>
              <a:gd name="connsiteX0" fmla="*/ 3403 w 4969076"/>
              <a:gd name="connsiteY0" fmla="*/ 3791 h 3302599"/>
              <a:gd name="connsiteX1" fmla="*/ 4968330 w 4969076"/>
              <a:gd name="connsiteY1" fmla="*/ 4878 h 3302599"/>
              <a:gd name="connsiteX2" fmla="*/ 4968331 w 4969076"/>
              <a:gd name="connsiteY2" fmla="*/ 3021208 h 3302599"/>
              <a:gd name="connsiteX3" fmla="*/ 4909260 w 4969076"/>
              <a:gd name="connsiteY3" fmla="*/ 3120737 h 3302599"/>
              <a:gd name="connsiteX4" fmla="*/ 4777414 w 4969076"/>
              <a:gd name="connsiteY4" fmla="*/ 3151163 h 3302599"/>
              <a:gd name="connsiteX5" fmla="*/ 4584898 w 4969076"/>
              <a:gd name="connsiteY5" fmla="*/ 3062985 h 3302599"/>
              <a:gd name="connsiteX6" fmla="*/ 4414953 w 4969076"/>
              <a:gd name="connsiteY6" fmla="*/ 3113063 h 3302599"/>
              <a:gd name="connsiteX7" fmla="*/ 4224754 w 4969076"/>
              <a:gd name="connsiteY7" fmla="*/ 3084141 h 3302599"/>
              <a:gd name="connsiteX8" fmla="*/ 4012284 w 4969076"/>
              <a:gd name="connsiteY8" fmla="*/ 3068011 h 3302599"/>
              <a:gd name="connsiteX9" fmla="*/ 3852446 w 4969076"/>
              <a:gd name="connsiteY9" fmla="*/ 2950893 h 3302599"/>
              <a:gd name="connsiteX10" fmla="*/ 3705101 w 4969076"/>
              <a:gd name="connsiteY10" fmla="*/ 2985562 h 3302599"/>
              <a:gd name="connsiteX11" fmla="*/ 3591499 w 4969076"/>
              <a:gd name="connsiteY11" fmla="*/ 3064490 h 3302599"/>
              <a:gd name="connsiteX12" fmla="*/ 3527793 w 4969076"/>
              <a:gd name="connsiteY12" fmla="*/ 3004972 h 3302599"/>
              <a:gd name="connsiteX13" fmla="*/ 3380078 w 4969076"/>
              <a:gd name="connsiteY13" fmla="*/ 3063568 h 3302599"/>
              <a:gd name="connsiteX14" fmla="*/ 3278168 w 4969076"/>
              <a:gd name="connsiteY14" fmla="*/ 3050307 h 3302599"/>
              <a:gd name="connsiteX15" fmla="*/ 3176734 w 4969076"/>
              <a:gd name="connsiteY15" fmla="*/ 3060457 h 3302599"/>
              <a:gd name="connsiteX16" fmla="*/ 3085906 w 4969076"/>
              <a:gd name="connsiteY16" fmla="*/ 2979021 h 3302599"/>
              <a:gd name="connsiteX17" fmla="*/ 2986624 w 4969076"/>
              <a:gd name="connsiteY17" fmla="*/ 2997469 h 3302599"/>
              <a:gd name="connsiteX18" fmla="*/ 2851372 w 4969076"/>
              <a:gd name="connsiteY18" fmla="*/ 2872887 h 3302599"/>
              <a:gd name="connsiteX19" fmla="*/ 2762446 w 4969076"/>
              <a:gd name="connsiteY19" fmla="*/ 2907661 h 3302599"/>
              <a:gd name="connsiteX20" fmla="*/ 2725672 w 4969076"/>
              <a:gd name="connsiteY20" fmla="*/ 2962589 h 3302599"/>
              <a:gd name="connsiteX21" fmla="*/ 2656359 w 4969076"/>
              <a:gd name="connsiteY21" fmla="*/ 3011563 h 3302599"/>
              <a:gd name="connsiteX22" fmla="*/ 2545555 w 4969076"/>
              <a:gd name="connsiteY22" fmla="*/ 3060157 h 3302599"/>
              <a:gd name="connsiteX23" fmla="*/ 2400708 w 4969076"/>
              <a:gd name="connsiteY23" fmla="*/ 3026992 h 3302599"/>
              <a:gd name="connsiteX24" fmla="*/ 2316533 w 4969076"/>
              <a:gd name="connsiteY24" fmla="*/ 3057839 h 3302599"/>
              <a:gd name="connsiteX25" fmla="*/ 2114652 w 4969076"/>
              <a:gd name="connsiteY25" fmla="*/ 2989896 h 3302599"/>
              <a:gd name="connsiteX26" fmla="*/ 1958526 w 4969076"/>
              <a:gd name="connsiteY26" fmla="*/ 3007942 h 3302599"/>
              <a:gd name="connsiteX27" fmla="*/ 1891385 w 4969076"/>
              <a:gd name="connsiteY27" fmla="*/ 3051790 h 3302599"/>
              <a:gd name="connsiteX28" fmla="*/ 1707289 w 4969076"/>
              <a:gd name="connsiteY28" fmla="*/ 3050567 h 3302599"/>
              <a:gd name="connsiteX29" fmla="*/ 1603282 w 4969076"/>
              <a:gd name="connsiteY29" fmla="*/ 2972562 h 3302599"/>
              <a:gd name="connsiteX30" fmla="*/ 1477641 w 4969076"/>
              <a:gd name="connsiteY30" fmla="*/ 3063978 h 3302599"/>
              <a:gd name="connsiteX31" fmla="*/ 1371570 w 4969076"/>
              <a:gd name="connsiteY31" fmla="*/ 3156603 h 3302599"/>
              <a:gd name="connsiteX32" fmla="*/ 1290775 w 4969076"/>
              <a:gd name="connsiteY32" fmla="*/ 3160581 h 3302599"/>
              <a:gd name="connsiteX33" fmla="*/ 1256589 w 4969076"/>
              <a:gd name="connsiteY33" fmla="*/ 3102571 h 3302599"/>
              <a:gd name="connsiteX34" fmla="*/ 1148248 w 4969076"/>
              <a:gd name="connsiteY34" fmla="*/ 3102570 h 3302599"/>
              <a:gd name="connsiteX35" fmla="*/ 1070037 w 4969076"/>
              <a:gd name="connsiteY35" fmla="*/ 3065694 h 3302599"/>
              <a:gd name="connsiteX36" fmla="*/ 974902 w 4969076"/>
              <a:gd name="connsiteY36" fmla="*/ 3106905 h 3302599"/>
              <a:gd name="connsiteX37" fmla="*/ 856518 w 4969076"/>
              <a:gd name="connsiteY37" fmla="*/ 3109146 h 3302599"/>
              <a:gd name="connsiteX38" fmla="*/ 797499 w 4969076"/>
              <a:gd name="connsiteY38" fmla="*/ 3152578 h 3302599"/>
              <a:gd name="connsiteX39" fmla="*/ 729297 w 4969076"/>
              <a:gd name="connsiteY39" fmla="*/ 3109147 h 3302599"/>
              <a:gd name="connsiteX40" fmla="*/ 645545 w 4969076"/>
              <a:gd name="connsiteY40" fmla="*/ 3115572 h 3302599"/>
              <a:gd name="connsiteX41" fmla="*/ 570271 w 4969076"/>
              <a:gd name="connsiteY41" fmla="*/ 3085293 h 3302599"/>
              <a:gd name="connsiteX42" fmla="*/ 502480 w 4969076"/>
              <a:gd name="connsiteY42" fmla="*/ 3025578 h 3302599"/>
              <a:gd name="connsiteX43" fmla="*/ 420195 w 4969076"/>
              <a:gd name="connsiteY43" fmla="*/ 3115572 h 3302599"/>
              <a:gd name="connsiteX44" fmla="*/ 285466 w 4969076"/>
              <a:gd name="connsiteY44" fmla="*/ 3152577 h 3302599"/>
              <a:gd name="connsiteX45" fmla="*/ 173178 w 4969076"/>
              <a:gd name="connsiteY45" fmla="*/ 3128573 h 3302599"/>
              <a:gd name="connsiteX46" fmla="*/ 78114 w 4969076"/>
              <a:gd name="connsiteY46" fmla="*/ 3151872 h 3302599"/>
              <a:gd name="connsiteX47" fmla="*/ 15941 w 4969076"/>
              <a:gd name="connsiteY47" fmla="*/ 3021208 h 3302599"/>
              <a:gd name="connsiteX48" fmla="*/ 3403 w 4969076"/>
              <a:gd name="connsiteY48" fmla="*/ 3791 h 3302599"/>
              <a:gd name="connsiteX0" fmla="*/ 3403 w 4969076"/>
              <a:gd name="connsiteY0" fmla="*/ 3791 h 3302599"/>
              <a:gd name="connsiteX1" fmla="*/ 4968330 w 4969076"/>
              <a:gd name="connsiteY1" fmla="*/ 4878 h 3302599"/>
              <a:gd name="connsiteX2" fmla="*/ 4968331 w 4969076"/>
              <a:gd name="connsiteY2" fmla="*/ 3021208 h 3302599"/>
              <a:gd name="connsiteX3" fmla="*/ 4909260 w 4969076"/>
              <a:gd name="connsiteY3" fmla="*/ 3120737 h 3302599"/>
              <a:gd name="connsiteX4" fmla="*/ 4777414 w 4969076"/>
              <a:gd name="connsiteY4" fmla="*/ 3151163 h 3302599"/>
              <a:gd name="connsiteX5" fmla="*/ 4584898 w 4969076"/>
              <a:gd name="connsiteY5" fmla="*/ 3062985 h 3302599"/>
              <a:gd name="connsiteX6" fmla="*/ 4414953 w 4969076"/>
              <a:gd name="connsiteY6" fmla="*/ 3113063 h 3302599"/>
              <a:gd name="connsiteX7" fmla="*/ 4224754 w 4969076"/>
              <a:gd name="connsiteY7" fmla="*/ 3084141 h 3302599"/>
              <a:gd name="connsiteX8" fmla="*/ 4012284 w 4969076"/>
              <a:gd name="connsiteY8" fmla="*/ 3068011 h 3302599"/>
              <a:gd name="connsiteX9" fmla="*/ 3852446 w 4969076"/>
              <a:gd name="connsiteY9" fmla="*/ 2950893 h 3302599"/>
              <a:gd name="connsiteX10" fmla="*/ 3705101 w 4969076"/>
              <a:gd name="connsiteY10" fmla="*/ 2985562 h 3302599"/>
              <a:gd name="connsiteX11" fmla="*/ 3591499 w 4969076"/>
              <a:gd name="connsiteY11" fmla="*/ 3064490 h 3302599"/>
              <a:gd name="connsiteX12" fmla="*/ 3527793 w 4969076"/>
              <a:gd name="connsiteY12" fmla="*/ 3004972 h 3302599"/>
              <a:gd name="connsiteX13" fmla="*/ 3380078 w 4969076"/>
              <a:gd name="connsiteY13" fmla="*/ 3063568 h 3302599"/>
              <a:gd name="connsiteX14" fmla="*/ 3278168 w 4969076"/>
              <a:gd name="connsiteY14" fmla="*/ 3050307 h 3302599"/>
              <a:gd name="connsiteX15" fmla="*/ 3176734 w 4969076"/>
              <a:gd name="connsiteY15" fmla="*/ 3060457 h 3302599"/>
              <a:gd name="connsiteX16" fmla="*/ 3085906 w 4969076"/>
              <a:gd name="connsiteY16" fmla="*/ 2979021 h 3302599"/>
              <a:gd name="connsiteX17" fmla="*/ 2986624 w 4969076"/>
              <a:gd name="connsiteY17" fmla="*/ 2997469 h 3302599"/>
              <a:gd name="connsiteX18" fmla="*/ 2851372 w 4969076"/>
              <a:gd name="connsiteY18" fmla="*/ 2872887 h 3302599"/>
              <a:gd name="connsiteX19" fmla="*/ 2762446 w 4969076"/>
              <a:gd name="connsiteY19" fmla="*/ 2907661 h 3302599"/>
              <a:gd name="connsiteX20" fmla="*/ 2725672 w 4969076"/>
              <a:gd name="connsiteY20" fmla="*/ 2962589 h 3302599"/>
              <a:gd name="connsiteX21" fmla="*/ 2656359 w 4969076"/>
              <a:gd name="connsiteY21" fmla="*/ 3011563 h 3302599"/>
              <a:gd name="connsiteX22" fmla="*/ 2545555 w 4969076"/>
              <a:gd name="connsiteY22" fmla="*/ 3060157 h 3302599"/>
              <a:gd name="connsiteX23" fmla="*/ 2400708 w 4969076"/>
              <a:gd name="connsiteY23" fmla="*/ 3026992 h 3302599"/>
              <a:gd name="connsiteX24" fmla="*/ 2316533 w 4969076"/>
              <a:gd name="connsiteY24" fmla="*/ 3057839 h 3302599"/>
              <a:gd name="connsiteX25" fmla="*/ 2114652 w 4969076"/>
              <a:gd name="connsiteY25" fmla="*/ 2989896 h 3302599"/>
              <a:gd name="connsiteX26" fmla="*/ 1958526 w 4969076"/>
              <a:gd name="connsiteY26" fmla="*/ 3007942 h 3302599"/>
              <a:gd name="connsiteX27" fmla="*/ 1891385 w 4969076"/>
              <a:gd name="connsiteY27" fmla="*/ 3051790 h 3302599"/>
              <a:gd name="connsiteX28" fmla="*/ 1707289 w 4969076"/>
              <a:gd name="connsiteY28" fmla="*/ 3050567 h 3302599"/>
              <a:gd name="connsiteX29" fmla="*/ 1603282 w 4969076"/>
              <a:gd name="connsiteY29" fmla="*/ 2972562 h 3302599"/>
              <a:gd name="connsiteX30" fmla="*/ 1477641 w 4969076"/>
              <a:gd name="connsiteY30" fmla="*/ 3063978 h 3302599"/>
              <a:gd name="connsiteX31" fmla="*/ 1371570 w 4969076"/>
              <a:gd name="connsiteY31" fmla="*/ 3156603 h 3302599"/>
              <a:gd name="connsiteX32" fmla="*/ 1290775 w 4969076"/>
              <a:gd name="connsiteY32" fmla="*/ 3160581 h 3302599"/>
              <a:gd name="connsiteX33" fmla="*/ 1256589 w 4969076"/>
              <a:gd name="connsiteY33" fmla="*/ 3102571 h 3302599"/>
              <a:gd name="connsiteX34" fmla="*/ 1148248 w 4969076"/>
              <a:gd name="connsiteY34" fmla="*/ 3102570 h 3302599"/>
              <a:gd name="connsiteX35" fmla="*/ 1070037 w 4969076"/>
              <a:gd name="connsiteY35" fmla="*/ 3065694 h 3302599"/>
              <a:gd name="connsiteX36" fmla="*/ 974902 w 4969076"/>
              <a:gd name="connsiteY36" fmla="*/ 3106905 h 3302599"/>
              <a:gd name="connsiteX37" fmla="*/ 856518 w 4969076"/>
              <a:gd name="connsiteY37" fmla="*/ 3109146 h 3302599"/>
              <a:gd name="connsiteX38" fmla="*/ 797499 w 4969076"/>
              <a:gd name="connsiteY38" fmla="*/ 3152578 h 3302599"/>
              <a:gd name="connsiteX39" fmla="*/ 729297 w 4969076"/>
              <a:gd name="connsiteY39" fmla="*/ 3109147 h 3302599"/>
              <a:gd name="connsiteX40" fmla="*/ 645545 w 4969076"/>
              <a:gd name="connsiteY40" fmla="*/ 3115572 h 3302599"/>
              <a:gd name="connsiteX41" fmla="*/ 570271 w 4969076"/>
              <a:gd name="connsiteY41" fmla="*/ 3085293 h 3302599"/>
              <a:gd name="connsiteX42" fmla="*/ 502480 w 4969076"/>
              <a:gd name="connsiteY42" fmla="*/ 3025578 h 3302599"/>
              <a:gd name="connsiteX43" fmla="*/ 420195 w 4969076"/>
              <a:gd name="connsiteY43" fmla="*/ 3115572 h 3302599"/>
              <a:gd name="connsiteX44" fmla="*/ 285466 w 4969076"/>
              <a:gd name="connsiteY44" fmla="*/ 3152577 h 3302599"/>
              <a:gd name="connsiteX45" fmla="*/ 173178 w 4969076"/>
              <a:gd name="connsiteY45" fmla="*/ 3128573 h 3302599"/>
              <a:gd name="connsiteX46" fmla="*/ 78114 w 4969076"/>
              <a:gd name="connsiteY46" fmla="*/ 3151872 h 3302599"/>
              <a:gd name="connsiteX47" fmla="*/ 15941 w 4969076"/>
              <a:gd name="connsiteY47" fmla="*/ 3021208 h 3302599"/>
              <a:gd name="connsiteX48" fmla="*/ 3403 w 4969076"/>
              <a:gd name="connsiteY48" fmla="*/ 3791 h 3302599"/>
              <a:gd name="connsiteX0" fmla="*/ 8339 w 4974012"/>
              <a:gd name="connsiteY0" fmla="*/ 3791 h 3302597"/>
              <a:gd name="connsiteX1" fmla="*/ 4973266 w 4974012"/>
              <a:gd name="connsiteY1" fmla="*/ 4878 h 3302597"/>
              <a:gd name="connsiteX2" fmla="*/ 4973267 w 4974012"/>
              <a:gd name="connsiteY2" fmla="*/ 3021208 h 3302597"/>
              <a:gd name="connsiteX3" fmla="*/ 4914196 w 4974012"/>
              <a:gd name="connsiteY3" fmla="*/ 3120737 h 3302597"/>
              <a:gd name="connsiteX4" fmla="*/ 4782350 w 4974012"/>
              <a:gd name="connsiteY4" fmla="*/ 3151163 h 3302597"/>
              <a:gd name="connsiteX5" fmla="*/ 4589834 w 4974012"/>
              <a:gd name="connsiteY5" fmla="*/ 3062985 h 3302597"/>
              <a:gd name="connsiteX6" fmla="*/ 4419889 w 4974012"/>
              <a:gd name="connsiteY6" fmla="*/ 3113063 h 3302597"/>
              <a:gd name="connsiteX7" fmla="*/ 4229690 w 4974012"/>
              <a:gd name="connsiteY7" fmla="*/ 3084141 h 3302597"/>
              <a:gd name="connsiteX8" fmla="*/ 4017220 w 4974012"/>
              <a:gd name="connsiteY8" fmla="*/ 3068011 h 3302597"/>
              <a:gd name="connsiteX9" fmla="*/ 3857382 w 4974012"/>
              <a:gd name="connsiteY9" fmla="*/ 2950893 h 3302597"/>
              <a:gd name="connsiteX10" fmla="*/ 3710037 w 4974012"/>
              <a:gd name="connsiteY10" fmla="*/ 2985562 h 3302597"/>
              <a:gd name="connsiteX11" fmla="*/ 3596435 w 4974012"/>
              <a:gd name="connsiteY11" fmla="*/ 3064490 h 3302597"/>
              <a:gd name="connsiteX12" fmla="*/ 3532729 w 4974012"/>
              <a:gd name="connsiteY12" fmla="*/ 3004972 h 3302597"/>
              <a:gd name="connsiteX13" fmla="*/ 3385014 w 4974012"/>
              <a:gd name="connsiteY13" fmla="*/ 3063568 h 3302597"/>
              <a:gd name="connsiteX14" fmla="*/ 3283104 w 4974012"/>
              <a:gd name="connsiteY14" fmla="*/ 3050307 h 3302597"/>
              <a:gd name="connsiteX15" fmla="*/ 3181670 w 4974012"/>
              <a:gd name="connsiteY15" fmla="*/ 3060457 h 3302597"/>
              <a:gd name="connsiteX16" fmla="*/ 3090842 w 4974012"/>
              <a:gd name="connsiteY16" fmla="*/ 2979021 h 3302597"/>
              <a:gd name="connsiteX17" fmla="*/ 2991560 w 4974012"/>
              <a:gd name="connsiteY17" fmla="*/ 2997469 h 3302597"/>
              <a:gd name="connsiteX18" fmla="*/ 2856308 w 4974012"/>
              <a:gd name="connsiteY18" fmla="*/ 2872887 h 3302597"/>
              <a:gd name="connsiteX19" fmla="*/ 2767382 w 4974012"/>
              <a:gd name="connsiteY19" fmla="*/ 2907661 h 3302597"/>
              <a:gd name="connsiteX20" fmla="*/ 2730608 w 4974012"/>
              <a:gd name="connsiteY20" fmla="*/ 2962589 h 3302597"/>
              <a:gd name="connsiteX21" fmla="*/ 2661295 w 4974012"/>
              <a:gd name="connsiteY21" fmla="*/ 3011563 h 3302597"/>
              <a:gd name="connsiteX22" fmla="*/ 2550491 w 4974012"/>
              <a:gd name="connsiteY22" fmla="*/ 3060157 h 3302597"/>
              <a:gd name="connsiteX23" fmla="*/ 2405644 w 4974012"/>
              <a:gd name="connsiteY23" fmla="*/ 3026992 h 3302597"/>
              <a:gd name="connsiteX24" fmla="*/ 2321469 w 4974012"/>
              <a:gd name="connsiteY24" fmla="*/ 3057839 h 3302597"/>
              <a:gd name="connsiteX25" fmla="*/ 2119588 w 4974012"/>
              <a:gd name="connsiteY25" fmla="*/ 2989896 h 3302597"/>
              <a:gd name="connsiteX26" fmla="*/ 1963462 w 4974012"/>
              <a:gd name="connsiteY26" fmla="*/ 3007942 h 3302597"/>
              <a:gd name="connsiteX27" fmla="*/ 1896321 w 4974012"/>
              <a:gd name="connsiteY27" fmla="*/ 3051790 h 3302597"/>
              <a:gd name="connsiteX28" fmla="*/ 1712225 w 4974012"/>
              <a:gd name="connsiteY28" fmla="*/ 3050567 h 3302597"/>
              <a:gd name="connsiteX29" fmla="*/ 1608218 w 4974012"/>
              <a:gd name="connsiteY29" fmla="*/ 2972562 h 3302597"/>
              <a:gd name="connsiteX30" fmla="*/ 1482577 w 4974012"/>
              <a:gd name="connsiteY30" fmla="*/ 3063978 h 3302597"/>
              <a:gd name="connsiteX31" fmla="*/ 1376506 w 4974012"/>
              <a:gd name="connsiteY31" fmla="*/ 3156603 h 3302597"/>
              <a:gd name="connsiteX32" fmla="*/ 1295711 w 4974012"/>
              <a:gd name="connsiteY32" fmla="*/ 3160581 h 3302597"/>
              <a:gd name="connsiteX33" fmla="*/ 1261525 w 4974012"/>
              <a:gd name="connsiteY33" fmla="*/ 3102571 h 3302597"/>
              <a:gd name="connsiteX34" fmla="*/ 1153184 w 4974012"/>
              <a:gd name="connsiteY34" fmla="*/ 3102570 h 3302597"/>
              <a:gd name="connsiteX35" fmla="*/ 1074973 w 4974012"/>
              <a:gd name="connsiteY35" fmla="*/ 3065694 h 3302597"/>
              <a:gd name="connsiteX36" fmla="*/ 979838 w 4974012"/>
              <a:gd name="connsiteY36" fmla="*/ 3106905 h 3302597"/>
              <a:gd name="connsiteX37" fmla="*/ 861454 w 4974012"/>
              <a:gd name="connsiteY37" fmla="*/ 3109146 h 3302597"/>
              <a:gd name="connsiteX38" fmla="*/ 802435 w 4974012"/>
              <a:gd name="connsiteY38" fmla="*/ 3152578 h 3302597"/>
              <a:gd name="connsiteX39" fmla="*/ 734233 w 4974012"/>
              <a:gd name="connsiteY39" fmla="*/ 3109147 h 3302597"/>
              <a:gd name="connsiteX40" fmla="*/ 650481 w 4974012"/>
              <a:gd name="connsiteY40" fmla="*/ 3115572 h 3302597"/>
              <a:gd name="connsiteX41" fmla="*/ 575207 w 4974012"/>
              <a:gd name="connsiteY41" fmla="*/ 3085293 h 3302597"/>
              <a:gd name="connsiteX42" fmla="*/ 507416 w 4974012"/>
              <a:gd name="connsiteY42" fmla="*/ 3025578 h 3302597"/>
              <a:gd name="connsiteX43" fmla="*/ 425131 w 4974012"/>
              <a:gd name="connsiteY43" fmla="*/ 3115572 h 3302597"/>
              <a:gd name="connsiteX44" fmla="*/ 290402 w 4974012"/>
              <a:gd name="connsiteY44" fmla="*/ 3152577 h 3302597"/>
              <a:gd name="connsiteX45" fmla="*/ 178114 w 4974012"/>
              <a:gd name="connsiteY45" fmla="*/ 3128573 h 3302597"/>
              <a:gd name="connsiteX46" fmla="*/ 83050 w 4974012"/>
              <a:gd name="connsiteY46" fmla="*/ 3151872 h 3302597"/>
              <a:gd name="connsiteX47" fmla="*/ 15291 w 4974012"/>
              <a:gd name="connsiteY47" fmla="*/ 3021207 h 3302597"/>
              <a:gd name="connsiteX48" fmla="*/ 8339 w 4974012"/>
              <a:gd name="connsiteY48" fmla="*/ 3791 h 3302597"/>
              <a:gd name="connsiteX0" fmla="*/ 92 w 4965765"/>
              <a:gd name="connsiteY0" fmla="*/ 3791 h 3224561"/>
              <a:gd name="connsiteX1" fmla="*/ 4965019 w 4965765"/>
              <a:gd name="connsiteY1" fmla="*/ 4878 h 3224561"/>
              <a:gd name="connsiteX2" fmla="*/ 4965020 w 4965765"/>
              <a:gd name="connsiteY2" fmla="*/ 3021208 h 3224561"/>
              <a:gd name="connsiteX3" fmla="*/ 4905949 w 4965765"/>
              <a:gd name="connsiteY3" fmla="*/ 3120737 h 3224561"/>
              <a:gd name="connsiteX4" fmla="*/ 4774103 w 4965765"/>
              <a:gd name="connsiteY4" fmla="*/ 3151163 h 3224561"/>
              <a:gd name="connsiteX5" fmla="*/ 4581587 w 4965765"/>
              <a:gd name="connsiteY5" fmla="*/ 3062985 h 3224561"/>
              <a:gd name="connsiteX6" fmla="*/ 4411642 w 4965765"/>
              <a:gd name="connsiteY6" fmla="*/ 3113063 h 3224561"/>
              <a:gd name="connsiteX7" fmla="*/ 4221443 w 4965765"/>
              <a:gd name="connsiteY7" fmla="*/ 3084141 h 3224561"/>
              <a:gd name="connsiteX8" fmla="*/ 4008973 w 4965765"/>
              <a:gd name="connsiteY8" fmla="*/ 3068011 h 3224561"/>
              <a:gd name="connsiteX9" fmla="*/ 3849135 w 4965765"/>
              <a:gd name="connsiteY9" fmla="*/ 2950893 h 3224561"/>
              <a:gd name="connsiteX10" fmla="*/ 3701790 w 4965765"/>
              <a:gd name="connsiteY10" fmla="*/ 2985562 h 3224561"/>
              <a:gd name="connsiteX11" fmla="*/ 3588188 w 4965765"/>
              <a:gd name="connsiteY11" fmla="*/ 3064490 h 3224561"/>
              <a:gd name="connsiteX12" fmla="*/ 3524482 w 4965765"/>
              <a:gd name="connsiteY12" fmla="*/ 3004972 h 3224561"/>
              <a:gd name="connsiteX13" fmla="*/ 3376767 w 4965765"/>
              <a:gd name="connsiteY13" fmla="*/ 3063568 h 3224561"/>
              <a:gd name="connsiteX14" fmla="*/ 3274857 w 4965765"/>
              <a:gd name="connsiteY14" fmla="*/ 3050307 h 3224561"/>
              <a:gd name="connsiteX15" fmla="*/ 3173423 w 4965765"/>
              <a:gd name="connsiteY15" fmla="*/ 3060457 h 3224561"/>
              <a:gd name="connsiteX16" fmla="*/ 3082595 w 4965765"/>
              <a:gd name="connsiteY16" fmla="*/ 2979021 h 3224561"/>
              <a:gd name="connsiteX17" fmla="*/ 2983313 w 4965765"/>
              <a:gd name="connsiteY17" fmla="*/ 2997469 h 3224561"/>
              <a:gd name="connsiteX18" fmla="*/ 2848061 w 4965765"/>
              <a:gd name="connsiteY18" fmla="*/ 2872887 h 3224561"/>
              <a:gd name="connsiteX19" fmla="*/ 2759135 w 4965765"/>
              <a:gd name="connsiteY19" fmla="*/ 2907661 h 3224561"/>
              <a:gd name="connsiteX20" fmla="*/ 2722361 w 4965765"/>
              <a:gd name="connsiteY20" fmla="*/ 2962589 h 3224561"/>
              <a:gd name="connsiteX21" fmla="*/ 2653048 w 4965765"/>
              <a:gd name="connsiteY21" fmla="*/ 3011563 h 3224561"/>
              <a:gd name="connsiteX22" fmla="*/ 2542244 w 4965765"/>
              <a:gd name="connsiteY22" fmla="*/ 3060157 h 3224561"/>
              <a:gd name="connsiteX23" fmla="*/ 2397397 w 4965765"/>
              <a:gd name="connsiteY23" fmla="*/ 3026992 h 3224561"/>
              <a:gd name="connsiteX24" fmla="*/ 2313222 w 4965765"/>
              <a:gd name="connsiteY24" fmla="*/ 3057839 h 3224561"/>
              <a:gd name="connsiteX25" fmla="*/ 2111341 w 4965765"/>
              <a:gd name="connsiteY25" fmla="*/ 2989896 h 3224561"/>
              <a:gd name="connsiteX26" fmla="*/ 1955215 w 4965765"/>
              <a:gd name="connsiteY26" fmla="*/ 3007942 h 3224561"/>
              <a:gd name="connsiteX27" fmla="*/ 1888074 w 4965765"/>
              <a:gd name="connsiteY27" fmla="*/ 3051790 h 3224561"/>
              <a:gd name="connsiteX28" fmla="*/ 1703978 w 4965765"/>
              <a:gd name="connsiteY28" fmla="*/ 3050567 h 3224561"/>
              <a:gd name="connsiteX29" fmla="*/ 1599971 w 4965765"/>
              <a:gd name="connsiteY29" fmla="*/ 2972562 h 3224561"/>
              <a:gd name="connsiteX30" fmla="*/ 1474330 w 4965765"/>
              <a:gd name="connsiteY30" fmla="*/ 3063978 h 3224561"/>
              <a:gd name="connsiteX31" fmla="*/ 1368259 w 4965765"/>
              <a:gd name="connsiteY31" fmla="*/ 3156603 h 3224561"/>
              <a:gd name="connsiteX32" fmla="*/ 1287464 w 4965765"/>
              <a:gd name="connsiteY32" fmla="*/ 3160581 h 3224561"/>
              <a:gd name="connsiteX33" fmla="*/ 1253278 w 4965765"/>
              <a:gd name="connsiteY33" fmla="*/ 3102571 h 3224561"/>
              <a:gd name="connsiteX34" fmla="*/ 1144937 w 4965765"/>
              <a:gd name="connsiteY34" fmla="*/ 3102570 h 3224561"/>
              <a:gd name="connsiteX35" fmla="*/ 1066726 w 4965765"/>
              <a:gd name="connsiteY35" fmla="*/ 3065694 h 3224561"/>
              <a:gd name="connsiteX36" fmla="*/ 971591 w 4965765"/>
              <a:gd name="connsiteY36" fmla="*/ 3106905 h 3224561"/>
              <a:gd name="connsiteX37" fmla="*/ 853207 w 4965765"/>
              <a:gd name="connsiteY37" fmla="*/ 3109146 h 3224561"/>
              <a:gd name="connsiteX38" fmla="*/ 794188 w 4965765"/>
              <a:gd name="connsiteY38" fmla="*/ 3152578 h 3224561"/>
              <a:gd name="connsiteX39" fmla="*/ 725986 w 4965765"/>
              <a:gd name="connsiteY39" fmla="*/ 3109147 h 3224561"/>
              <a:gd name="connsiteX40" fmla="*/ 642234 w 4965765"/>
              <a:gd name="connsiteY40" fmla="*/ 3115572 h 3224561"/>
              <a:gd name="connsiteX41" fmla="*/ 566960 w 4965765"/>
              <a:gd name="connsiteY41" fmla="*/ 3085293 h 3224561"/>
              <a:gd name="connsiteX42" fmla="*/ 499169 w 4965765"/>
              <a:gd name="connsiteY42" fmla="*/ 3025578 h 3224561"/>
              <a:gd name="connsiteX43" fmla="*/ 416884 w 4965765"/>
              <a:gd name="connsiteY43" fmla="*/ 3115572 h 3224561"/>
              <a:gd name="connsiteX44" fmla="*/ 282155 w 4965765"/>
              <a:gd name="connsiteY44" fmla="*/ 3152577 h 3224561"/>
              <a:gd name="connsiteX45" fmla="*/ 169867 w 4965765"/>
              <a:gd name="connsiteY45" fmla="*/ 3128573 h 3224561"/>
              <a:gd name="connsiteX46" fmla="*/ 74803 w 4965765"/>
              <a:gd name="connsiteY46" fmla="*/ 3151872 h 3224561"/>
              <a:gd name="connsiteX47" fmla="*/ 141087 w 4965765"/>
              <a:gd name="connsiteY47" fmla="*/ 2892749 h 3224561"/>
              <a:gd name="connsiteX48" fmla="*/ 92 w 4965765"/>
              <a:gd name="connsiteY48" fmla="*/ 3791 h 3224561"/>
              <a:gd name="connsiteX0" fmla="*/ 18357 w 4984030"/>
              <a:gd name="connsiteY0" fmla="*/ 3791 h 3291551"/>
              <a:gd name="connsiteX1" fmla="*/ 4983284 w 4984030"/>
              <a:gd name="connsiteY1" fmla="*/ 4878 h 3291551"/>
              <a:gd name="connsiteX2" fmla="*/ 4983285 w 4984030"/>
              <a:gd name="connsiteY2" fmla="*/ 3021208 h 3291551"/>
              <a:gd name="connsiteX3" fmla="*/ 4924214 w 4984030"/>
              <a:gd name="connsiteY3" fmla="*/ 3120737 h 3291551"/>
              <a:gd name="connsiteX4" fmla="*/ 4792368 w 4984030"/>
              <a:gd name="connsiteY4" fmla="*/ 3151163 h 3291551"/>
              <a:gd name="connsiteX5" fmla="*/ 4599852 w 4984030"/>
              <a:gd name="connsiteY5" fmla="*/ 3062985 h 3291551"/>
              <a:gd name="connsiteX6" fmla="*/ 4429907 w 4984030"/>
              <a:gd name="connsiteY6" fmla="*/ 3113063 h 3291551"/>
              <a:gd name="connsiteX7" fmla="*/ 4239708 w 4984030"/>
              <a:gd name="connsiteY7" fmla="*/ 3084141 h 3291551"/>
              <a:gd name="connsiteX8" fmla="*/ 4027238 w 4984030"/>
              <a:gd name="connsiteY8" fmla="*/ 3068011 h 3291551"/>
              <a:gd name="connsiteX9" fmla="*/ 3867400 w 4984030"/>
              <a:gd name="connsiteY9" fmla="*/ 2950893 h 3291551"/>
              <a:gd name="connsiteX10" fmla="*/ 3720055 w 4984030"/>
              <a:gd name="connsiteY10" fmla="*/ 2985562 h 3291551"/>
              <a:gd name="connsiteX11" fmla="*/ 3606453 w 4984030"/>
              <a:gd name="connsiteY11" fmla="*/ 3064490 h 3291551"/>
              <a:gd name="connsiteX12" fmla="*/ 3542747 w 4984030"/>
              <a:gd name="connsiteY12" fmla="*/ 3004972 h 3291551"/>
              <a:gd name="connsiteX13" fmla="*/ 3395032 w 4984030"/>
              <a:gd name="connsiteY13" fmla="*/ 3063568 h 3291551"/>
              <a:gd name="connsiteX14" fmla="*/ 3293122 w 4984030"/>
              <a:gd name="connsiteY14" fmla="*/ 3050307 h 3291551"/>
              <a:gd name="connsiteX15" fmla="*/ 3191688 w 4984030"/>
              <a:gd name="connsiteY15" fmla="*/ 3060457 h 3291551"/>
              <a:gd name="connsiteX16" fmla="*/ 3100860 w 4984030"/>
              <a:gd name="connsiteY16" fmla="*/ 2979021 h 3291551"/>
              <a:gd name="connsiteX17" fmla="*/ 3001578 w 4984030"/>
              <a:gd name="connsiteY17" fmla="*/ 2997469 h 3291551"/>
              <a:gd name="connsiteX18" fmla="*/ 2866326 w 4984030"/>
              <a:gd name="connsiteY18" fmla="*/ 2872887 h 3291551"/>
              <a:gd name="connsiteX19" fmla="*/ 2777400 w 4984030"/>
              <a:gd name="connsiteY19" fmla="*/ 2907661 h 3291551"/>
              <a:gd name="connsiteX20" fmla="*/ 2740626 w 4984030"/>
              <a:gd name="connsiteY20" fmla="*/ 2962589 h 3291551"/>
              <a:gd name="connsiteX21" fmla="*/ 2671313 w 4984030"/>
              <a:gd name="connsiteY21" fmla="*/ 3011563 h 3291551"/>
              <a:gd name="connsiteX22" fmla="*/ 2560509 w 4984030"/>
              <a:gd name="connsiteY22" fmla="*/ 3060157 h 3291551"/>
              <a:gd name="connsiteX23" fmla="*/ 2415662 w 4984030"/>
              <a:gd name="connsiteY23" fmla="*/ 3026992 h 3291551"/>
              <a:gd name="connsiteX24" fmla="*/ 2331487 w 4984030"/>
              <a:gd name="connsiteY24" fmla="*/ 3057839 h 3291551"/>
              <a:gd name="connsiteX25" fmla="*/ 2129606 w 4984030"/>
              <a:gd name="connsiteY25" fmla="*/ 2989896 h 3291551"/>
              <a:gd name="connsiteX26" fmla="*/ 1973480 w 4984030"/>
              <a:gd name="connsiteY26" fmla="*/ 3007942 h 3291551"/>
              <a:gd name="connsiteX27" fmla="*/ 1906339 w 4984030"/>
              <a:gd name="connsiteY27" fmla="*/ 3051790 h 3291551"/>
              <a:gd name="connsiteX28" fmla="*/ 1722243 w 4984030"/>
              <a:gd name="connsiteY28" fmla="*/ 3050567 h 3291551"/>
              <a:gd name="connsiteX29" fmla="*/ 1618236 w 4984030"/>
              <a:gd name="connsiteY29" fmla="*/ 2972562 h 3291551"/>
              <a:gd name="connsiteX30" fmla="*/ 1492595 w 4984030"/>
              <a:gd name="connsiteY30" fmla="*/ 3063978 h 3291551"/>
              <a:gd name="connsiteX31" fmla="*/ 1386524 w 4984030"/>
              <a:gd name="connsiteY31" fmla="*/ 3156603 h 3291551"/>
              <a:gd name="connsiteX32" fmla="*/ 1305729 w 4984030"/>
              <a:gd name="connsiteY32" fmla="*/ 3160581 h 3291551"/>
              <a:gd name="connsiteX33" fmla="*/ 1271543 w 4984030"/>
              <a:gd name="connsiteY33" fmla="*/ 3102571 h 3291551"/>
              <a:gd name="connsiteX34" fmla="*/ 1163202 w 4984030"/>
              <a:gd name="connsiteY34" fmla="*/ 3102570 h 3291551"/>
              <a:gd name="connsiteX35" fmla="*/ 1084991 w 4984030"/>
              <a:gd name="connsiteY35" fmla="*/ 3065694 h 3291551"/>
              <a:gd name="connsiteX36" fmla="*/ 989856 w 4984030"/>
              <a:gd name="connsiteY36" fmla="*/ 3106905 h 3291551"/>
              <a:gd name="connsiteX37" fmla="*/ 871472 w 4984030"/>
              <a:gd name="connsiteY37" fmla="*/ 3109146 h 3291551"/>
              <a:gd name="connsiteX38" fmla="*/ 812453 w 4984030"/>
              <a:gd name="connsiteY38" fmla="*/ 3152578 h 3291551"/>
              <a:gd name="connsiteX39" fmla="*/ 744251 w 4984030"/>
              <a:gd name="connsiteY39" fmla="*/ 3109147 h 3291551"/>
              <a:gd name="connsiteX40" fmla="*/ 660499 w 4984030"/>
              <a:gd name="connsiteY40" fmla="*/ 3115572 h 3291551"/>
              <a:gd name="connsiteX41" fmla="*/ 585225 w 4984030"/>
              <a:gd name="connsiteY41" fmla="*/ 3085293 h 3291551"/>
              <a:gd name="connsiteX42" fmla="*/ 517434 w 4984030"/>
              <a:gd name="connsiteY42" fmla="*/ 3025578 h 3291551"/>
              <a:gd name="connsiteX43" fmla="*/ 435149 w 4984030"/>
              <a:gd name="connsiteY43" fmla="*/ 3115572 h 3291551"/>
              <a:gd name="connsiteX44" fmla="*/ 300420 w 4984030"/>
              <a:gd name="connsiteY44" fmla="*/ 3152577 h 3291551"/>
              <a:gd name="connsiteX45" fmla="*/ 188132 w 4984030"/>
              <a:gd name="connsiteY45" fmla="*/ 3128573 h 3291551"/>
              <a:gd name="connsiteX46" fmla="*/ 93068 w 4984030"/>
              <a:gd name="connsiteY46" fmla="*/ 3151872 h 3291551"/>
              <a:gd name="connsiteX47" fmla="*/ 14139 w 4984030"/>
              <a:gd name="connsiteY47" fmla="*/ 3004452 h 3291551"/>
              <a:gd name="connsiteX48" fmla="*/ 18357 w 4984030"/>
              <a:gd name="connsiteY48" fmla="*/ 3791 h 3291551"/>
              <a:gd name="connsiteX0" fmla="*/ 4271 w 4969944"/>
              <a:gd name="connsiteY0" fmla="*/ 3791 h 3164049"/>
              <a:gd name="connsiteX1" fmla="*/ 4969198 w 4969944"/>
              <a:gd name="connsiteY1" fmla="*/ 4878 h 3164049"/>
              <a:gd name="connsiteX2" fmla="*/ 4969199 w 4969944"/>
              <a:gd name="connsiteY2" fmla="*/ 3021208 h 3164049"/>
              <a:gd name="connsiteX3" fmla="*/ 4910128 w 4969944"/>
              <a:gd name="connsiteY3" fmla="*/ 3120737 h 3164049"/>
              <a:gd name="connsiteX4" fmla="*/ 4778282 w 4969944"/>
              <a:gd name="connsiteY4" fmla="*/ 3151163 h 3164049"/>
              <a:gd name="connsiteX5" fmla="*/ 4585766 w 4969944"/>
              <a:gd name="connsiteY5" fmla="*/ 3062985 h 3164049"/>
              <a:gd name="connsiteX6" fmla="*/ 4415821 w 4969944"/>
              <a:gd name="connsiteY6" fmla="*/ 3113063 h 3164049"/>
              <a:gd name="connsiteX7" fmla="*/ 4225622 w 4969944"/>
              <a:gd name="connsiteY7" fmla="*/ 3084141 h 3164049"/>
              <a:gd name="connsiteX8" fmla="*/ 4013152 w 4969944"/>
              <a:gd name="connsiteY8" fmla="*/ 3068011 h 3164049"/>
              <a:gd name="connsiteX9" fmla="*/ 3853314 w 4969944"/>
              <a:gd name="connsiteY9" fmla="*/ 2950893 h 3164049"/>
              <a:gd name="connsiteX10" fmla="*/ 3705969 w 4969944"/>
              <a:gd name="connsiteY10" fmla="*/ 2985562 h 3164049"/>
              <a:gd name="connsiteX11" fmla="*/ 3592367 w 4969944"/>
              <a:gd name="connsiteY11" fmla="*/ 3064490 h 3164049"/>
              <a:gd name="connsiteX12" fmla="*/ 3528661 w 4969944"/>
              <a:gd name="connsiteY12" fmla="*/ 3004972 h 3164049"/>
              <a:gd name="connsiteX13" fmla="*/ 3380946 w 4969944"/>
              <a:gd name="connsiteY13" fmla="*/ 3063568 h 3164049"/>
              <a:gd name="connsiteX14" fmla="*/ 3279036 w 4969944"/>
              <a:gd name="connsiteY14" fmla="*/ 3050307 h 3164049"/>
              <a:gd name="connsiteX15" fmla="*/ 3177602 w 4969944"/>
              <a:gd name="connsiteY15" fmla="*/ 3060457 h 3164049"/>
              <a:gd name="connsiteX16" fmla="*/ 3086774 w 4969944"/>
              <a:gd name="connsiteY16" fmla="*/ 2979021 h 3164049"/>
              <a:gd name="connsiteX17" fmla="*/ 2987492 w 4969944"/>
              <a:gd name="connsiteY17" fmla="*/ 2997469 h 3164049"/>
              <a:gd name="connsiteX18" fmla="*/ 2852240 w 4969944"/>
              <a:gd name="connsiteY18" fmla="*/ 2872887 h 3164049"/>
              <a:gd name="connsiteX19" fmla="*/ 2763314 w 4969944"/>
              <a:gd name="connsiteY19" fmla="*/ 2907661 h 3164049"/>
              <a:gd name="connsiteX20" fmla="*/ 2726540 w 4969944"/>
              <a:gd name="connsiteY20" fmla="*/ 2962589 h 3164049"/>
              <a:gd name="connsiteX21" fmla="*/ 2657227 w 4969944"/>
              <a:gd name="connsiteY21" fmla="*/ 3011563 h 3164049"/>
              <a:gd name="connsiteX22" fmla="*/ 2546423 w 4969944"/>
              <a:gd name="connsiteY22" fmla="*/ 3060157 h 3164049"/>
              <a:gd name="connsiteX23" fmla="*/ 2401576 w 4969944"/>
              <a:gd name="connsiteY23" fmla="*/ 3026992 h 3164049"/>
              <a:gd name="connsiteX24" fmla="*/ 2317401 w 4969944"/>
              <a:gd name="connsiteY24" fmla="*/ 3057839 h 3164049"/>
              <a:gd name="connsiteX25" fmla="*/ 2115520 w 4969944"/>
              <a:gd name="connsiteY25" fmla="*/ 2989896 h 3164049"/>
              <a:gd name="connsiteX26" fmla="*/ 1959394 w 4969944"/>
              <a:gd name="connsiteY26" fmla="*/ 3007942 h 3164049"/>
              <a:gd name="connsiteX27" fmla="*/ 1892253 w 4969944"/>
              <a:gd name="connsiteY27" fmla="*/ 3051790 h 3164049"/>
              <a:gd name="connsiteX28" fmla="*/ 1708157 w 4969944"/>
              <a:gd name="connsiteY28" fmla="*/ 3050567 h 3164049"/>
              <a:gd name="connsiteX29" fmla="*/ 1604150 w 4969944"/>
              <a:gd name="connsiteY29" fmla="*/ 2972562 h 3164049"/>
              <a:gd name="connsiteX30" fmla="*/ 1478509 w 4969944"/>
              <a:gd name="connsiteY30" fmla="*/ 3063978 h 3164049"/>
              <a:gd name="connsiteX31" fmla="*/ 1372438 w 4969944"/>
              <a:gd name="connsiteY31" fmla="*/ 3156603 h 3164049"/>
              <a:gd name="connsiteX32" fmla="*/ 1291643 w 4969944"/>
              <a:gd name="connsiteY32" fmla="*/ 3160581 h 3164049"/>
              <a:gd name="connsiteX33" fmla="*/ 1257457 w 4969944"/>
              <a:gd name="connsiteY33" fmla="*/ 3102571 h 3164049"/>
              <a:gd name="connsiteX34" fmla="*/ 1149116 w 4969944"/>
              <a:gd name="connsiteY34" fmla="*/ 3102570 h 3164049"/>
              <a:gd name="connsiteX35" fmla="*/ 1070905 w 4969944"/>
              <a:gd name="connsiteY35" fmla="*/ 3065694 h 3164049"/>
              <a:gd name="connsiteX36" fmla="*/ 975770 w 4969944"/>
              <a:gd name="connsiteY36" fmla="*/ 3106905 h 3164049"/>
              <a:gd name="connsiteX37" fmla="*/ 857386 w 4969944"/>
              <a:gd name="connsiteY37" fmla="*/ 3109146 h 3164049"/>
              <a:gd name="connsiteX38" fmla="*/ 798367 w 4969944"/>
              <a:gd name="connsiteY38" fmla="*/ 3152578 h 3164049"/>
              <a:gd name="connsiteX39" fmla="*/ 730165 w 4969944"/>
              <a:gd name="connsiteY39" fmla="*/ 3109147 h 3164049"/>
              <a:gd name="connsiteX40" fmla="*/ 646413 w 4969944"/>
              <a:gd name="connsiteY40" fmla="*/ 3115572 h 3164049"/>
              <a:gd name="connsiteX41" fmla="*/ 571139 w 4969944"/>
              <a:gd name="connsiteY41" fmla="*/ 3085293 h 3164049"/>
              <a:gd name="connsiteX42" fmla="*/ 503348 w 4969944"/>
              <a:gd name="connsiteY42" fmla="*/ 3025578 h 3164049"/>
              <a:gd name="connsiteX43" fmla="*/ 421063 w 4969944"/>
              <a:gd name="connsiteY43" fmla="*/ 3115572 h 3164049"/>
              <a:gd name="connsiteX44" fmla="*/ 286334 w 4969944"/>
              <a:gd name="connsiteY44" fmla="*/ 3152577 h 3164049"/>
              <a:gd name="connsiteX45" fmla="*/ 174046 w 4969944"/>
              <a:gd name="connsiteY45" fmla="*/ 3128573 h 3164049"/>
              <a:gd name="connsiteX46" fmla="*/ 78982 w 4969944"/>
              <a:gd name="connsiteY46" fmla="*/ 3151872 h 3164049"/>
              <a:gd name="connsiteX47" fmla="*/ 53 w 4969944"/>
              <a:gd name="connsiteY47" fmla="*/ 3004452 h 3164049"/>
              <a:gd name="connsiteX48" fmla="*/ 4271 w 4969944"/>
              <a:gd name="connsiteY48" fmla="*/ 3791 h 316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69944" h="3164049">
                <a:moveTo>
                  <a:pt x="4271" y="3791"/>
                </a:moveTo>
                <a:cubicBezTo>
                  <a:pt x="3068" y="-1854"/>
                  <a:pt x="4973897" y="-947"/>
                  <a:pt x="4969198" y="4878"/>
                </a:cubicBezTo>
                <a:cubicBezTo>
                  <a:pt x="4970085" y="5119"/>
                  <a:pt x="4969199" y="2198212"/>
                  <a:pt x="4969199" y="3021208"/>
                </a:cubicBezTo>
                <a:cubicBezTo>
                  <a:pt x="4977116" y="3020819"/>
                  <a:pt x="4919546" y="3112459"/>
                  <a:pt x="4910128" y="3120737"/>
                </a:cubicBezTo>
                <a:cubicBezTo>
                  <a:pt x="4918183" y="3122954"/>
                  <a:pt x="4826565" y="3096943"/>
                  <a:pt x="4778282" y="3151163"/>
                </a:cubicBezTo>
                <a:cubicBezTo>
                  <a:pt x="4731715" y="3151163"/>
                  <a:pt x="4632333" y="3062985"/>
                  <a:pt x="4585766" y="3062985"/>
                </a:cubicBezTo>
                <a:cubicBezTo>
                  <a:pt x="4509566" y="3058752"/>
                  <a:pt x="4492021" y="3043624"/>
                  <a:pt x="4415821" y="3113063"/>
                </a:cubicBezTo>
                <a:cubicBezTo>
                  <a:pt x="4352321" y="3108830"/>
                  <a:pt x="4315124" y="3053704"/>
                  <a:pt x="4225622" y="3084141"/>
                </a:cubicBezTo>
                <a:cubicBezTo>
                  <a:pt x="4174822" y="3082024"/>
                  <a:pt x="4102954" y="3044126"/>
                  <a:pt x="4013152" y="3068011"/>
                </a:cubicBezTo>
                <a:cubicBezTo>
                  <a:pt x="3959873" y="3028972"/>
                  <a:pt x="3915260" y="3024601"/>
                  <a:pt x="3853314" y="2950893"/>
                </a:cubicBezTo>
                <a:lnTo>
                  <a:pt x="3705969" y="2985562"/>
                </a:lnTo>
                <a:lnTo>
                  <a:pt x="3592367" y="3064490"/>
                </a:lnTo>
                <a:cubicBezTo>
                  <a:pt x="3585458" y="3064490"/>
                  <a:pt x="3535570" y="3004972"/>
                  <a:pt x="3528661" y="3004972"/>
                </a:cubicBezTo>
                <a:cubicBezTo>
                  <a:pt x="3520565" y="3004143"/>
                  <a:pt x="3437740" y="3058813"/>
                  <a:pt x="3380946" y="3063568"/>
                </a:cubicBezTo>
                <a:cubicBezTo>
                  <a:pt x="3340561" y="3070514"/>
                  <a:pt x="3312927" y="3050826"/>
                  <a:pt x="3279036" y="3050307"/>
                </a:cubicBezTo>
                <a:cubicBezTo>
                  <a:pt x="3270748" y="3049788"/>
                  <a:pt x="3208426" y="3074776"/>
                  <a:pt x="3177602" y="3060457"/>
                </a:cubicBezTo>
                <a:cubicBezTo>
                  <a:pt x="3122569" y="3056224"/>
                  <a:pt x="3105231" y="2983254"/>
                  <a:pt x="3086774" y="2979021"/>
                </a:cubicBezTo>
                <a:cubicBezTo>
                  <a:pt x="3050791" y="2981138"/>
                  <a:pt x="3023475" y="2995352"/>
                  <a:pt x="2987492" y="2997469"/>
                </a:cubicBezTo>
                <a:cubicBezTo>
                  <a:pt x="2971210" y="2994901"/>
                  <a:pt x="2862628" y="2876533"/>
                  <a:pt x="2852240" y="2872887"/>
                </a:cubicBezTo>
                <a:cubicBezTo>
                  <a:pt x="2847796" y="2860967"/>
                  <a:pt x="2784264" y="2892711"/>
                  <a:pt x="2763314" y="2907661"/>
                </a:cubicBezTo>
                <a:cubicBezTo>
                  <a:pt x="2742364" y="2922611"/>
                  <a:pt x="2747879" y="2948320"/>
                  <a:pt x="2726540" y="2962589"/>
                </a:cubicBezTo>
                <a:cubicBezTo>
                  <a:pt x="2705201" y="2976858"/>
                  <a:pt x="2700248" y="2994580"/>
                  <a:pt x="2657227" y="3011563"/>
                </a:cubicBezTo>
                <a:cubicBezTo>
                  <a:pt x="2614207" y="3028547"/>
                  <a:pt x="2599865" y="3063364"/>
                  <a:pt x="2546423" y="3060157"/>
                </a:cubicBezTo>
                <a:cubicBezTo>
                  <a:pt x="2495623" y="3055924"/>
                  <a:pt x="2452376" y="3031225"/>
                  <a:pt x="2401576" y="3026992"/>
                </a:cubicBezTo>
                <a:cubicBezTo>
                  <a:pt x="2352893" y="3026992"/>
                  <a:pt x="2366084" y="3057839"/>
                  <a:pt x="2317401" y="3057839"/>
                </a:cubicBezTo>
                <a:cubicBezTo>
                  <a:pt x="2260336" y="3055268"/>
                  <a:pt x="2198301" y="3002546"/>
                  <a:pt x="2115520" y="2989896"/>
                </a:cubicBezTo>
                <a:cubicBezTo>
                  <a:pt x="2032739" y="2977246"/>
                  <a:pt x="2029830" y="3001238"/>
                  <a:pt x="1959394" y="3007942"/>
                </a:cubicBezTo>
                <a:cubicBezTo>
                  <a:pt x="1921294" y="3012175"/>
                  <a:pt x="1930353" y="3047557"/>
                  <a:pt x="1892253" y="3051790"/>
                </a:cubicBezTo>
                <a:cubicBezTo>
                  <a:pt x="1848936" y="3056727"/>
                  <a:pt x="1797338" y="3060092"/>
                  <a:pt x="1708157" y="3050567"/>
                </a:cubicBezTo>
                <a:cubicBezTo>
                  <a:pt x="1655084" y="3046752"/>
                  <a:pt x="1633388" y="2981883"/>
                  <a:pt x="1604150" y="2972562"/>
                </a:cubicBezTo>
                <a:cubicBezTo>
                  <a:pt x="1582228" y="2963241"/>
                  <a:pt x="1527624" y="3045921"/>
                  <a:pt x="1478509" y="3063978"/>
                </a:cubicBezTo>
                <a:cubicBezTo>
                  <a:pt x="1429394" y="3082035"/>
                  <a:pt x="1422295" y="3152284"/>
                  <a:pt x="1372438" y="3156603"/>
                </a:cubicBezTo>
                <a:cubicBezTo>
                  <a:pt x="1322581" y="3160922"/>
                  <a:pt x="1324868" y="3168526"/>
                  <a:pt x="1291643" y="3160581"/>
                </a:cubicBezTo>
                <a:cubicBezTo>
                  <a:pt x="1258418" y="3152636"/>
                  <a:pt x="1281278" y="3122848"/>
                  <a:pt x="1257457" y="3102571"/>
                </a:cubicBezTo>
                <a:cubicBezTo>
                  <a:pt x="1233636" y="3082294"/>
                  <a:pt x="1191764" y="3117384"/>
                  <a:pt x="1149116" y="3102570"/>
                </a:cubicBezTo>
                <a:cubicBezTo>
                  <a:pt x="1106468" y="3087756"/>
                  <a:pt x="1112075" y="3070028"/>
                  <a:pt x="1070905" y="3065694"/>
                </a:cubicBezTo>
                <a:cubicBezTo>
                  <a:pt x="1029735" y="3061360"/>
                  <a:pt x="1008043" y="3097013"/>
                  <a:pt x="975770" y="3106905"/>
                </a:cubicBezTo>
                <a:cubicBezTo>
                  <a:pt x="943497" y="3116797"/>
                  <a:pt x="886953" y="3101534"/>
                  <a:pt x="857386" y="3109146"/>
                </a:cubicBezTo>
                <a:cubicBezTo>
                  <a:pt x="827819" y="3116758"/>
                  <a:pt x="822884" y="3155228"/>
                  <a:pt x="798367" y="3152578"/>
                </a:cubicBezTo>
                <a:cubicBezTo>
                  <a:pt x="773850" y="3149928"/>
                  <a:pt x="715735" y="3103388"/>
                  <a:pt x="730165" y="3109147"/>
                </a:cubicBezTo>
                <a:cubicBezTo>
                  <a:pt x="704839" y="3102979"/>
                  <a:pt x="671592" y="3124186"/>
                  <a:pt x="646413" y="3115572"/>
                </a:cubicBezTo>
                <a:cubicBezTo>
                  <a:pt x="621234" y="3106958"/>
                  <a:pt x="594983" y="3100292"/>
                  <a:pt x="571139" y="3085293"/>
                </a:cubicBezTo>
                <a:cubicBezTo>
                  <a:pt x="547295" y="3070294"/>
                  <a:pt x="528360" y="3016556"/>
                  <a:pt x="503348" y="3025578"/>
                </a:cubicBezTo>
                <a:cubicBezTo>
                  <a:pt x="497773" y="3027387"/>
                  <a:pt x="457232" y="3094405"/>
                  <a:pt x="421063" y="3115572"/>
                </a:cubicBezTo>
                <a:cubicBezTo>
                  <a:pt x="384894" y="3136739"/>
                  <a:pt x="293817" y="3151900"/>
                  <a:pt x="286334" y="3152577"/>
                </a:cubicBezTo>
                <a:cubicBezTo>
                  <a:pt x="267878" y="3153254"/>
                  <a:pt x="168370" y="3131129"/>
                  <a:pt x="174046" y="3128573"/>
                </a:cubicBezTo>
                <a:cubicBezTo>
                  <a:pt x="161433" y="3126017"/>
                  <a:pt x="102299" y="3171933"/>
                  <a:pt x="78982" y="3151872"/>
                </a:cubicBezTo>
                <a:cubicBezTo>
                  <a:pt x="55665" y="3131811"/>
                  <a:pt x="-1979" y="2992577"/>
                  <a:pt x="53" y="3004452"/>
                </a:cubicBezTo>
                <a:cubicBezTo>
                  <a:pt x="9943" y="3015014"/>
                  <a:pt x="-111" y="-7319"/>
                  <a:pt x="4271" y="3791"/>
                </a:cubicBezTo>
                <a:close/>
              </a:path>
            </a:pathLst>
          </a:custGeom>
          <a:solidFill>
            <a:srgbClr val="F9F9F9"/>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274320" rIns="91440" rtlCol="0" anchor="t"/>
          <a:lstStyle/>
          <a:p>
            <a:r>
              <a:rPr lang="en-US" sz="1200" i="1" dirty="0">
                <a:solidFill>
                  <a:schemeClr val="bg2"/>
                </a:solidFill>
              </a:rPr>
              <a:t>“The IPO market is getting healthy and returning but it’s not gangbusters just yet so you have to consider every process a dual track because it’s a very real possibility they’d go the M&amp;A route. Especially given an easing regulatory environment and healthy balance sheets alongside a strong currency. The lower interest rate environment paired with a Trump administration which has mostly been seen as a boon for takeovers could cause companies and private equity firms to be active acquirers. That could mean would-be public companies instead opt for a quick sale.” </a:t>
            </a:r>
            <a:r>
              <a:rPr lang="en-IN" sz="1200" b="1" dirty="0">
                <a:solidFill>
                  <a:schemeClr val="bg2"/>
                </a:solidFill>
              </a:rPr>
              <a:t>	</a:t>
            </a:r>
          </a:p>
          <a:p>
            <a:pPr algn="r"/>
            <a:r>
              <a:rPr lang="en-IN" sz="1200" b="1" dirty="0">
                <a:solidFill>
                  <a:schemeClr val="tx2"/>
                </a:solidFill>
              </a:rPr>
              <a:t>- </a:t>
            </a:r>
            <a:r>
              <a:rPr lang="en-US" sz="1200" b="1" dirty="0">
                <a:solidFill>
                  <a:schemeClr val="tx2"/>
                </a:solidFill>
              </a:rPr>
              <a:t>Jill Ford, </a:t>
            </a:r>
          </a:p>
          <a:p>
            <a:pPr algn="r"/>
            <a:r>
              <a:rPr lang="en-US" sz="1200" b="1" dirty="0">
                <a:solidFill>
                  <a:schemeClr val="bg2"/>
                </a:solidFill>
              </a:rPr>
              <a:t>	</a:t>
            </a:r>
            <a:r>
              <a:rPr lang="en-US" sz="1200" i="1" dirty="0">
                <a:solidFill>
                  <a:schemeClr val="bg2"/>
                </a:solidFill>
              </a:rPr>
              <a:t>Wells Fargo, Co-head of ECM</a:t>
            </a:r>
            <a:endParaRPr lang="en-IN" sz="1200" i="1" dirty="0">
              <a:solidFill>
                <a:schemeClr val="bg2"/>
              </a:solidFill>
            </a:endParaRPr>
          </a:p>
        </p:txBody>
      </p:sp>
      <p:sp>
        <p:nvSpPr>
          <p:cNvPr id="14" name="Freeform 3">
            <a:extLst>
              <a:ext uri="{FF2B5EF4-FFF2-40B4-BE49-F238E27FC236}">
                <a16:creationId xmlns:a16="http://schemas.microsoft.com/office/drawing/2014/main" id="{9F1CC650-2116-4501-98DC-37C7477D9AED}"/>
              </a:ext>
            </a:extLst>
          </p:cNvPr>
          <p:cNvSpPr/>
          <p:nvPr/>
        </p:nvSpPr>
        <p:spPr>
          <a:xfrm flipH="1">
            <a:off x="587376" y="3636885"/>
            <a:ext cx="5252888" cy="2743200"/>
          </a:xfrm>
          <a:custGeom>
            <a:avLst/>
            <a:gdLst>
              <a:gd name="connsiteX0" fmla="*/ 0 w 4959705"/>
              <a:gd name="connsiteY0" fmla="*/ 0 h 3884371"/>
              <a:gd name="connsiteX1" fmla="*/ 4959705 w 4959705"/>
              <a:gd name="connsiteY1" fmla="*/ 0 h 3884371"/>
              <a:gd name="connsiteX2" fmla="*/ 4959705 w 4959705"/>
              <a:gd name="connsiteY2" fmla="*/ 3884371 h 3884371"/>
              <a:gd name="connsiteX3" fmla="*/ 7315 w 4959705"/>
              <a:gd name="connsiteY3" fmla="*/ 3884371 h 3884371"/>
              <a:gd name="connsiteX4" fmla="*/ 0 w 4959705"/>
              <a:gd name="connsiteY4" fmla="*/ 0 h 3884371"/>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7315 w 4959705"/>
              <a:gd name="connsiteY4" fmla="*/ 3884371 h 4022903"/>
              <a:gd name="connsiteX5" fmla="*/ 0 w 4959705"/>
              <a:gd name="connsiteY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7315 w 4959705"/>
              <a:gd name="connsiteY5" fmla="*/ 3884371 h 4022903"/>
              <a:gd name="connsiteX6" fmla="*/ 0 w 4959705"/>
              <a:gd name="connsiteY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7315 w 4959705"/>
              <a:gd name="connsiteY6" fmla="*/ 3884371 h 4022903"/>
              <a:gd name="connsiteX7" fmla="*/ 0 w 4959705"/>
              <a:gd name="connsiteY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7315 w 4959705"/>
              <a:gd name="connsiteY7" fmla="*/ 3884371 h 4022903"/>
              <a:gd name="connsiteX8" fmla="*/ 0 w 4959705"/>
              <a:gd name="connsiteY8"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7315 w 4959705"/>
              <a:gd name="connsiteY8" fmla="*/ 3884371 h 4022903"/>
              <a:gd name="connsiteX9" fmla="*/ 0 w 4959705"/>
              <a:gd name="connsiteY9"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7315 w 4959705"/>
              <a:gd name="connsiteY9" fmla="*/ 3884371 h 4022903"/>
              <a:gd name="connsiteX10" fmla="*/ 0 w 4959705"/>
              <a:gd name="connsiteY10"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7315 w 4959705"/>
              <a:gd name="connsiteY10" fmla="*/ 3884371 h 4022903"/>
              <a:gd name="connsiteX11" fmla="*/ 0 w 4959705"/>
              <a:gd name="connsiteY11"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7315 w 4959705"/>
              <a:gd name="connsiteY11" fmla="*/ 3884371 h 4022903"/>
              <a:gd name="connsiteX12" fmla="*/ 0 w 4959705"/>
              <a:gd name="connsiteY12"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7315 w 4959705"/>
              <a:gd name="connsiteY12" fmla="*/ 3884371 h 4022903"/>
              <a:gd name="connsiteX13" fmla="*/ 0 w 4959705"/>
              <a:gd name="connsiteY13"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7315 w 4959705"/>
              <a:gd name="connsiteY13" fmla="*/ 3884371 h 4022903"/>
              <a:gd name="connsiteX14" fmla="*/ 0 w 4959705"/>
              <a:gd name="connsiteY14"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7315 w 4959705"/>
              <a:gd name="connsiteY14" fmla="*/ 3884371 h 4022903"/>
              <a:gd name="connsiteX15" fmla="*/ 0 w 4959705"/>
              <a:gd name="connsiteY1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7315 w 4959705"/>
              <a:gd name="connsiteY15" fmla="*/ 3884371 h 4022903"/>
              <a:gd name="connsiteX16" fmla="*/ 0 w 4959705"/>
              <a:gd name="connsiteY1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7315 w 4959705"/>
              <a:gd name="connsiteY16" fmla="*/ 3884371 h 4022903"/>
              <a:gd name="connsiteX17" fmla="*/ 0 w 4959705"/>
              <a:gd name="connsiteY1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7315 w 4959705"/>
              <a:gd name="connsiteY17" fmla="*/ 3884371 h 4022903"/>
              <a:gd name="connsiteX18" fmla="*/ 0 w 4959705"/>
              <a:gd name="connsiteY18"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7315 w 4959705"/>
              <a:gd name="connsiteY18" fmla="*/ 3884371 h 4022903"/>
              <a:gd name="connsiteX19" fmla="*/ 0 w 4959705"/>
              <a:gd name="connsiteY19"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7315 w 4959705"/>
              <a:gd name="connsiteY19" fmla="*/ 3884371 h 4022903"/>
              <a:gd name="connsiteX20" fmla="*/ 0 w 4959705"/>
              <a:gd name="connsiteY20"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7315 w 4959705"/>
              <a:gd name="connsiteY20" fmla="*/ 3884371 h 4022903"/>
              <a:gd name="connsiteX21" fmla="*/ 0 w 4959705"/>
              <a:gd name="connsiteY21"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7315 w 4959705"/>
              <a:gd name="connsiteY21" fmla="*/ 3884371 h 4022903"/>
              <a:gd name="connsiteX22" fmla="*/ 0 w 4959705"/>
              <a:gd name="connsiteY22"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7315 w 4959705"/>
              <a:gd name="connsiteY22" fmla="*/ 3884371 h 4022903"/>
              <a:gd name="connsiteX23" fmla="*/ 0 w 4959705"/>
              <a:gd name="connsiteY23"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315 w 4959705"/>
              <a:gd name="connsiteY23" fmla="*/ 3884371 h 4022903"/>
              <a:gd name="connsiteX24" fmla="*/ 0 w 4959705"/>
              <a:gd name="connsiteY24"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7315 w 4959705"/>
              <a:gd name="connsiteY24" fmla="*/ 3884371 h 4022903"/>
              <a:gd name="connsiteX25" fmla="*/ 0 w 4959705"/>
              <a:gd name="connsiteY2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7315 w 4959705"/>
              <a:gd name="connsiteY25" fmla="*/ 3884371 h 4022903"/>
              <a:gd name="connsiteX26" fmla="*/ 0 w 4959705"/>
              <a:gd name="connsiteY2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268173 w 4959705"/>
              <a:gd name="connsiteY25" fmla="*/ 3959403 h 4022903"/>
              <a:gd name="connsiteX26" fmla="*/ 7315 w 4959705"/>
              <a:gd name="connsiteY26" fmla="*/ 3884371 h 4022903"/>
              <a:gd name="connsiteX27" fmla="*/ 0 w 4959705"/>
              <a:gd name="connsiteY2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268173 w 4959705"/>
              <a:gd name="connsiteY25" fmla="*/ 3959403 h 4022903"/>
              <a:gd name="connsiteX26" fmla="*/ 7315 w 4959705"/>
              <a:gd name="connsiteY26" fmla="*/ 3884371 h 4022903"/>
              <a:gd name="connsiteX27" fmla="*/ 0 w 4959705"/>
              <a:gd name="connsiteY27" fmla="*/ 0 h 4022903"/>
              <a:gd name="connsiteX0" fmla="*/ 0 w 4959705"/>
              <a:gd name="connsiteY0" fmla="*/ 0 h 4022941"/>
              <a:gd name="connsiteX1" fmla="*/ 4959705 w 4959705"/>
              <a:gd name="connsiteY1" fmla="*/ 0 h 4022941"/>
              <a:gd name="connsiteX2" fmla="*/ 4959705 w 4959705"/>
              <a:gd name="connsiteY2" fmla="*/ 3884371 h 4022941"/>
              <a:gd name="connsiteX3" fmla="*/ 4757623 w 4959705"/>
              <a:gd name="connsiteY3" fmla="*/ 4022903 h 4022941"/>
              <a:gd name="connsiteX4" fmla="*/ 4560773 w 4959705"/>
              <a:gd name="connsiteY4" fmla="*/ 3927653 h 4022941"/>
              <a:gd name="connsiteX5" fmla="*/ 4363923 w 4959705"/>
              <a:gd name="connsiteY5" fmla="*/ 3991153 h 4022941"/>
              <a:gd name="connsiteX6" fmla="*/ 4128973 w 4959705"/>
              <a:gd name="connsiteY6" fmla="*/ 3889553 h 4022941"/>
              <a:gd name="connsiteX7" fmla="*/ 3925773 w 4959705"/>
              <a:gd name="connsiteY7" fmla="*/ 3921303 h 4022941"/>
              <a:gd name="connsiteX8" fmla="*/ 3747973 w 4959705"/>
              <a:gd name="connsiteY8" fmla="*/ 3870503 h 4022941"/>
              <a:gd name="connsiteX9" fmla="*/ 3582873 w 4959705"/>
              <a:gd name="connsiteY9" fmla="*/ 3927653 h 4022941"/>
              <a:gd name="connsiteX10" fmla="*/ 3322523 w 4959705"/>
              <a:gd name="connsiteY10" fmla="*/ 3838753 h 4022941"/>
              <a:gd name="connsiteX11" fmla="*/ 3163773 w 4959705"/>
              <a:gd name="connsiteY11" fmla="*/ 3914953 h 4022941"/>
              <a:gd name="connsiteX12" fmla="*/ 2973273 w 4959705"/>
              <a:gd name="connsiteY12" fmla="*/ 3876853 h 4022941"/>
              <a:gd name="connsiteX13" fmla="*/ 2865323 w 4959705"/>
              <a:gd name="connsiteY13" fmla="*/ 3921303 h 4022941"/>
              <a:gd name="connsiteX14" fmla="*/ 2630373 w 4959705"/>
              <a:gd name="connsiteY14" fmla="*/ 3838753 h 4022941"/>
              <a:gd name="connsiteX15" fmla="*/ 2458923 w 4959705"/>
              <a:gd name="connsiteY15" fmla="*/ 3927653 h 4022941"/>
              <a:gd name="connsiteX16" fmla="*/ 2262073 w 4959705"/>
              <a:gd name="connsiteY16" fmla="*/ 3864153 h 4022941"/>
              <a:gd name="connsiteX17" fmla="*/ 2065223 w 4959705"/>
              <a:gd name="connsiteY17" fmla="*/ 3934003 h 4022941"/>
              <a:gd name="connsiteX18" fmla="*/ 1811223 w 4959705"/>
              <a:gd name="connsiteY18" fmla="*/ 3845103 h 4022941"/>
              <a:gd name="connsiteX19" fmla="*/ 1627073 w 4959705"/>
              <a:gd name="connsiteY19" fmla="*/ 3914953 h 4022941"/>
              <a:gd name="connsiteX20" fmla="*/ 1347673 w 4959705"/>
              <a:gd name="connsiteY20" fmla="*/ 3857803 h 4022941"/>
              <a:gd name="connsiteX21" fmla="*/ 1169873 w 4959705"/>
              <a:gd name="connsiteY21" fmla="*/ 3953053 h 4022941"/>
              <a:gd name="connsiteX22" fmla="*/ 992073 w 4959705"/>
              <a:gd name="connsiteY22" fmla="*/ 3876853 h 4022941"/>
              <a:gd name="connsiteX23" fmla="*/ 788873 w 4959705"/>
              <a:gd name="connsiteY23" fmla="*/ 3959403 h 4022941"/>
              <a:gd name="connsiteX24" fmla="*/ 528523 w 4959705"/>
              <a:gd name="connsiteY24" fmla="*/ 3832403 h 4022941"/>
              <a:gd name="connsiteX25" fmla="*/ 268173 w 4959705"/>
              <a:gd name="connsiteY25" fmla="*/ 3959403 h 4022941"/>
              <a:gd name="connsiteX26" fmla="*/ 7315 w 4959705"/>
              <a:gd name="connsiteY26" fmla="*/ 3884371 h 4022941"/>
              <a:gd name="connsiteX27" fmla="*/ 0 w 4959705"/>
              <a:gd name="connsiteY27" fmla="*/ 0 h 4022941"/>
              <a:gd name="connsiteX0" fmla="*/ 0 w 4959705"/>
              <a:gd name="connsiteY0" fmla="*/ 0 h 4022941"/>
              <a:gd name="connsiteX1" fmla="*/ 4959705 w 4959705"/>
              <a:gd name="connsiteY1" fmla="*/ 0 h 4022941"/>
              <a:gd name="connsiteX2" fmla="*/ 4959705 w 4959705"/>
              <a:gd name="connsiteY2" fmla="*/ 3884371 h 4022941"/>
              <a:gd name="connsiteX3" fmla="*/ 4757623 w 4959705"/>
              <a:gd name="connsiteY3" fmla="*/ 4022903 h 4022941"/>
              <a:gd name="connsiteX4" fmla="*/ 4560773 w 4959705"/>
              <a:gd name="connsiteY4" fmla="*/ 3927653 h 4022941"/>
              <a:gd name="connsiteX5" fmla="*/ 4363923 w 4959705"/>
              <a:gd name="connsiteY5" fmla="*/ 3991153 h 4022941"/>
              <a:gd name="connsiteX6" fmla="*/ 4128973 w 4959705"/>
              <a:gd name="connsiteY6" fmla="*/ 3889553 h 4022941"/>
              <a:gd name="connsiteX7" fmla="*/ 3925773 w 4959705"/>
              <a:gd name="connsiteY7" fmla="*/ 3921303 h 4022941"/>
              <a:gd name="connsiteX8" fmla="*/ 3747973 w 4959705"/>
              <a:gd name="connsiteY8" fmla="*/ 3870503 h 4022941"/>
              <a:gd name="connsiteX9" fmla="*/ 3582873 w 4959705"/>
              <a:gd name="connsiteY9" fmla="*/ 3927653 h 4022941"/>
              <a:gd name="connsiteX10" fmla="*/ 3322523 w 4959705"/>
              <a:gd name="connsiteY10" fmla="*/ 3838753 h 4022941"/>
              <a:gd name="connsiteX11" fmla="*/ 3163773 w 4959705"/>
              <a:gd name="connsiteY11" fmla="*/ 3914953 h 4022941"/>
              <a:gd name="connsiteX12" fmla="*/ 2973273 w 4959705"/>
              <a:gd name="connsiteY12" fmla="*/ 3876853 h 4022941"/>
              <a:gd name="connsiteX13" fmla="*/ 2865323 w 4959705"/>
              <a:gd name="connsiteY13" fmla="*/ 3921303 h 4022941"/>
              <a:gd name="connsiteX14" fmla="*/ 2630373 w 4959705"/>
              <a:gd name="connsiteY14" fmla="*/ 3838753 h 4022941"/>
              <a:gd name="connsiteX15" fmla="*/ 2458923 w 4959705"/>
              <a:gd name="connsiteY15" fmla="*/ 3927653 h 4022941"/>
              <a:gd name="connsiteX16" fmla="*/ 2262073 w 4959705"/>
              <a:gd name="connsiteY16" fmla="*/ 3864153 h 4022941"/>
              <a:gd name="connsiteX17" fmla="*/ 2065223 w 4959705"/>
              <a:gd name="connsiteY17" fmla="*/ 3934003 h 4022941"/>
              <a:gd name="connsiteX18" fmla="*/ 1811223 w 4959705"/>
              <a:gd name="connsiteY18" fmla="*/ 3845103 h 4022941"/>
              <a:gd name="connsiteX19" fmla="*/ 1627073 w 4959705"/>
              <a:gd name="connsiteY19" fmla="*/ 3914953 h 4022941"/>
              <a:gd name="connsiteX20" fmla="*/ 1347673 w 4959705"/>
              <a:gd name="connsiteY20" fmla="*/ 3857803 h 4022941"/>
              <a:gd name="connsiteX21" fmla="*/ 1169873 w 4959705"/>
              <a:gd name="connsiteY21" fmla="*/ 3953053 h 4022941"/>
              <a:gd name="connsiteX22" fmla="*/ 992073 w 4959705"/>
              <a:gd name="connsiteY22" fmla="*/ 3876853 h 4022941"/>
              <a:gd name="connsiteX23" fmla="*/ 788873 w 4959705"/>
              <a:gd name="connsiteY23" fmla="*/ 3959403 h 4022941"/>
              <a:gd name="connsiteX24" fmla="*/ 528523 w 4959705"/>
              <a:gd name="connsiteY24" fmla="*/ 3832403 h 4022941"/>
              <a:gd name="connsiteX25" fmla="*/ 268173 w 4959705"/>
              <a:gd name="connsiteY25" fmla="*/ 3959403 h 4022941"/>
              <a:gd name="connsiteX26" fmla="*/ 7315 w 4959705"/>
              <a:gd name="connsiteY26" fmla="*/ 3884371 h 4022941"/>
              <a:gd name="connsiteX27" fmla="*/ 0 w 4959705"/>
              <a:gd name="connsiteY27" fmla="*/ 0 h 4022941"/>
              <a:gd name="connsiteX0" fmla="*/ 0 w 4959933"/>
              <a:gd name="connsiteY0" fmla="*/ 0 h 4022941"/>
              <a:gd name="connsiteX1" fmla="*/ 4959705 w 4959933"/>
              <a:gd name="connsiteY1" fmla="*/ 0 h 4022941"/>
              <a:gd name="connsiteX2" fmla="*/ 4959705 w 4959933"/>
              <a:gd name="connsiteY2" fmla="*/ 3884371 h 4022941"/>
              <a:gd name="connsiteX3" fmla="*/ 4757623 w 4959933"/>
              <a:gd name="connsiteY3" fmla="*/ 4022903 h 4022941"/>
              <a:gd name="connsiteX4" fmla="*/ 4560773 w 4959933"/>
              <a:gd name="connsiteY4" fmla="*/ 3927653 h 4022941"/>
              <a:gd name="connsiteX5" fmla="*/ 4363923 w 4959933"/>
              <a:gd name="connsiteY5" fmla="*/ 3991153 h 4022941"/>
              <a:gd name="connsiteX6" fmla="*/ 4128973 w 4959933"/>
              <a:gd name="connsiteY6" fmla="*/ 3889553 h 4022941"/>
              <a:gd name="connsiteX7" fmla="*/ 3925773 w 4959933"/>
              <a:gd name="connsiteY7" fmla="*/ 3921303 h 4022941"/>
              <a:gd name="connsiteX8" fmla="*/ 3747973 w 4959933"/>
              <a:gd name="connsiteY8" fmla="*/ 3870503 h 4022941"/>
              <a:gd name="connsiteX9" fmla="*/ 3582873 w 4959933"/>
              <a:gd name="connsiteY9" fmla="*/ 3927653 h 4022941"/>
              <a:gd name="connsiteX10" fmla="*/ 3322523 w 4959933"/>
              <a:gd name="connsiteY10" fmla="*/ 3838753 h 4022941"/>
              <a:gd name="connsiteX11" fmla="*/ 3163773 w 4959933"/>
              <a:gd name="connsiteY11" fmla="*/ 3914953 h 4022941"/>
              <a:gd name="connsiteX12" fmla="*/ 2973273 w 4959933"/>
              <a:gd name="connsiteY12" fmla="*/ 3876853 h 4022941"/>
              <a:gd name="connsiteX13" fmla="*/ 2865323 w 4959933"/>
              <a:gd name="connsiteY13" fmla="*/ 3921303 h 4022941"/>
              <a:gd name="connsiteX14" fmla="*/ 2630373 w 4959933"/>
              <a:gd name="connsiteY14" fmla="*/ 3838753 h 4022941"/>
              <a:gd name="connsiteX15" fmla="*/ 2458923 w 4959933"/>
              <a:gd name="connsiteY15" fmla="*/ 3927653 h 4022941"/>
              <a:gd name="connsiteX16" fmla="*/ 2262073 w 4959933"/>
              <a:gd name="connsiteY16" fmla="*/ 3864153 h 4022941"/>
              <a:gd name="connsiteX17" fmla="*/ 2065223 w 4959933"/>
              <a:gd name="connsiteY17" fmla="*/ 3934003 h 4022941"/>
              <a:gd name="connsiteX18" fmla="*/ 1811223 w 4959933"/>
              <a:gd name="connsiteY18" fmla="*/ 3845103 h 4022941"/>
              <a:gd name="connsiteX19" fmla="*/ 1627073 w 4959933"/>
              <a:gd name="connsiteY19" fmla="*/ 3914953 h 4022941"/>
              <a:gd name="connsiteX20" fmla="*/ 1347673 w 4959933"/>
              <a:gd name="connsiteY20" fmla="*/ 3857803 h 4022941"/>
              <a:gd name="connsiteX21" fmla="*/ 1169873 w 4959933"/>
              <a:gd name="connsiteY21" fmla="*/ 3953053 h 4022941"/>
              <a:gd name="connsiteX22" fmla="*/ 992073 w 4959933"/>
              <a:gd name="connsiteY22" fmla="*/ 3876853 h 4022941"/>
              <a:gd name="connsiteX23" fmla="*/ 788873 w 4959933"/>
              <a:gd name="connsiteY23" fmla="*/ 3959403 h 4022941"/>
              <a:gd name="connsiteX24" fmla="*/ 528523 w 4959933"/>
              <a:gd name="connsiteY24" fmla="*/ 3832403 h 4022941"/>
              <a:gd name="connsiteX25" fmla="*/ 268173 w 4959933"/>
              <a:gd name="connsiteY25" fmla="*/ 3959403 h 4022941"/>
              <a:gd name="connsiteX26" fmla="*/ 7315 w 4959933"/>
              <a:gd name="connsiteY26" fmla="*/ 3884371 h 4022941"/>
              <a:gd name="connsiteX27" fmla="*/ 0 w 4959933"/>
              <a:gd name="connsiteY27" fmla="*/ 0 h 4022941"/>
              <a:gd name="connsiteX0" fmla="*/ 0 w 4960450"/>
              <a:gd name="connsiteY0" fmla="*/ 0 h 3991153"/>
              <a:gd name="connsiteX1" fmla="*/ 4959705 w 4960450"/>
              <a:gd name="connsiteY1" fmla="*/ 0 h 3991153"/>
              <a:gd name="connsiteX2" fmla="*/ 4959705 w 4960450"/>
              <a:gd name="connsiteY2" fmla="*/ 3884371 h 3991153"/>
              <a:gd name="connsiteX3" fmla="*/ 4900634 w 4960450"/>
              <a:gd name="connsiteY3" fmla="*/ 3983900 h 3991153"/>
              <a:gd name="connsiteX4" fmla="*/ 4560773 w 4960450"/>
              <a:gd name="connsiteY4" fmla="*/ 3927653 h 3991153"/>
              <a:gd name="connsiteX5" fmla="*/ 4363923 w 4960450"/>
              <a:gd name="connsiteY5" fmla="*/ 3991153 h 3991153"/>
              <a:gd name="connsiteX6" fmla="*/ 4128973 w 4960450"/>
              <a:gd name="connsiteY6" fmla="*/ 3889553 h 3991153"/>
              <a:gd name="connsiteX7" fmla="*/ 3925773 w 4960450"/>
              <a:gd name="connsiteY7" fmla="*/ 3921303 h 3991153"/>
              <a:gd name="connsiteX8" fmla="*/ 3747973 w 4960450"/>
              <a:gd name="connsiteY8" fmla="*/ 3870503 h 3991153"/>
              <a:gd name="connsiteX9" fmla="*/ 3582873 w 4960450"/>
              <a:gd name="connsiteY9" fmla="*/ 3927653 h 3991153"/>
              <a:gd name="connsiteX10" fmla="*/ 3322523 w 4960450"/>
              <a:gd name="connsiteY10" fmla="*/ 3838753 h 3991153"/>
              <a:gd name="connsiteX11" fmla="*/ 3163773 w 4960450"/>
              <a:gd name="connsiteY11" fmla="*/ 3914953 h 3991153"/>
              <a:gd name="connsiteX12" fmla="*/ 2973273 w 4960450"/>
              <a:gd name="connsiteY12" fmla="*/ 3876853 h 3991153"/>
              <a:gd name="connsiteX13" fmla="*/ 2865323 w 4960450"/>
              <a:gd name="connsiteY13" fmla="*/ 3921303 h 3991153"/>
              <a:gd name="connsiteX14" fmla="*/ 2630373 w 4960450"/>
              <a:gd name="connsiteY14" fmla="*/ 3838753 h 3991153"/>
              <a:gd name="connsiteX15" fmla="*/ 2458923 w 4960450"/>
              <a:gd name="connsiteY15" fmla="*/ 3927653 h 3991153"/>
              <a:gd name="connsiteX16" fmla="*/ 2262073 w 4960450"/>
              <a:gd name="connsiteY16" fmla="*/ 3864153 h 3991153"/>
              <a:gd name="connsiteX17" fmla="*/ 2065223 w 4960450"/>
              <a:gd name="connsiteY17" fmla="*/ 3934003 h 3991153"/>
              <a:gd name="connsiteX18" fmla="*/ 1811223 w 4960450"/>
              <a:gd name="connsiteY18" fmla="*/ 3845103 h 3991153"/>
              <a:gd name="connsiteX19" fmla="*/ 1627073 w 4960450"/>
              <a:gd name="connsiteY19" fmla="*/ 3914953 h 3991153"/>
              <a:gd name="connsiteX20" fmla="*/ 1347673 w 4960450"/>
              <a:gd name="connsiteY20" fmla="*/ 3857803 h 3991153"/>
              <a:gd name="connsiteX21" fmla="*/ 1169873 w 4960450"/>
              <a:gd name="connsiteY21" fmla="*/ 3953053 h 3991153"/>
              <a:gd name="connsiteX22" fmla="*/ 992073 w 4960450"/>
              <a:gd name="connsiteY22" fmla="*/ 3876853 h 3991153"/>
              <a:gd name="connsiteX23" fmla="*/ 788873 w 4960450"/>
              <a:gd name="connsiteY23" fmla="*/ 3959403 h 3991153"/>
              <a:gd name="connsiteX24" fmla="*/ 528523 w 4960450"/>
              <a:gd name="connsiteY24" fmla="*/ 3832403 h 3991153"/>
              <a:gd name="connsiteX25" fmla="*/ 268173 w 4960450"/>
              <a:gd name="connsiteY25" fmla="*/ 3959403 h 3991153"/>
              <a:gd name="connsiteX26" fmla="*/ 7315 w 4960450"/>
              <a:gd name="connsiteY26" fmla="*/ 3884371 h 3991153"/>
              <a:gd name="connsiteX27" fmla="*/ 0 w 4960450"/>
              <a:gd name="connsiteY27" fmla="*/ 0 h 3991153"/>
              <a:gd name="connsiteX0" fmla="*/ 0 w 4960450"/>
              <a:gd name="connsiteY0" fmla="*/ 0 h 4014431"/>
              <a:gd name="connsiteX1" fmla="*/ 4959705 w 4960450"/>
              <a:gd name="connsiteY1" fmla="*/ 0 h 4014431"/>
              <a:gd name="connsiteX2" fmla="*/ 4959705 w 4960450"/>
              <a:gd name="connsiteY2" fmla="*/ 3884371 h 4014431"/>
              <a:gd name="connsiteX3" fmla="*/ 4900634 w 4960450"/>
              <a:gd name="connsiteY3" fmla="*/ 3983900 h 4014431"/>
              <a:gd name="connsiteX4" fmla="*/ 4768788 w 4960450"/>
              <a:gd name="connsiteY4" fmla="*/ 4014326 h 4014431"/>
              <a:gd name="connsiteX5" fmla="*/ 4363923 w 4960450"/>
              <a:gd name="connsiteY5" fmla="*/ 3991153 h 4014431"/>
              <a:gd name="connsiteX6" fmla="*/ 4128973 w 4960450"/>
              <a:gd name="connsiteY6" fmla="*/ 3889553 h 4014431"/>
              <a:gd name="connsiteX7" fmla="*/ 3925773 w 4960450"/>
              <a:gd name="connsiteY7" fmla="*/ 3921303 h 4014431"/>
              <a:gd name="connsiteX8" fmla="*/ 3747973 w 4960450"/>
              <a:gd name="connsiteY8" fmla="*/ 3870503 h 4014431"/>
              <a:gd name="connsiteX9" fmla="*/ 3582873 w 4960450"/>
              <a:gd name="connsiteY9" fmla="*/ 3927653 h 4014431"/>
              <a:gd name="connsiteX10" fmla="*/ 3322523 w 4960450"/>
              <a:gd name="connsiteY10" fmla="*/ 3838753 h 4014431"/>
              <a:gd name="connsiteX11" fmla="*/ 3163773 w 4960450"/>
              <a:gd name="connsiteY11" fmla="*/ 3914953 h 4014431"/>
              <a:gd name="connsiteX12" fmla="*/ 2973273 w 4960450"/>
              <a:gd name="connsiteY12" fmla="*/ 3876853 h 4014431"/>
              <a:gd name="connsiteX13" fmla="*/ 2865323 w 4960450"/>
              <a:gd name="connsiteY13" fmla="*/ 3921303 h 4014431"/>
              <a:gd name="connsiteX14" fmla="*/ 2630373 w 4960450"/>
              <a:gd name="connsiteY14" fmla="*/ 3838753 h 4014431"/>
              <a:gd name="connsiteX15" fmla="*/ 2458923 w 4960450"/>
              <a:gd name="connsiteY15" fmla="*/ 3927653 h 4014431"/>
              <a:gd name="connsiteX16" fmla="*/ 2262073 w 4960450"/>
              <a:gd name="connsiteY16" fmla="*/ 3864153 h 4014431"/>
              <a:gd name="connsiteX17" fmla="*/ 2065223 w 4960450"/>
              <a:gd name="connsiteY17" fmla="*/ 3934003 h 4014431"/>
              <a:gd name="connsiteX18" fmla="*/ 1811223 w 4960450"/>
              <a:gd name="connsiteY18" fmla="*/ 3845103 h 4014431"/>
              <a:gd name="connsiteX19" fmla="*/ 1627073 w 4960450"/>
              <a:gd name="connsiteY19" fmla="*/ 3914953 h 4014431"/>
              <a:gd name="connsiteX20" fmla="*/ 1347673 w 4960450"/>
              <a:gd name="connsiteY20" fmla="*/ 3857803 h 4014431"/>
              <a:gd name="connsiteX21" fmla="*/ 1169873 w 4960450"/>
              <a:gd name="connsiteY21" fmla="*/ 3953053 h 4014431"/>
              <a:gd name="connsiteX22" fmla="*/ 992073 w 4960450"/>
              <a:gd name="connsiteY22" fmla="*/ 3876853 h 4014431"/>
              <a:gd name="connsiteX23" fmla="*/ 788873 w 4960450"/>
              <a:gd name="connsiteY23" fmla="*/ 3959403 h 4014431"/>
              <a:gd name="connsiteX24" fmla="*/ 528523 w 4960450"/>
              <a:gd name="connsiteY24" fmla="*/ 3832403 h 4014431"/>
              <a:gd name="connsiteX25" fmla="*/ 268173 w 4960450"/>
              <a:gd name="connsiteY25" fmla="*/ 3959403 h 4014431"/>
              <a:gd name="connsiteX26" fmla="*/ 7315 w 4960450"/>
              <a:gd name="connsiteY26" fmla="*/ 3884371 h 4014431"/>
              <a:gd name="connsiteX27" fmla="*/ 0 w 4960450"/>
              <a:gd name="connsiteY27" fmla="*/ 0 h 4014431"/>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363923 w 4960450"/>
              <a:gd name="connsiteY5" fmla="*/ 3991153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90422"/>
              <a:gd name="connsiteX1" fmla="*/ 4959705 w 4960450"/>
              <a:gd name="connsiteY1" fmla="*/ 0 h 4090422"/>
              <a:gd name="connsiteX2" fmla="*/ 4959705 w 4960450"/>
              <a:gd name="connsiteY2" fmla="*/ 3884371 h 4090422"/>
              <a:gd name="connsiteX3" fmla="*/ 4900634 w 4960450"/>
              <a:gd name="connsiteY3" fmla="*/ 3983900 h 4090422"/>
              <a:gd name="connsiteX4" fmla="*/ 4768788 w 4960450"/>
              <a:gd name="connsiteY4" fmla="*/ 4014326 h 4090422"/>
              <a:gd name="connsiteX5" fmla="*/ 4576272 w 4960450"/>
              <a:gd name="connsiteY5" fmla="*/ 3926148 h 4090422"/>
              <a:gd name="connsiteX6" fmla="*/ 4406327 w 4960450"/>
              <a:gd name="connsiteY6" fmla="*/ 3976226 h 4090422"/>
              <a:gd name="connsiteX7" fmla="*/ 4081785 w 4960450"/>
              <a:gd name="connsiteY7" fmla="*/ 4090315 h 4090422"/>
              <a:gd name="connsiteX8" fmla="*/ 3747973 w 4960450"/>
              <a:gd name="connsiteY8" fmla="*/ 3870503 h 4090422"/>
              <a:gd name="connsiteX9" fmla="*/ 3582873 w 4960450"/>
              <a:gd name="connsiteY9" fmla="*/ 3927653 h 4090422"/>
              <a:gd name="connsiteX10" fmla="*/ 3322523 w 4960450"/>
              <a:gd name="connsiteY10" fmla="*/ 3838753 h 4090422"/>
              <a:gd name="connsiteX11" fmla="*/ 3163773 w 4960450"/>
              <a:gd name="connsiteY11" fmla="*/ 3914953 h 4090422"/>
              <a:gd name="connsiteX12" fmla="*/ 2973273 w 4960450"/>
              <a:gd name="connsiteY12" fmla="*/ 3876853 h 4090422"/>
              <a:gd name="connsiteX13" fmla="*/ 2865323 w 4960450"/>
              <a:gd name="connsiteY13" fmla="*/ 3921303 h 4090422"/>
              <a:gd name="connsiteX14" fmla="*/ 2630373 w 4960450"/>
              <a:gd name="connsiteY14" fmla="*/ 3838753 h 4090422"/>
              <a:gd name="connsiteX15" fmla="*/ 2458923 w 4960450"/>
              <a:gd name="connsiteY15" fmla="*/ 3927653 h 4090422"/>
              <a:gd name="connsiteX16" fmla="*/ 2262073 w 4960450"/>
              <a:gd name="connsiteY16" fmla="*/ 3864153 h 4090422"/>
              <a:gd name="connsiteX17" fmla="*/ 2065223 w 4960450"/>
              <a:gd name="connsiteY17" fmla="*/ 3934003 h 4090422"/>
              <a:gd name="connsiteX18" fmla="*/ 1811223 w 4960450"/>
              <a:gd name="connsiteY18" fmla="*/ 3845103 h 4090422"/>
              <a:gd name="connsiteX19" fmla="*/ 1627073 w 4960450"/>
              <a:gd name="connsiteY19" fmla="*/ 3914953 h 4090422"/>
              <a:gd name="connsiteX20" fmla="*/ 1347673 w 4960450"/>
              <a:gd name="connsiteY20" fmla="*/ 3857803 h 4090422"/>
              <a:gd name="connsiteX21" fmla="*/ 1169873 w 4960450"/>
              <a:gd name="connsiteY21" fmla="*/ 3953053 h 4090422"/>
              <a:gd name="connsiteX22" fmla="*/ 992073 w 4960450"/>
              <a:gd name="connsiteY22" fmla="*/ 3876853 h 4090422"/>
              <a:gd name="connsiteX23" fmla="*/ 788873 w 4960450"/>
              <a:gd name="connsiteY23" fmla="*/ 3959403 h 4090422"/>
              <a:gd name="connsiteX24" fmla="*/ 528523 w 4960450"/>
              <a:gd name="connsiteY24" fmla="*/ 3832403 h 4090422"/>
              <a:gd name="connsiteX25" fmla="*/ 268173 w 4960450"/>
              <a:gd name="connsiteY25" fmla="*/ 3959403 h 4090422"/>
              <a:gd name="connsiteX26" fmla="*/ 7315 w 4960450"/>
              <a:gd name="connsiteY26" fmla="*/ 3884371 h 4090422"/>
              <a:gd name="connsiteX27" fmla="*/ 0 w 4960450"/>
              <a:gd name="connsiteY27" fmla="*/ 0 h 4090422"/>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739812 w 4960450"/>
              <a:gd name="connsiteY9" fmla="*/ 3922397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74807 w 4960450"/>
              <a:gd name="connsiteY10" fmla="*/ 3887728 h 4014326"/>
              <a:gd name="connsiteX11" fmla="*/ 3582873 w 4960450"/>
              <a:gd name="connsiteY11" fmla="*/ 3927653 h 4014326"/>
              <a:gd name="connsiteX12" fmla="*/ 3322523 w 4960450"/>
              <a:gd name="connsiteY12" fmla="*/ 383875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322523 w 4960450"/>
              <a:gd name="connsiteY12" fmla="*/ 383875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36783 w 4960450"/>
              <a:gd name="connsiteY13" fmla="*/ 3900729 h 4014326"/>
              <a:gd name="connsiteX14" fmla="*/ 3163773 w 4960450"/>
              <a:gd name="connsiteY14" fmla="*/ 3914953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3773 w 4960450"/>
              <a:gd name="connsiteY14" fmla="*/ 3914953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98443 w 4960450"/>
              <a:gd name="connsiteY14" fmla="*/ 4005960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782075 w 4960450"/>
              <a:gd name="connsiteY17" fmla="*/ 3848725 h 4014326"/>
              <a:gd name="connsiteX18" fmla="*/ 2630373 w 4960450"/>
              <a:gd name="connsiteY18" fmla="*/ 3838753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630373 w 4960450"/>
              <a:gd name="connsiteY18" fmla="*/ 3838753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582728 w 4960450"/>
              <a:gd name="connsiteY19" fmla="*/ 3883394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65067 w 4960450"/>
              <a:gd name="connsiteY19" fmla="*/ 3974400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87748 w 4960450"/>
              <a:gd name="connsiteY21" fmla="*/ 3998496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251570 w 4960450"/>
              <a:gd name="connsiteY22" fmla="*/ 398167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049689 w 4960450"/>
              <a:gd name="connsiteY23" fmla="*/ 3874727 h 4014326"/>
              <a:gd name="connsiteX24" fmla="*/ 1811223 w 4960450"/>
              <a:gd name="connsiteY24" fmla="*/ 3845103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811223 w 4960450"/>
              <a:gd name="connsiteY24" fmla="*/ 3845103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89996 w 4960450"/>
              <a:gd name="connsiteY26" fmla="*/ 3900729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737666 w 4960450"/>
              <a:gd name="connsiteY26" fmla="*/ 3987402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64320 w 4960450"/>
              <a:gd name="connsiteY27" fmla="*/ 3892062 h 4014326"/>
              <a:gd name="connsiteX28" fmla="*/ 1347673 w 4960450"/>
              <a:gd name="connsiteY28" fmla="*/ 3857803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347673 w 4960450"/>
              <a:gd name="connsiteY28" fmla="*/ 3857803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469015 w 4960450"/>
              <a:gd name="connsiteY28" fmla="*/ 3927141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469015 w 4960450"/>
              <a:gd name="connsiteY28" fmla="*/ 3927141 h 4014326"/>
              <a:gd name="connsiteX29" fmla="*/ 1299967 w 4960450"/>
              <a:gd name="connsiteY29" fmla="*/ 3944066 h 4014326"/>
              <a:gd name="connsiteX30" fmla="*/ 1169873 w 4960450"/>
              <a:gd name="connsiteY30" fmla="*/ 3953053 h 4014326"/>
              <a:gd name="connsiteX31" fmla="*/ 992073 w 4960450"/>
              <a:gd name="connsiteY31" fmla="*/ 3876853 h 4014326"/>
              <a:gd name="connsiteX32" fmla="*/ 788873 w 4960450"/>
              <a:gd name="connsiteY32" fmla="*/ 3959403 h 4014326"/>
              <a:gd name="connsiteX33" fmla="*/ 528523 w 4960450"/>
              <a:gd name="connsiteY33" fmla="*/ 3832403 h 4014326"/>
              <a:gd name="connsiteX34" fmla="*/ 268173 w 4960450"/>
              <a:gd name="connsiteY34" fmla="*/ 3959403 h 4014326"/>
              <a:gd name="connsiteX35" fmla="*/ 7315 w 4960450"/>
              <a:gd name="connsiteY35" fmla="*/ 3884371 h 4014326"/>
              <a:gd name="connsiteX36" fmla="*/ 0 w 4960450"/>
              <a:gd name="connsiteY36" fmla="*/ 0 h 4014326"/>
              <a:gd name="connsiteX0" fmla="*/ 0 w 4960450"/>
              <a:gd name="connsiteY0" fmla="*/ 0 h 4030928"/>
              <a:gd name="connsiteX1" fmla="*/ 4959705 w 4960450"/>
              <a:gd name="connsiteY1" fmla="*/ 0 h 4030928"/>
              <a:gd name="connsiteX2" fmla="*/ 4959705 w 4960450"/>
              <a:gd name="connsiteY2" fmla="*/ 3884371 h 4030928"/>
              <a:gd name="connsiteX3" fmla="*/ 4900634 w 4960450"/>
              <a:gd name="connsiteY3" fmla="*/ 3983900 h 4030928"/>
              <a:gd name="connsiteX4" fmla="*/ 4768788 w 4960450"/>
              <a:gd name="connsiteY4" fmla="*/ 4014326 h 4030928"/>
              <a:gd name="connsiteX5" fmla="*/ 4576272 w 4960450"/>
              <a:gd name="connsiteY5" fmla="*/ 3926148 h 4030928"/>
              <a:gd name="connsiteX6" fmla="*/ 4406327 w 4960450"/>
              <a:gd name="connsiteY6" fmla="*/ 3976226 h 4030928"/>
              <a:gd name="connsiteX7" fmla="*/ 4216128 w 4960450"/>
              <a:gd name="connsiteY7" fmla="*/ 3947304 h 4030928"/>
              <a:gd name="connsiteX8" fmla="*/ 4003658 w 4960450"/>
              <a:gd name="connsiteY8" fmla="*/ 3931174 h 4030928"/>
              <a:gd name="connsiteX9" fmla="*/ 3843820 w 4960450"/>
              <a:gd name="connsiteY9" fmla="*/ 3814056 h 4030928"/>
              <a:gd name="connsiteX10" fmla="*/ 3696475 w 4960450"/>
              <a:gd name="connsiteY10" fmla="*/ 3848725 h 4030928"/>
              <a:gd name="connsiteX11" fmla="*/ 3582873 w 4960450"/>
              <a:gd name="connsiteY11" fmla="*/ 3927653 h 4030928"/>
              <a:gd name="connsiteX12" fmla="*/ 3504537 w 4960450"/>
              <a:gd name="connsiteY12" fmla="*/ 3886423 h 4030928"/>
              <a:gd name="connsiteX13" fmla="*/ 3371452 w 4960450"/>
              <a:gd name="connsiteY13" fmla="*/ 3926731 h 4030928"/>
              <a:gd name="connsiteX14" fmla="*/ 3168108 w 4960450"/>
              <a:gd name="connsiteY14" fmla="*/ 3923620 h 4030928"/>
              <a:gd name="connsiteX15" fmla="*/ 3077280 w 4960450"/>
              <a:gd name="connsiteY15" fmla="*/ 3842184 h 4030928"/>
              <a:gd name="connsiteX16" fmla="*/ 2977998 w 4960450"/>
              <a:gd name="connsiteY16" fmla="*/ 3860632 h 4030928"/>
              <a:gd name="connsiteX17" fmla="*/ 2842746 w 4960450"/>
              <a:gd name="connsiteY17" fmla="*/ 3736050 h 4030928"/>
              <a:gd name="connsiteX18" fmla="*/ 2717046 w 4960450"/>
              <a:gd name="connsiteY18" fmla="*/ 3825752 h 4030928"/>
              <a:gd name="connsiteX19" fmla="*/ 2647733 w 4960450"/>
              <a:gd name="connsiteY19" fmla="*/ 3874726 h 4030928"/>
              <a:gd name="connsiteX20" fmla="*/ 2536929 w 4960450"/>
              <a:gd name="connsiteY20" fmla="*/ 3923320 h 4030928"/>
              <a:gd name="connsiteX21" fmla="*/ 2392082 w 4960450"/>
              <a:gd name="connsiteY21" fmla="*/ 3890155 h 4030928"/>
              <a:gd name="connsiteX22" fmla="*/ 2307907 w 4960450"/>
              <a:gd name="connsiteY22" fmla="*/ 3921002 h 4030928"/>
              <a:gd name="connsiteX23" fmla="*/ 2106026 w 4960450"/>
              <a:gd name="connsiteY23" fmla="*/ 3853059 h 4030928"/>
              <a:gd name="connsiteX24" fmla="*/ 1949900 w 4960450"/>
              <a:gd name="connsiteY24" fmla="*/ 3871105 h 4030928"/>
              <a:gd name="connsiteX25" fmla="*/ 1882759 w 4960450"/>
              <a:gd name="connsiteY25" fmla="*/ 3914953 h 4030928"/>
              <a:gd name="connsiteX26" fmla="*/ 1698663 w 4960450"/>
              <a:gd name="connsiteY26" fmla="*/ 3913730 h 4030928"/>
              <a:gd name="connsiteX27" fmla="*/ 1594656 w 4960450"/>
              <a:gd name="connsiteY27" fmla="*/ 3835725 h 4030928"/>
              <a:gd name="connsiteX28" fmla="*/ 1469015 w 4960450"/>
              <a:gd name="connsiteY28" fmla="*/ 3927141 h 4030928"/>
              <a:gd name="connsiteX29" fmla="*/ 1351971 w 4960450"/>
              <a:gd name="connsiteY29" fmla="*/ 4030739 h 4030928"/>
              <a:gd name="connsiteX30" fmla="*/ 1169873 w 4960450"/>
              <a:gd name="connsiteY30" fmla="*/ 3953053 h 4030928"/>
              <a:gd name="connsiteX31" fmla="*/ 992073 w 4960450"/>
              <a:gd name="connsiteY31" fmla="*/ 3876853 h 4030928"/>
              <a:gd name="connsiteX32" fmla="*/ 788873 w 4960450"/>
              <a:gd name="connsiteY32" fmla="*/ 3959403 h 4030928"/>
              <a:gd name="connsiteX33" fmla="*/ 528523 w 4960450"/>
              <a:gd name="connsiteY33" fmla="*/ 3832403 h 4030928"/>
              <a:gd name="connsiteX34" fmla="*/ 268173 w 4960450"/>
              <a:gd name="connsiteY34" fmla="*/ 3959403 h 4030928"/>
              <a:gd name="connsiteX35" fmla="*/ 7315 w 4960450"/>
              <a:gd name="connsiteY35" fmla="*/ 3884371 h 4030928"/>
              <a:gd name="connsiteX36" fmla="*/ 0 w 4960450"/>
              <a:gd name="connsiteY36" fmla="*/ 0 h 4030928"/>
              <a:gd name="connsiteX0" fmla="*/ 0 w 4960450"/>
              <a:gd name="connsiteY0" fmla="*/ 0 h 4037030"/>
              <a:gd name="connsiteX1" fmla="*/ 4959705 w 4960450"/>
              <a:gd name="connsiteY1" fmla="*/ 0 h 4037030"/>
              <a:gd name="connsiteX2" fmla="*/ 4959705 w 4960450"/>
              <a:gd name="connsiteY2" fmla="*/ 3884371 h 4037030"/>
              <a:gd name="connsiteX3" fmla="*/ 4900634 w 4960450"/>
              <a:gd name="connsiteY3" fmla="*/ 3983900 h 4037030"/>
              <a:gd name="connsiteX4" fmla="*/ 4768788 w 4960450"/>
              <a:gd name="connsiteY4" fmla="*/ 4014326 h 4037030"/>
              <a:gd name="connsiteX5" fmla="*/ 4576272 w 4960450"/>
              <a:gd name="connsiteY5" fmla="*/ 3926148 h 4037030"/>
              <a:gd name="connsiteX6" fmla="*/ 4406327 w 4960450"/>
              <a:gd name="connsiteY6" fmla="*/ 3976226 h 4037030"/>
              <a:gd name="connsiteX7" fmla="*/ 4216128 w 4960450"/>
              <a:gd name="connsiteY7" fmla="*/ 3947304 h 4037030"/>
              <a:gd name="connsiteX8" fmla="*/ 4003658 w 4960450"/>
              <a:gd name="connsiteY8" fmla="*/ 3931174 h 4037030"/>
              <a:gd name="connsiteX9" fmla="*/ 3843820 w 4960450"/>
              <a:gd name="connsiteY9" fmla="*/ 3814056 h 4037030"/>
              <a:gd name="connsiteX10" fmla="*/ 3696475 w 4960450"/>
              <a:gd name="connsiteY10" fmla="*/ 3848725 h 4037030"/>
              <a:gd name="connsiteX11" fmla="*/ 3582873 w 4960450"/>
              <a:gd name="connsiteY11" fmla="*/ 3927653 h 4037030"/>
              <a:gd name="connsiteX12" fmla="*/ 3504537 w 4960450"/>
              <a:gd name="connsiteY12" fmla="*/ 3886423 h 4037030"/>
              <a:gd name="connsiteX13" fmla="*/ 3371452 w 4960450"/>
              <a:gd name="connsiteY13" fmla="*/ 3926731 h 4037030"/>
              <a:gd name="connsiteX14" fmla="*/ 3168108 w 4960450"/>
              <a:gd name="connsiteY14" fmla="*/ 3923620 h 4037030"/>
              <a:gd name="connsiteX15" fmla="*/ 3077280 w 4960450"/>
              <a:gd name="connsiteY15" fmla="*/ 3842184 h 4037030"/>
              <a:gd name="connsiteX16" fmla="*/ 2977998 w 4960450"/>
              <a:gd name="connsiteY16" fmla="*/ 3860632 h 4037030"/>
              <a:gd name="connsiteX17" fmla="*/ 2842746 w 4960450"/>
              <a:gd name="connsiteY17" fmla="*/ 3736050 h 4037030"/>
              <a:gd name="connsiteX18" fmla="*/ 2717046 w 4960450"/>
              <a:gd name="connsiteY18" fmla="*/ 3825752 h 4037030"/>
              <a:gd name="connsiteX19" fmla="*/ 2647733 w 4960450"/>
              <a:gd name="connsiteY19" fmla="*/ 3874726 h 4037030"/>
              <a:gd name="connsiteX20" fmla="*/ 2536929 w 4960450"/>
              <a:gd name="connsiteY20" fmla="*/ 3923320 h 4037030"/>
              <a:gd name="connsiteX21" fmla="*/ 2392082 w 4960450"/>
              <a:gd name="connsiteY21" fmla="*/ 3890155 h 4037030"/>
              <a:gd name="connsiteX22" fmla="*/ 2307907 w 4960450"/>
              <a:gd name="connsiteY22" fmla="*/ 3921002 h 4037030"/>
              <a:gd name="connsiteX23" fmla="*/ 2106026 w 4960450"/>
              <a:gd name="connsiteY23" fmla="*/ 3853059 h 4037030"/>
              <a:gd name="connsiteX24" fmla="*/ 1949900 w 4960450"/>
              <a:gd name="connsiteY24" fmla="*/ 3871105 h 4037030"/>
              <a:gd name="connsiteX25" fmla="*/ 1882759 w 4960450"/>
              <a:gd name="connsiteY25" fmla="*/ 3914953 h 4037030"/>
              <a:gd name="connsiteX26" fmla="*/ 1698663 w 4960450"/>
              <a:gd name="connsiteY26" fmla="*/ 3913730 h 4037030"/>
              <a:gd name="connsiteX27" fmla="*/ 1594656 w 4960450"/>
              <a:gd name="connsiteY27" fmla="*/ 3835725 h 4037030"/>
              <a:gd name="connsiteX28" fmla="*/ 1469015 w 4960450"/>
              <a:gd name="connsiteY28" fmla="*/ 3927141 h 4037030"/>
              <a:gd name="connsiteX29" fmla="*/ 1351971 w 4960450"/>
              <a:gd name="connsiteY29" fmla="*/ 4030739 h 4037030"/>
              <a:gd name="connsiteX30" fmla="*/ 1256546 w 4960450"/>
              <a:gd name="connsiteY30" fmla="*/ 4031059 h 4037030"/>
              <a:gd name="connsiteX31" fmla="*/ 992073 w 4960450"/>
              <a:gd name="connsiteY31" fmla="*/ 3876853 h 4037030"/>
              <a:gd name="connsiteX32" fmla="*/ 788873 w 4960450"/>
              <a:gd name="connsiteY32" fmla="*/ 3959403 h 4037030"/>
              <a:gd name="connsiteX33" fmla="*/ 528523 w 4960450"/>
              <a:gd name="connsiteY33" fmla="*/ 3832403 h 4037030"/>
              <a:gd name="connsiteX34" fmla="*/ 268173 w 4960450"/>
              <a:gd name="connsiteY34" fmla="*/ 3959403 h 4037030"/>
              <a:gd name="connsiteX35" fmla="*/ 7315 w 4960450"/>
              <a:gd name="connsiteY35" fmla="*/ 3884371 h 4037030"/>
              <a:gd name="connsiteX36" fmla="*/ 0 w 4960450"/>
              <a:gd name="connsiteY36" fmla="*/ 0 h 40370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152623 w 4960450"/>
              <a:gd name="connsiteY31" fmla="*/ 3983068 h 4035630"/>
              <a:gd name="connsiteX32" fmla="*/ 992073 w 4960450"/>
              <a:gd name="connsiteY32" fmla="*/ 3876853 h 4035630"/>
              <a:gd name="connsiteX33" fmla="*/ 788873 w 4960450"/>
              <a:gd name="connsiteY33" fmla="*/ 3959403 h 4035630"/>
              <a:gd name="connsiteX34" fmla="*/ 528523 w 4960450"/>
              <a:gd name="connsiteY34" fmla="*/ 3832403 h 4035630"/>
              <a:gd name="connsiteX35" fmla="*/ 268173 w 4960450"/>
              <a:gd name="connsiteY35" fmla="*/ 3959403 h 4035630"/>
              <a:gd name="connsiteX36" fmla="*/ 7315 w 4960450"/>
              <a:gd name="connsiteY36" fmla="*/ 3884371 h 4035630"/>
              <a:gd name="connsiteX37" fmla="*/ 0 w 4960450"/>
              <a:gd name="connsiteY3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992073 w 4960450"/>
              <a:gd name="connsiteY32" fmla="*/ 3876853 h 4035630"/>
              <a:gd name="connsiteX33" fmla="*/ 788873 w 4960450"/>
              <a:gd name="connsiteY33" fmla="*/ 3959403 h 4035630"/>
              <a:gd name="connsiteX34" fmla="*/ 528523 w 4960450"/>
              <a:gd name="connsiteY34" fmla="*/ 3832403 h 4035630"/>
              <a:gd name="connsiteX35" fmla="*/ 268173 w 4960450"/>
              <a:gd name="connsiteY35" fmla="*/ 3959403 h 4035630"/>
              <a:gd name="connsiteX36" fmla="*/ 7315 w 4960450"/>
              <a:gd name="connsiteY36" fmla="*/ 3884371 h 4035630"/>
              <a:gd name="connsiteX37" fmla="*/ 0 w 4960450"/>
              <a:gd name="connsiteY3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13620 w 4960450"/>
              <a:gd name="connsiteY32" fmla="*/ 3909396 h 4035630"/>
              <a:gd name="connsiteX33" fmla="*/ 992073 w 4960450"/>
              <a:gd name="connsiteY33" fmla="*/ 3876853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992073 w 4960450"/>
              <a:gd name="connsiteY33" fmla="*/ 3876853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892604 w 4960450"/>
              <a:gd name="connsiteY34" fmla="*/ 3939732 h 4035630"/>
              <a:gd name="connsiteX35" fmla="*/ 788873 w 4960450"/>
              <a:gd name="connsiteY35" fmla="*/ 3959403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3959403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49920 w 4960450"/>
              <a:gd name="connsiteY36" fmla="*/ 3905063 h 4035630"/>
              <a:gd name="connsiteX37" fmla="*/ 528523 w 4960450"/>
              <a:gd name="connsiteY37" fmla="*/ 3832403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28523 w 4960450"/>
              <a:gd name="connsiteY37" fmla="*/ 3832403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171887"/>
              <a:gd name="connsiteX1" fmla="*/ 4959705 w 4960450"/>
              <a:gd name="connsiteY1" fmla="*/ 0 h 4171887"/>
              <a:gd name="connsiteX2" fmla="*/ 4959705 w 4960450"/>
              <a:gd name="connsiteY2" fmla="*/ 3884371 h 4171887"/>
              <a:gd name="connsiteX3" fmla="*/ 4900634 w 4960450"/>
              <a:gd name="connsiteY3" fmla="*/ 3983900 h 4171887"/>
              <a:gd name="connsiteX4" fmla="*/ 4768788 w 4960450"/>
              <a:gd name="connsiteY4" fmla="*/ 4014326 h 4171887"/>
              <a:gd name="connsiteX5" fmla="*/ 4576272 w 4960450"/>
              <a:gd name="connsiteY5" fmla="*/ 3926148 h 4171887"/>
              <a:gd name="connsiteX6" fmla="*/ 4406327 w 4960450"/>
              <a:gd name="connsiteY6" fmla="*/ 3976226 h 4171887"/>
              <a:gd name="connsiteX7" fmla="*/ 4216128 w 4960450"/>
              <a:gd name="connsiteY7" fmla="*/ 3947304 h 4171887"/>
              <a:gd name="connsiteX8" fmla="*/ 4003658 w 4960450"/>
              <a:gd name="connsiteY8" fmla="*/ 3931174 h 4171887"/>
              <a:gd name="connsiteX9" fmla="*/ 3843820 w 4960450"/>
              <a:gd name="connsiteY9" fmla="*/ 3814056 h 4171887"/>
              <a:gd name="connsiteX10" fmla="*/ 3696475 w 4960450"/>
              <a:gd name="connsiteY10" fmla="*/ 3848725 h 4171887"/>
              <a:gd name="connsiteX11" fmla="*/ 3582873 w 4960450"/>
              <a:gd name="connsiteY11" fmla="*/ 3927653 h 4171887"/>
              <a:gd name="connsiteX12" fmla="*/ 3504537 w 4960450"/>
              <a:gd name="connsiteY12" fmla="*/ 3886423 h 4171887"/>
              <a:gd name="connsiteX13" fmla="*/ 3371452 w 4960450"/>
              <a:gd name="connsiteY13" fmla="*/ 3926731 h 4171887"/>
              <a:gd name="connsiteX14" fmla="*/ 3168108 w 4960450"/>
              <a:gd name="connsiteY14" fmla="*/ 3923620 h 4171887"/>
              <a:gd name="connsiteX15" fmla="*/ 3077280 w 4960450"/>
              <a:gd name="connsiteY15" fmla="*/ 3842184 h 4171887"/>
              <a:gd name="connsiteX16" fmla="*/ 2977998 w 4960450"/>
              <a:gd name="connsiteY16" fmla="*/ 3860632 h 4171887"/>
              <a:gd name="connsiteX17" fmla="*/ 2842746 w 4960450"/>
              <a:gd name="connsiteY17" fmla="*/ 3736050 h 4171887"/>
              <a:gd name="connsiteX18" fmla="*/ 2717046 w 4960450"/>
              <a:gd name="connsiteY18" fmla="*/ 3825752 h 4171887"/>
              <a:gd name="connsiteX19" fmla="*/ 2647733 w 4960450"/>
              <a:gd name="connsiteY19" fmla="*/ 3874726 h 4171887"/>
              <a:gd name="connsiteX20" fmla="*/ 2536929 w 4960450"/>
              <a:gd name="connsiteY20" fmla="*/ 3923320 h 4171887"/>
              <a:gd name="connsiteX21" fmla="*/ 2392082 w 4960450"/>
              <a:gd name="connsiteY21" fmla="*/ 3890155 h 4171887"/>
              <a:gd name="connsiteX22" fmla="*/ 2307907 w 4960450"/>
              <a:gd name="connsiteY22" fmla="*/ 3921002 h 4171887"/>
              <a:gd name="connsiteX23" fmla="*/ 2106026 w 4960450"/>
              <a:gd name="connsiteY23" fmla="*/ 3853059 h 4171887"/>
              <a:gd name="connsiteX24" fmla="*/ 1949900 w 4960450"/>
              <a:gd name="connsiteY24" fmla="*/ 3871105 h 4171887"/>
              <a:gd name="connsiteX25" fmla="*/ 1882759 w 4960450"/>
              <a:gd name="connsiteY25" fmla="*/ 3914953 h 4171887"/>
              <a:gd name="connsiteX26" fmla="*/ 1698663 w 4960450"/>
              <a:gd name="connsiteY26" fmla="*/ 3913730 h 4171887"/>
              <a:gd name="connsiteX27" fmla="*/ 1594656 w 4960450"/>
              <a:gd name="connsiteY27" fmla="*/ 3835725 h 4171887"/>
              <a:gd name="connsiteX28" fmla="*/ 1469015 w 4960450"/>
              <a:gd name="connsiteY28" fmla="*/ 3927141 h 4171887"/>
              <a:gd name="connsiteX29" fmla="*/ 1351971 w 4960450"/>
              <a:gd name="connsiteY29" fmla="*/ 4030739 h 4171887"/>
              <a:gd name="connsiteX30" fmla="*/ 1256546 w 4960450"/>
              <a:gd name="connsiteY30" fmla="*/ 4031059 h 4171887"/>
              <a:gd name="connsiteX31" fmla="*/ 1247963 w 4960450"/>
              <a:gd name="connsiteY31" fmla="*/ 3965734 h 4171887"/>
              <a:gd name="connsiteX32" fmla="*/ 1139622 w 4960450"/>
              <a:gd name="connsiteY32" fmla="*/ 3965733 h 4171887"/>
              <a:gd name="connsiteX33" fmla="*/ 1061411 w 4960450"/>
              <a:gd name="connsiteY33" fmla="*/ 3928857 h 4171887"/>
              <a:gd name="connsiteX34" fmla="*/ 966276 w 4960450"/>
              <a:gd name="connsiteY34" fmla="*/ 3970068 h 4171887"/>
              <a:gd name="connsiteX35" fmla="*/ 788873 w 4960450"/>
              <a:gd name="connsiteY35" fmla="*/ 4015741 h 4171887"/>
              <a:gd name="connsiteX36" fmla="*/ 636919 w 4960450"/>
              <a:gd name="connsiteY36" fmla="*/ 3978735 h 4171887"/>
              <a:gd name="connsiteX37" fmla="*/ 493854 w 4960450"/>
              <a:gd name="connsiteY37" fmla="*/ 3888741 h 4171887"/>
              <a:gd name="connsiteX38" fmla="*/ 268173 w 4960450"/>
              <a:gd name="connsiteY38" fmla="*/ 3959403 h 4171887"/>
              <a:gd name="connsiteX39" fmla="*/ 134216 w 4960450"/>
              <a:gd name="connsiteY39" fmla="*/ 3892062 h 4171887"/>
              <a:gd name="connsiteX40" fmla="*/ 7315 w 4960450"/>
              <a:gd name="connsiteY40" fmla="*/ 3884371 h 4171887"/>
              <a:gd name="connsiteX41" fmla="*/ 0 w 4960450"/>
              <a:gd name="connsiteY41" fmla="*/ 0 h 4171887"/>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134216 w 4960450"/>
              <a:gd name="connsiteY39" fmla="*/ 3892062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47543 w 4960450"/>
              <a:gd name="connsiteY39" fmla="*/ 4000404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76840 w 4960450"/>
              <a:gd name="connsiteY38" fmla="*/ 4015740 h 4035630"/>
              <a:gd name="connsiteX39" fmla="*/ 47543 w 4960450"/>
              <a:gd name="connsiteY39" fmla="*/ 4000404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372566 w 4960450"/>
              <a:gd name="connsiteY38" fmla="*/ 3965734 h 4035630"/>
              <a:gd name="connsiteX39" fmla="*/ 276840 w 4960450"/>
              <a:gd name="connsiteY39" fmla="*/ 4015740 h 4035630"/>
              <a:gd name="connsiteX40" fmla="*/ 47543 w 4960450"/>
              <a:gd name="connsiteY40" fmla="*/ 4000404 h 4035630"/>
              <a:gd name="connsiteX41" fmla="*/ 7315 w 4960450"/>
              <a:gd name="connsiteY41" fmla="*/ 3884371 h 4035630"/>
              <a:gd name="connsiteX42" fmla="*/ 0 w 4960450"/>
              <a:gd name="connsiteY42"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47543 w 4960450"/>
              <a:gd name="connsiteY40" fmla="*/ 4000404 h 4035630"/>
              <a:gd name="connsiteX41" fmla="*/ 7315 w 4960450"/>
              <a:gd name="connsiteY41" fmla="*/ 3884371 h 4035630"/>
              <a:gd name="connsiteX42" fmla="*/ 0 w 4960450"/>
              <a:gd name="connsiteY42"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47217 w 4960450"/>
              <a:gd name="connsiteY40" fmla="*/ 4004737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61645 w 4960450"/>
              <a:gd name="connsiteY37" fmla="*/ 3924602 h 4035630"/>
              <a:gd name="connsiteX38" fmla="*/ 493854 w 4960450"/>
              <a:gd name="connsiteY38" fmla="*/ 3888741 h 4035630"/>
              <a:gd name="connsiteX39" fmla="*/ 411569 w 4960450"/>
              <a:gd name="connsiteY39" fmla="*/ 3978735 h 4035630"/>
              <a:gd name="connsiteX40" fmla="*/ 276840 w 4960450"/>
              <a:gd name="connsiteY40" fmla="*/ 4015740 h 4035630"/>
              <a:gd name="connsiteX41" fmla="*/ 164552 w 4960450"/>
              <a:gd name="connsiteY41" fmla="*/ 3991736 h 4035630"/>
              <a:gd name="connsiteX42" fmla="*/ 47543 w 4960450"/>
              <a:gd name="connsiteY42" fmla="*/ 4000404 h 4035630"/>
              <a:gd name="connsiteX43" fmla="*/ 7315 w 4960450"/>
              <a:gd name="connsiteY43" fmla="*/ 3884371 h 4035630"/>
              <a:gd name="connsiteX44" fmla="*/ 0 w 4960450"/>
              <a:gd name="connsiteY44"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61645 w 4960450"/>
              <a:gd name="connsiteY37" fmla="*/ 3948456 h 4035630"/>
              <a:gd name="connsiteX38" fmla="*/ 493854 w 4960450"/>
              <a:gd name="connsiteY38" fmla="*/ 3888741 h 4035630"/>
              <a:gd name="connsiteX39" fmla="*/ 411569 w 4960450"/>
              <a:gd name="connsiteY39" fmla="*/ 3978735 h 4035630"/>
              <a:gd name="connsiteX40" fmla="*/ 276840 w 4960450"/>
              <a:gd name="connsiteY40" fmla="*/ 4015740 h 4035630"/>
              <a:gd name="connsiteX41" fmla="*/ 164552 w 4960450"/>
              <a:gd name="connsiteY41" fmla="*/ 3991736 h 4035630"/>
              <a:gd name="connsiteX42" fmla="*/ 47543 w 4960450"/>
              <a:gd name="connsiteY42" fmla="*/ 4000404 h 4035630"/>
              <a:gd name="connsiteX43" fmla="*/ 7315 w 4960450"/>
              <a:gd name="connsiteY43" fmla="*/ 3884371 h 4035630"/>
              <a:gd name="connsiteX44" fmla="*/ 0 w 4960450"/>
              <a:gd name="connsiteY44"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12720 w 4960450"/>
              <a:gd name="connsiteY36" fmla="*/ 4000139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20671 w 4960450"/>
              <a:gd name="connsiteY36" fmla="*/ 3972310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20671 w 4960450"/>
              <a:gd name="connsiteY36" fmla="*/ 3972310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67771 w 4960450"/>
              <a:gd name="connsiteY35" fmla="*/ 3988212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47892 w 4960450"/>
              <a:gd name="connsiteY35" fmla="*/ 3972309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47892 w 4960450"/>
              <a:gd name="connsiteY35" fmla="*/ 3972309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75766 w 4960450"/>
              <a:gd name="connsiteY18" fmla="*/ 3789112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2226 w 4960450"/>
              <a:gd name="connsiteY14" fmla="*/ 392810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3350"/>
              <a:gd name="connsiteX1" fmla="*/ 4959705 w 4960450"/>
              <a:gd name="connsiteY1" fmla="*/ 0 h 4033350"/>
              <a:gd name="connsiteX2" fmla="*/ 4959705 w 4960450"/>
              <a:gd name="connsiteY2" fmla="*/ 3884371 h 4033350"/>
              <a:gd name="connsiteX3" fmla="*/ 4900634 w 4960450"/>
              <a:gd name="connsiteY3" fmla="*/ 3983900 h 4033350"/>
              <a:gd name="connsiteX4" fmla="*/ 4768788 w 4960450"/>
              <a:gd name="connsiteY4" fmla="*/ 4014326 h 4033350"/>
              <a:gd name="connsiteX5" fmla="*/ 4576272 w 4960450"/>
              <a:gd name="connsiteY5" fmla="*/ 3926148 h 4033350"/>
              <a:gd name="connsiteX6" fmla="*/ 4406327 w 4960450"/>
              <a:gd name="connsiteY6" fmla="*/ 3976226 h 4033350"/>
              <a:gd name="connsiteX7" fmla="*/ 4216128 w 4960450"/>
              <a:gd name="connsiteY7" fmla="*/ 3947304 h 4033350"/>
              <a:gd name="connsiteX8" fmla="*/ 4003658 w 4960450"/>
              <a:gd name="connsiteY8" fmla="*/ 3931174 h 4033350"/>
              <a:gd name="connsiteX9" fmla="*/ 3843820 w 4960450"/>
              <a:gd name="connsiteY9" fmla="*/ 3814056 h 4033350"/>
              <a:gd name="connsiteX10" fmla="*/ 3696475 w 4960450"/>
              <a:gd name="connsiteY10" fmla="*/ 3848725 h 4033350"/>
              <a:gd name="connsiteX11" fmla="*/ 3582873 w 4960450"/>
              <a:gd name="connsiteY11" fmla="*/ 3927653 h 4033350"/>
              <a:gd name="connsiteX12" fmla="*/ 3519167 w 4960450"/>
              <a:gd name="connsiteY12" fmla="*/ 3868135 h 4033350"/>
              <a:gd name="connsiteX13" fmla="*/ 3371452 w 4960450"/>
              <a:gd name="connsiteY13" fmla="*/ 3926731 h 4033350"/>
              <a:gd name="connsiteX14" fmla="*/ 3269542 w 4960450"/>
              <a:gd name="connsiteY14" fmla="*/ 3913470 h 4033350"/>
              <a:gd name="connsiteX15" fmla="*/ 3168108 w 4960450"/>
              <a:gd name="connsiteY15" fmla="*/ 3923620 h 4033350"/>
              <a:gd name="connsiteX16" fmla="*/ 3077280 w 4960450"/>
              <a:gd name="connsiteY16" fmla="*/ 3842184 h 4033350"/>
              <a:gd name="connsiteX17" fmla="*/ 2977998 w 4960450"/>
              <a:gd name="connsiteY17" fmla="*/ 3860632 h 4033350"/>
              <a:gd name="connsiteX18" fmla="*/ 2842746 w 4960450"/>
              <a:gd name="connsiteY18" fmla="*/ 3736050 h 4033350"/>
              <a:gd name="connsiteX19" fmla="*/ 2753820 w 4960450"/>
              <a:gd name="connsiteY19" fmla="*/ 3770824 h 4033350"/>
              <a:gd name="connsiteX20" fmla="*/ 2717046 w 4960450"/>
              <a:gd name="connsiteY20" fmla="*/ 3825752 h 4033350"/>
              <a:gd name="connsiteX21" fmla="*/ 2647733 w 4960450"/>
              <a:gd name="connsiteY21" fmla="*/ 3874726 h 4033350"/>
              <a:gd name="connsiteX22" fmla="*/ 2536929 w 4960450"/>
              <a:gd name="connsiteY22" fmla="*/ 3923320 h 4033350"/>
              <a:gd name="connsiteX23" fmla="*/ 2392082 w 4960450"/>
              <a:gd name="connsiteY23" fmla="*/ 3890155 h 4033350"/>
              <a:gd name="connsiteX24" fmla="*/ 2307907 w 4960450"/>
              <a:gd name="connsiteY24" fmla="*/ 3921002 h 4033350"/>
              <a:gd name="connsiteX25" fmla="*/ 2106026 w 4960450"/>
              <a:gd name="connsiteY25" fmla="*/ 3853059 h 4033350"/>
              <a:gd name="connsiteX26" fmla="*/ 1949900 w 4960450"/>
              <a:gd name="connsiteY26" fmla="*/ 3871105 h 4033350"/>
              <a:gd name="connsiteX27" fmla="*/ 1882759 w 4960450"/>
              <a:gd name="connsiteY27" fmla="*/ 3914953 h 4033350"/>
              <a:gd name="connsiteX28" fmla="*/ 1698663 w 4960450"/>
              <a:gd name="connsiteY28" fmla="*/ 3913730 h 4033350"/>
              <a:gd name="connsiteX29" fmla="*/ 1594656 w 4960450"/>
              <a:gd name="connsiteY29" fmla="*/ 3835725 h 4033350"/>
              <a:gd name="connsiteX30" fmla="*/ 1469015 w 4960450"/>
              <a:gd name="connsiteY30" fmla="*/ 3927141 h 4033350"/>
              <a:gd name="connsiteX31" fmla="*/ 1362944 w 4960450"/>
              <a:gd name="connsiteY31" fmla="*/ 4019766 h 4033350"/>
              <a:gd name="connsiteX32" fmla="*/ 1256546 w 4960450"/>
              <a:gd name="connsiteY32" fmla="*/ 4031059 h 4033350"/>
              <a:gd name="connsiteX33" fmla="*/ 1247963 w 4960450"/>
              <a:gd name="connsiteY33" fmla="*/ 3965734 h 4033350"/>
              <a:gd name="connsiteX34" fmla="*/ 1139622 w 4960450"/>
              <a:gd name="connsiteY34" fmla="*/ 3965733 h 4033350"/>
              <a:gd name="connsiteX35" fmla="*/ 1061411 w 4960450"/>
              <a:gd name="connsiteY35" fmla="*/ 3928857 h 4033350"/>
              <a:gd name="connsiteX36" fmla="*/ 966276 w 4960450"/>
              <a:gd name="connsiteY36" fmla="*/ 3970068 h 4033350"/>
              <a:gd name="connsiteX37" fmla="*/ 847892 w 4960450"/>
              <a:gd name="connsiteY37" fmla="*/ 3972309 h 4033350"/>
              <a:gd name="connsiteX38" fmla="*/ 788873 w 4960450"/>
              <a:gd name="connsiteY38" fmla="*/ 4015741 h 4033350"/>
              <a:gd name="connsiteX39" fmla="*/ 720671 w 4960450"/>
              <a:gd name="connsiteY39" fmla="*/ 3972310 h 4033350"/>
              <a:gd name="connsiteX40" fmla="*/ 636919 w 4960450"/>
              <a:gd name="connsiteY40" fmla="*/ 3978735 h 4033350"/>
              <a:gd name="connsiteX41" fmla="*/ 561645 w 4960450"/>
              <a:gd name="connsiteY41" fmla="*/ 3948456 h 4033350"/>
              <a:gd name="connsiteX42" fmla="*/ 493854 w 4960450"/>
              <a:gd name="connsiteY42" fmla="*/ 3888741 h 4033350"/>
              <a:gd name="connsiteX43" fmla="*/ 411569 w 4960450"/>
              <a:gd name="connsiteY43" fmla="*/ 3978735 h 4033350"/>
              <a:gd name="connsiteX44" fmla="*/ 276840 w 4960450"/>
              <a:gd name="connsiteY44" fmla="*/ 4015740 h 4033350"/>
              <a:gd name="connsiteX45" fmla="*/ 164552 w 4960450"/>
              <a:gd name="connsiteY45" fmla="*/ 3991736 h 4033350"/>
              <a:gd name="connsiteX46" fmla="*/ 69488 w 4960450"/>
              <a:gd name="connsiteY46" fmla="*/ 4015035 h 4033350"/>
              <a:gd name="connsiteX47" fmla="*/ 7315 w 4960450"/>
              <a:gd name="connsiteY47" fmla="*/ 3884371 h 4033350"/>
              <a:gd name="connsiteX48" fmla="*/ 0 w 4960450"/>
              <a:gd name="connsiteY48" fmla="*/ 0 h 4033350"/>
              <a:gd name="connsiteX0" fmla="*/ 0 w 4960450"/>
              <a:gd name="connsiteY0" fmla="*/ 0 h 4027212"/>
              <a:gd name="connsiteX1" fmla="*/ 4959705 w 4960450"/>
              <a:gd name="connsiteY1" fmla="*/ 0 h 4027212"/>
              <a:gd name="connsiteX2" fmla="*/ 4959705 w 4960450"/>
              <a:gd name="connsiteY2" fmla="*/ 3884371 h 4027212"/>
              <a:gd name="connsiteX3" fmla="*/ 4900634 w 4960450"/>
              <a:gd name="connsiteY3" fmla="*/ 3983900 h 4027212"/>
              <a:gd name="connsiteX4" fmla="*/ 4768788 w 4960450"/>
              <a:gd name="connsiteY4" fmla="*/ 4014326 h 4027212"/>
              <a:gd name="connsiteX5" fmla="*/ 4576272 w 4960450"/>
              <a:gd name="connsiteY5" fmla="*/ 3926148 h 4027212"/>
              <a:gd name="connsiteX6" fmla="*/ 4406327 w 4960450"/>
              <a:gd name="connsiteY6" fmla="*/ 3976226 h 4027212"/>
              <a:gd name="connsiteX7" fmla="*/ 4216128 w 4960450"/>
              <a:gd name="connsiteY7" fmla="*/ 3947304 h 4027212"/>
              <a:gd name="connsiteX8" fmla="*/ 4003658 w 4960450"/>
              <a:gd name="connsiteY8" fmla="*/ 3931174 h 4027212"/>
              <a:gd name="connsiteX9" fmla="*/ 3843820 w 4960450"/>
              <a:gd name="connsiteY9" fmla="*/ 3814056 h 4027212"/>
              <a:gd name="connsiteX10" fmla="*/ 3696475 w 4960450"/>
              <a:gd name="connsiteY10" fmla="*/ 3848725 h 4027212"/>
              <a:gd name="connsiteX11" fmla="*/ 3582873 w 4960450"/>
              <a:gd name="connsiteY11" fmla="*/ 3927653 h 4027212"/>
              <a:gd name="connsiteX12" fmla="*/ 3519167 w 4960450"/>
              <a:gd name="connsiteY12" fmla="*/ 3868135 h 4027212"/>
              <a:gd name="connsiteX13" fmla="*/ 3371452 w 4960450"/>
              <a:gd name="connsiteY13" fmla="*/ 3926731 h 4027212"/>
              <a:gd name="connsiteX14" fmla="*/ 3269542 w 4960450"/>
              <a:gd name="connsiteY14" fmla="*/ 3913470 h 4027212"/>
              <a:gd name="connsiteX15" fmla="*/ 3168108 w 4960450"/>
              <a:gd name="connsiteY15" fmla="*/ 3923620 h 4027212"/>
              <a:gd name="connsiteX16" fmla="*/ 3077280 w 4960450"/>
              <a:gd name="connsiteY16" fmla="*/ 3842184 h 4027212"/>
              <a:gd name="connsiteX17" fmla="*/ 2977998 w 4960450"/>
              <a:gd name="connsiteY17" fmla="*/ 3860632 h 4027212"/>
              <a:gd name="connsiteX18" fmla="*/ 2842746 w 4960450"/>
              <a:gd name="connsiteY18" fmla="*/ 3736050 h 4027212"/>
              <a:gd name="connsiteX19" fmla="*/ 2753820 w 4960450"/>
              <a:gd name="connsiteY19" fmla="*/ 3770824 h 4027212"/>
              <a:gd name="connsiteX20" fmla="*/ 2717046 w 4960450"/>
              <a:gd name="connsiteY20" fmla="*/ 3825752 h 4027212"/>
              <a:gd name="connsiteX21" fmla="*/ 2647733 w 4960450"/>
              <a:gd name="connsiteY21" fmla="*/ 3874726 h 4027212"/>
              <a:gd name="connsiteX22" fmla="*/ 2536929 w 4960450"/>
              <a:gd name="connsiteY22" fmla="*/ 3923320 h 4027212"/>
              <a:gd name="connsiteX23" fmla="*/ 2392082 w 4960450"/>
              <a:gd name="connsiteY23" fmla="*/ 3890155 h 4027212"/>
              <a:gd name="connsiteX24" fmla="*/ 2307907 w 4960450"/>
              <a:gd name="connsiteY24" fmla="*/ 3921002 h 4027212"/>
              <a:gd name="connsiteX25" fmla="*/ 2106026 w 4960450"/>
              <a:gd name="connsiteY25" fmla="*/ 3853059 h 4027212"/>
              <a:gd name="connsiteX26" fmla="*/ 1949900 w 4960450"/>
              <a:gd name="connsiteY26" fmla="*/ 3871105 h 4027212"/>
              <a:gd name="connsiteX27" fmla="*/ 1882759 w 4960450"/>
              <a:gd name="connsiteY27" fmla="*/ 3914953 h 4027212"/>
              <a:gd name="connsiteX28" fmla="*/ 1698663 w 4960450"/>
              <a:gd name="connsiteY28" fmla="*/ 3913730 h 4027212"/>
              <a:gd name="connsiteX29" fmla="*/ 1594656 w 4960450"/>
              <a:gd name="connsiteY29" fmla="*/ 3835725 h 4027212"/>
              <a:gd name="connsiteX30" fmla="*/ 1469015 w 4960450"/>
              <a:gd name="connsiteY30" fmla="*/ 3927141 h 4027212"/>
              <a:gd name="connsiteX31" fmla="*/ 1362944 w 4960450"/>
              <a:gd name="connsiteY31" fmla="*/ 4019766 h 4027212"/>
              <a:gd name="connsiteX32" fmla="*/ 1282149 w 4960450"/>
              <a:gd name="connsiteY32" fmla="*/ 4023744 h 4027212"/>
              <a:gd name="connsiteX33" fmla="*/ 1247963 w 4960450"/>
              <a:gd name="connsiteY33" fmla="*/ 3965734 h 4027212"/>
              <a:gd name="connsiteX34" fmla="*/ 1139622 w 4960450"/>
              <a:gd name="connsiteY34" fmla="*/ 3965733 h 4027212"/>
              <a:gd name="connsiteX35" fmla="*/ 1061411 w 4960450"/>
              <a:gd name="connsiteY35" fmla="*/ 3928857 h 4027212"/>
              <a:gd name="connsiteX36" fmla="*/ 966276 w 4960450"/>
              <a:gd name="connsiteY36" fmla="*/ 3970068 h 4027212"/>
              <a:gd name="connsiteX37" fmla="*/ 847892 w 4960450"/>
              <a:gd name="connsiteY37" fmla="*/ 3972309 h 4027212"/>
              <a:gd name="connsiteX38" fmla="*/ 788873 w 4960450"/>
              <a:gd name="connsiteY38" fmla="*/ 4015741 h 4027212"/>
              <a:gd name="connsiteX39" fmla="*/ 720671 w 4960450"/>
              <a:gd name="connsiteY39" fmla="*/ 3972310 h 4027212"/>
              <a:gd name="connsiteX40" fmla="*/ 636919 w 4960450"/>
              <a:gd name="connsiteY40" fmla="*/ 3978735 h 4027212"/>
              <a:gd name="connsiteX41" fmla="*/ 561645 w 4960450"/>
              <a:gd name="connsiteY41" fmla="*/ 3948456 h 4027212"/>
              <a:gd name="connsiteX42" fmla="*/ 493854 w 4960450"/>
              <a:gd name="connsiteY42" fmla="*/ 3888741 h 4027212"/>
              <a:gd name="connsiteX43" fmla="*/ 411569 w 4960450"/>
              <a:gd name="connsiteY43" fmla="*/ 3978735 h 4027212"/>
              <a:gd name="connsiteX44" fmla="*/ 276840 w 4960450"/>
              <a:gd name="connsiteY44" fmla="*/ 4015740 h 4027212"/>
              <a:gd name="connsiteX45" fmla="*/ 164552 w 4960450"/>
              <a:gd name="connsiteY45" fmla="*/ 3991736 h 4027212"/>
              <a:gd name="connsiteX46" fmla="*/ 69488 w 4960450"/>
              <a:gd name="connsiteY46" fmla="*/ 4015035 h 4027212"/>
              <a:gd name="connsiteX47" fmla="*/ 7315 w 4960450"/>
              <a:gd name="connsiteY47" fmla="*/ 3884371 h 4027212"/>
              <a:gd name="connsiteX48" fmla="*/ 0 w 4960450"/>
              <a:gd name="connsiteY48" fmla="*/ 0 h 4027212"/>
              <a:gd name="connsiteX0" fmla="*/ 0 w 4954502"/>
              <a:gd name="connsiteY0" fmla="*/ 1397544 h 4027212"/>
              <a:gd name="connsiteX1" fmla="*/ 4953757 w 4954502"/>
              <a:gd name="connsiteY1" fmla="*/ 0 h 4027212"/>
              <a:gd name="connsiteX2" fmla="*/ 4953757 w 4954502"/>
              <a:gd name="connsiteY2" fmla="*/ 3884371 h 4027212"/>
              <a:gd name="connsiteX3" fmla="*/ 4894686 w 4954502"/>
              <a:gd name="connsiteY3" fmla="*/ 3983900 h 4027212"/>
              <a:gd name="connsiteX4" fmla="*/ 4762840 w 4954502"/>
              <a:gd name="connsiteY4" fmla="*/ 4014326 h 4027212"/>
              <a:gd name="connsiteX5" fmla="*/ 4570324 w 4954502"/>
              <a:gd name="connsiteY5" fmla="*/ 3926148 h 4027212"/>
              <a:gd name="connsiteX6" fmla="*/ 4400379 w 4954502"/>
              <a:gd name="connsiteY6" fmla="*/ 3976226 h 4027212"/>
              <a:gd name="connsiteX7" fmla="*/ 4210180 w 4954502"/>
              <a:gd name="connsiteY7" fmla="*/ 3947304 h 4027212"/>
              <a:gd name="connsiteX8" fmla="*/ 3997710 w 4954502"/>
              <a:gd name="connsiteY8" fmla="*/ 3931174 h 4027212"/>
              <a:gd name="connsiteX9" fmla="*/ 3837872 w 4954502"/>
              <a:gd name="connsiteY9" fmla="*/ 3814056 h 4027212"/>
              <a:gd name="connsiteX10" fmla="*/ 3690527 w 4954502"/>
              <a:gd name="connsiteY10" fmla="*/ 3848725 h 4027212"/>
              <a:gd name="connsiteX11" fmla="*/ 3576925 w 4954502"/>
              <a:gd name="connsiteY11" fmla="*/ 3927653 h 4027212"/>
              <a:gd name="connsiteX12" fmla="*/ 3513219 w 4954502"/>
              <a:gd name="connsiteY12" fmla="*/ 3868135 h 4027212"/>
              <a:gd name="connsiteX13" fmla="*/ 3365504 w 4954502"/>
              <a:gd name="connsiteY13" fmla="*/ 3926731 h 4027212"/>
              <a:gd name="connsiteX14" fmla="*/ 3263594 w 4954502"/>
              <a:gd name="connsiteY14" fmla="*/ 3913470 h 4027212"/>
              <a:gd name="connsiteX15" fmla="*/ 3162160 w 4954502"/>
              <a:gd name="connsiteY15" fmla="*/ 3923620 h 4027212"/>
              <a:gd name="connsiteX16" fmla="*/ 3071332 w 4954502"/>
              <a:gd name="connsiteY16" fmla="*/ 3842184 h 4027212"/>
              <a:gd name="connsiteX17" fmla="*/ 2972050 w 4954502"/>
              <a:gd name="connsiteY17" fmla="*/ 3860632 h 4027212"/>
              <a:gd name="connsiteX18" fmla="*/ 2836798 w 4954502"/>
              <a:gd name="connsiteY18" fmla="*/ 3736050 h 4027212"/>
              <a:gd name="connsiteX19" fmla="*/ 2747872 w 4954502"/>
              <a:gd name="connsiteY19" fmla="*/ 3770824 h 4027212"/>
              <a:gd name="connsiteX20" fmla="*/ 2711098 w 4954502"/>
              <a:gd name="connsiteY20" fmla="*/ 3825752 h 4027212"/>
              <a:gd name="connsiteX21" fmla="*/ 2641785 w 4954502"/>
              <a:gd name="connsiteY21" fmla="*/ 3874726 h 4027212"/>
              <a:gd name="connsiteX22" fmla="*/ 2530981 w 4954502"/>
              <a:gd name="connsiteY22" fmla="*/ 3923320 h 4027212"/>
              <a:gd name="connsiteX23" fmla="*/ 2386134 w 4954502"/>
              <a:gd name="connsiteY23" fmla="*/ 3890155 h 4027212"/>
              <a:gd name="connsiteX24" fmla="*/ 2301959 w 4954502"/>
              <a:gd name="connsiteY24" fmla="*/ 3921002 h 4027212"/>
              <a:gd name="connsiteX25" fmla="*/ 2100078 w 4954502"/>
              <a:gd name="connsiteY25" fmla="*/ 3853059 h 4027212"/>
              <a:gd name="connsiteX26" fmla="*/ 1943952 w 4954502"/>
              <a:gd name="connsiteY26" fmla="*/ 3871105 h 4027212"/>
              <a:gd name="connsiteX27" fmla="*/ 1876811 w 4954502"/>
              <a:gd name="connsiteY27" fmla="*/ 3914953 h 4027212"/>
              <a:gd name="connsiteX28" fmla="*/ 1692715 w 4954502"/>
              <a:gd name="connsiteY28" fmla="*/ 3913730 h 4027212"/>
              <a:gd name="connsiteX29" fmla="*/ 1588708 w 4954502"/>
              <a:gd name="connsiteY29" fmla="*/ 3835725 h 4027212"/>
              <a:gd name="connsiteX30" fmla="*/ 1463067 w 4954502"/>
              <a:gd name="connsiteY30" fmla="*/ 3927141 h 4027212"/>
              <a:gd name="connsiteX31" fmla="*/ 1356996 w 4954502"/>
              <a:gd name="connsiteY31" fmla="*/ 4019766 h 4027212"/>
              <a:gd name="connsiteX32" fmla="*/ 1276201 w 4954502"/>
              <a:gd name="connsiteY32" fmla="*/ 4023744 h 4027212"/>
              <a:gd name="connsiteX33" fmla="*/ 1242015 w 4954502"/>
              <a:gd name="connsiteY33" fmla="*/ 3965734 h 4027212"/>
              <a:gd name="connsiteX34" fmla="*/ 1133674 w 4954502"/>
              <a:gd name="connsiteY34" fmla="*/ 3965733 h 4027212"/>
              <a:gd name="connsiteX35" fmla="*/ 1055463 w 4954502"/>
              <a:gd name="connsiteY35" fmla="*/ 3928857 h 4027212"/>
              <a:gd name="connsiteX36" fmla="*/ 960328 w 4954502"/>
              <a:gd name="connsiteY36" fmla="*/ 3970068 h 4027212"/>
              <a:gd name="connsiteX37" fmla="*/ 841944 w 4954502"/>
              <a:gd name="connsiteY37" fmla="*/ 3972309 h 4027212"/>
              <a:gd name="connsiteX38" fmla="*/ 782925 w 4954502"/>
              <a:gd name="connsiteY38" fmla="*/ 4015741 h 4027212"/>
              <a:gd name="connsiteX39" fmla="*/ 714723 w 4954502"/>
              <a:gd name="connsiteY39" fmla="*/ 3972310 h 4027212"/>
              <a:gd name="connsiteX40" fmla="*/ 630971 w 4954502"/>
              <a:gd name="connsiteY40" fmla="*/ 3978735 h 4027212"/>
              <a:gd name="connsiteX41" fmla="*/ 555697 w 4954502"/>
              <a:gd name="connsiteY41" fmla="*/ 3948456 h 4027212"/>
              <a:gd name="connsiteX42" fmla="*/ 487906 w 4954502"/>
              <a:gd name="connsiteY42" fmla="*/ 3888741 h 4027212"/>
              <a:gd name="connsiteX43" fmla="*/ 405621 w 4954502"/>
              <a:gd name="connsiteY43" fmla="*/ 3978735 h 4027212"/>
              <a:gd name="connsiteX44" fmla="*/ 270892 w 4954502"/>
              <a:gd name="connsiteY44" fmla="*/ 4015740 h 4027212"/>
              <a:gd name="connsiteX45" fmla="*/ 158604 w 4954502"/>
              <a:gd name="connsiteY45" fmla="*/ 3991736 h 4027212"/>
              <a:gd name="connsiteX46" fmla="*/ 63540 w 4954502"/>
              <a:gd name="connsiteY46" fmla="*/ 4015035 h 4027212"/>
              <a:gd name="connsiteX47" fmla="*/ 1367 w 4954502"/>
              <a:gd name="connsiteY47" fmla="*/ 3884371 h 4027212"/>
              <a:gd name="connsiteX48" fmla="*/ 0 w 4954502"/>
              <a:gd name="connsiteY48" fmla="*/ 1397544 h 4027212"/>
              <a:gd name="connsiteX0" fmla="*/ 0 w 4954502"/>
              <a:gd name="connsiteY0" fmla="*/ 0 h 2629668"/>
              <a:gd name="connsiteX1" fmla="*/ 4953756 w 4954502"/>
              <a:gd name="connsiteY1" fmla="*/ 17840 h 2629668"/>
              <a:gd name="connsiteX2" fmla="*/ 4953757 w 4954502"/>
              <a:gd name="connsiteY2" fmla="*/ 2486827 h 2629668"/>
              <a:gd name="connsiteX3" fmla="*/ 4894686 w 4954502"/>
              <a:gd name="connsiteY3" fmla="*/ 2586356 h 2629668"/>
              <a:gd name="connsiteX4" fmla="*/ 4762840 w 4954502"/>
              <a:gd name="connsiteY4" fmla="*/ 2616782 h 2629668"/>
              <a:gd name="connsiteX5" fmla="*/ 4570324 w 4954502"/>
              <a:gd name="connsiteY5" fmla="*/ 2528604 h 2629668"/>
              <a:gd name="connsiteX6" fmla="*/ 4400379 w 4954502"/>
              <a:gd name="connsiteY6" fmla="*/ 2578682 h 2629668"/>
              <a:gd name="connsiteX7" fmla="*/ 4210180 w 4954502"/>
              <a:gd name="connsiteY7" fmla="*/ 2549760 h 2629668"/>
              <a:gd name="connsiteX8" fmla="*/ 3997710 w 4954502"/>
              <a:gd name="connsiteY8" fmla="*/ 2533630 h 2629668"/>
              <a:gd name="connsiteX9" fmla="*/ 3837872 w 4954502"/>
              <a:gd name="connsiteY9" fmla="*/ 2416512 h 2629668"/>
              <a:gd name="connsiteX10" fmla="*/ 3690527 w 4954502"/>
              <a:gd name="connsiteY10" fmla="*/ 2451181 h 2629668"/>
              <a:gd name="connsiteX11" fmla="*/ 3576925 w 4954502"/>
              <a:gd name="connsiteY11" fmla="*/ 2530109 h 2629668"/>
              <a:gd name="connsiteX12" fmla="*/ 3513219 w 4954502"/>
              <a:gd name="connsiteY12" fmla="*/ 2470591 h 2629668"/>
              <a:gd name="connsiteX13" fmla="*/ 3365504 w 4954502"/>
              <a:gd name="connsiteY13" fmla="*/ 2529187 h 2629668"/>
              <a:gd name="connsiteX14" fmla="*/ 3263594 w 4954502"/>
              <a:gd name="connsiteY14" fmla="*/ 2515926 h 2629668"/>
              <a:gd name="connsiteX15" fmla="*/ 3162160 w 4954502"/>
              <a:gd name="connsiteY15" fmla="*/ 2526076 h 2629668"/>
              <a:gd name="connsiteX16" fmla="*/ 3071332 w 4954502"/>
              <a:gd name="connsiteY16" fmla="*/ 2444640 h 2629668"/>
              <a:gd name="connsiteX17" fmla="*/ 2972050 w 4954502"/>
              <a:gd name="connsiteY17" fmla="*/ 2463088 h 2629668"/>
              <a:gd name="connsiteX18" fmla="*/ 2836798 w 4954502"/>
              <a:gd name="connsiteY18" fmla="*/ 2338506 h 2629668"/>
              <a:gd name="connsiteX19" fmla="*/ 2747872 w 4954502"/>
              <a:gd name="connsiteY19" fmla="*/ 2373280 h 2629668"/>
              <a:gd name="connsiteX20" fmla="*/ 2711098 w 4954502"/>
              <a:gd name="connsiteY20" fmla="*/ 2428208 h 2629668"/>
              <a:gd name="connsiteX21" fmla="*/ 2641785 w 4954502"/>
              <a:gd name="connsiteY21" fmla="*/ 2477182 h 2629668"/>
              <a:gd name="connsiteX22" fmla="*/ 2530981 w 4954502"/>
              <a:gd name="connsiteY22" fmla="*/ 2525776 h 2629668"/>
              <a:gd name="connsiteX23" fmla="*/ 2386134 w 4954502"/>
              <a:gd name="connsiteY23" fmla="*/ 2492611 h 2629668"/>
              <a:gd name="connsiteX24" fmla="*/ 2301959 w 4954502"/>
              <a:gd name="connsiteY24" fmla="*/ 2523458 h 2629668"/>
              <a:gd name="connsiteX25" fmla="*/ 2100078 w 4954502"/>
              <a:gd name="connsiteY25" fmla="*/ 2455515 h 2629668"/>
              <a:gd name="connsiteX26" fmla="*/ 1943952 w 4954502"/>
              <a:gd name="connsiteY26" fmla="*/ 2473561 h 2629668"/>
              <a:gd name="connsiteX27" fmla="*/ 1876811 w 4954502"/>
              <a:gd name="connsiteY27" fmla="*/ 2517409 h 2629668"/>
              <a:gd name="connsiteX28" fmla="*/ 1692715 w 4954502"/>
              <a:gd name="connsiteY28" fmla="*/ 2516186 h 2629668"/>
              <a:gd name="connsiteX29" fmla="*/ 1588708 w 4954502"/>
              <a:gd name="connsiteY29" fmla="*/ 2438181 h 2629668"/>
              <a:gd name="connsiteX30" fmla="*/ 1463067 w 4954502"/>
              <a:gd name="connsiteY30" fmla="*/ 2529597 h 2629668"/>
              <a:gd name="connsiteX31" fmla="*/ 1356996 w 4954502"/>
              <a:gd name="connsiteY31" fmla="*/ 2622222 h 2629668"/>
              <a:gd name="connsiteX32" fmla="*/ 1276201 w 4954502"/>
              <a:gd name="connsiteY32" fmla="*/ 2626200 h 2629668"/>
              <a:gd name="connsiteX33" fmla="*/ 1242015 w 4954502"/>
              <a:gd name="connsiteY33" fmla="*/ 2568190 h 2629668"/>
              <a:gd name="connsiteX34" fmla="*/ 1133674 w 4954502"/>
              <a:gd name="connsiteY34" fmla="*/ 2568189 h 2629668"/>
              <a:gd name="connsiteX35" fmla="*/ 1055463 w 4954502"/>
              <a:gd name="connsiteY35" fmla="*/ 2531313 h 2629668"/>
              <a:gd name="connsiteX36" fmla="*/ 960328 w 4954502"/>
              <a:gd name="connsiteY36" fmla="*/ 2572524 h 2629668"/>
              <a:gd name="connsiteX37" fmla="*/ 841944 w 4954502"/>
              <a:gd name="connsiteY37" fmla="*/ 2574765 h 2629668"/>
              <a:gd name="connsiteX38" fmla="*/ 782925 w 4954502"/>
              <a:gd name="connsiteY38" fmla="*/ 2618197 h 2629668"/>
              <a:gd name="connsiteX39" fmla="*/ 714723 w 4954502"/>
              <a:gd name="connsiteY39" fmla="*/ 2574766 h 2629668"/>
              <a:gd name="connsiteX40" fmla="*/ 630971 w 4954502"/>
              <a:gd name="connsiteY40" fmla="*/ 2581191 h 2629668"/>
              <a:gd name="connsiteX41" fmla="*/ 555697 w 4954502"/>
              <a:gd name="connsiteY41" fmla="*/ 2550912 h 2629668"/>
              <a:gd name="connsiteX42" fmla="*/ 487906 w 4954502"/>
              <a:gd name="connsiteY42" fmla="*/ 2491197 h 2629668"/>
              <a:gd name="connsiteX43" fmla="*/ 405621 w 4954502"/>
              <a:gd name="connsiteY43" fmla="*/ 2581191 h 2629668"/>
              <a:gd name="connsiteX44" fmla="*/ 270892 w 4954502"/>
              <a:gd name="connsiteY44" fmla="*/ 2618196 h 2629668"/>
              <a:gd name="connsiteX45" fmla="*/ 158604 w 4954502"/>
              <a:gd name="connsiteY45" fmla="*/ 2594192 h 2629668"/>
              <a:gd name="connsiteX46" fmla="*/ 63540 w 4954502"/>
              <a:gd name="connsiteY46" fmla="*/ 2617491 h 2629668"/>
              <a:gd name="connsiteX47" fmla="*/ 1367 w 4954502"/>
              <a:gd name="connsiteY47" fmla="*/ 2486827 h 2629668"/>
              <a:gd name="connsiteX48" fmla="*/ 0 w 4954502"/>
              <a:gd name="connsiteY48" fmla="*/ 0 h 2629668"/>
              <a:gd name="connsiteX0" fmla="*/ 160821 w 4953355"/>
              <a:gd name="connsiteY0" fmla="*/ 367534 h 2611828"/>
              <a:gd name="connsiteX1" fmla="*/ 4952609 w 4953355"/>
              <a:gd name="connsiteY1" fmla="*/ 0 h 2611828"/>
              <a:gd name="connsiteX2" fmla="*/ 4952610 w 4953355"/>
              <a:gd name="connsiteY2" fmla="*/ 2468987 h 2611828"/>
              <a:gd name="connsiteX3" fmla="*/ 4893539 w 4953355"/>
              <a:gd name="connsiteY3" fmla="*/ 2568516 h 2611828"/>
              <a:gd name="connsiteX4" fmla="*/ 4761693 w 4953355"/>
              <a:gd name="connsiteY4" fmla="*/ 2598942 h 2611828"/>
              <a:gd name="connsiteX5" fmla="*/ 4569177 w 4953355"/>
              <a:gd name="connsiteY5" fmla="*/ 2510764 h 2611828"/>
              <a:gd name="connsiteX6" fmla="*/ 4399232 w 4953355"/>
              <a:gd name="connsiteY6" fmla="*/ 2560842 h 2611828"/>
              <a:gd name="connsiteX7" fmla="*/ 4209033 w 4953355"/>
              <a:gd name="connsiteY7" fmla="*/ 2531920 h 2611828"/>
              <a:gd name="connsiteX8" fmla="*/ 3996563 w 4953355"/>
              <a:gd name="connsiteY8" fmla="*/ 2515790 h 2611828"/>
              <a:gd name="connsiteX9" fmla="*/ 3836725 w 4953355"/>
              <a:gd name="connsiteY9" fmla="*/ 2398672 h 2611828"/>
              <a:gd name="connsiteX10" fmla="*/ 3689380 w 4953355"/>
              <a:gd name="connsiteY10" fmla="*/ 2433341 h 2611828"/>
              <a:gd name="connsiteX11" fmla="*/ 3575778 w 4953355"/>
              <a:gd name="connsiteY11" fmla="*/ 2512269 h 2611828"/>
              <a:gd name="connsiteX12" fmla="*/ 3512072 w 4953355"/>
              <a:gd name="connsiteY12" fmla="*/ 2452751 h 2611828"/>
              <a:gd name="connsiteX13" fmla="*/ 3364357 w 4953355"/>
              <a:gd name="connsiteY13" fmla="*/ 2511347 h 2611828"/>
              <a:gd name="connsiteX14" fmla="*/ 3262447 w 4953355"/>
              <a:gd name="connsiteY14" fmla="*/ 2498086 h 2611828"/>
              <a:gd name="connsiteX15" fmla="*/ 3161013 w 4953355"/>
              <a:gd name="connsiteY15" fmla="*/ 2508236 h 2611828"/>
              <a:gd name="connsiteX16" fmla="*/ 3070185 w 4953355"/>
              <a:gd name="connsiteY16" fmla="*/ 2426800 h 2611828"/>
              <a:gd name="connsiteX17" fmla="*/ 2970903 w 4953355"/>
              <a:gd name="connsiteY17" fmla="*/ 2445248 h 2611828"/>
              <a:gd name="connsiteX18" fmla="*/ 2835651 w 4953355"/>
              <a:gd name="connsiteY18" fmla="*/ 2320666 h 2611828"/>
              <a:gd name="connsiteX19" fmla="*/ 2746725 w 4953355"/>
              <a:gd name="connsiteY19" fmla="*/ 2355440 h 2611828"/>
              <a:gd name="connsiteX20" fmla="*/ 2709951 w 4953355"/>
              <a:gd name="connsiteY20" fmla="*/ 2410368 h 2611828"/>
              <a:gd name="connsiteX21" fmla="*/ 2640638 w 4953355"/>
              <a:gd name="connsiteY21" fmla="*/ 2459342 h 2611828"/>
              <a:gd name="connsiteX22" fmla="*/ 2529834 w 4953355"/>
              <a:gd name="connsiteY22" fmla="*/ 2507936 h 2611828"/>
              <a:gd name="connsiteX23" fmla="*/ 2384987 w 4953355"/>
              <a:gd name="connsiteY23" fmla="*/ 2474771 h 2611828"/>
              <a:gd name="connsiteX24" fmla="*/ 2300812 w 4953355"/>
              <a:gd name="connsiteY24" fmla="*/ 2505618 h 2611828"/>
              <a:gd name="connsiteX25" fmla="*/ 2098931 w 4953355"/>
              <a:gd name="connsiteY25" fmla="*/ 2437675 h 2611828"/>
              <a:gd name="connsiteX26" fmla="*/ 1942805 w 4953355"/>
              <a:gd name="connsiteY26" fmla="*/ 2455721 h 2611828"/>
              <a:gd name="connsiteX27" fmla="*/ 1875664 w 4953355"/>
              <a:gd name="connsiteY27" fmla="*/ 2499569 h 2611828"/>
              <a:gd name="connsiteX28" fmla="*/ 1691568 w 4953355"/>
              <a:gd name="connsiteY28" fmla="*/ 2498346 h 2611828"/>
              <a:gd name="connsiteX29" fmla="*/ 1587561 w 4953355"/>
              <a:gd name="connsiteY29" fmla="*/ 2420341 h 2611828"/>
              <a:gd name="connsiteX30" fmla="*/ 1461920 w 4953355"/>
              <a:gd name="connsiteY30" fmla="*/ 2511757 h 2611828"/>
              <a:gd name="connsiteX31" fmla="*/ 1355849 w 4953355"/>
              <a:gd name="connsiteY31" fmla="*/ 2604382 h 2611828"/>
              <a:gd name="connsiteX32" fmla="*/ 1275054 w 4953355"/>
              <a:gd name="connsiteY32" fmla="*/ 2608360 h 2611828"/>
              <a:gd name="connsiteX33" fmla="*/ 1240868 w 4953355"/>
              <a:gd name="connsiteY33" fmla="*/ 2550350 h 2611828"/>
              <a:gd name="connsiteX34" fmla="*/ 1132527 w 4953355"/>
              <a:gd name="connsiteY34" fmla="*/ 2550349 h 2611828"/>
              <a:gd name="connsiteX35" fmla="*/ 1054316 w 4953355"/>
              <a:gd name="connsiteY35" fmla="*/ 2513473 h 2611828"/>
              <a:gd name="connsiteX36" fmla="*/ 959181 w 4953355"/>
              <a:gd name="connsiteY36" fmla="*/ 2554684 h 2611828"/>
              <a:gd name="connsiteX37" fmla="*/ 840797 w 4953355"/>
              <a:gd name="connsiteY37" fmla="*/ 2556925 h 2611828"/>
              <a:gd name="connsiteX38" fmla="*/ 781778 w 4953355"/>
              <a:gd name="connsiteY38" fmla="*/ 2600357 h 2611828"/>
              <a:gd name="connsiteX39" fmla="*/ 713576 w 4953355"/>
              <a:gd name="connsiteY39" fmla="*/ 2556926 h 2611828"/>
              <a:gd name="connsiteX40" fmla="*/ 629824 w 4953355"/>
              <a:gd name="connsiteY40" fmla="*/ 2563351 h 2611828"/>
              <a:gd name="connsiteX41" fmla="*/ 554550 w 4953355"/>
              <a:gd name="connsiteY41" fmla="*/ 2533072 h 2611828"/>
              <a:gd name="connsiteX42" fmla="*/ 486759 w 4953355"/>
              <a:gd name="connsiteY42" fmla="*/ 2473357 h 2611828"/>
              <a:gd name="connsiteX43" fmla="*/ 404474 w 4953355"/>
              <a:gd name="connsiteY43" fmla="*/ 2563351 h 2611828"/>
              <a:gd name="connsiteX44" fmla="*/ 269745 w 4953355"/>
              <a:gd name="connsiteY44" fmla="*/ 2600356 h 2611828"/>
              <a:gd name="connsiteX45" fmla="*/ 157457 w 4953355"/>
              <a:gd name="connsiteY45" fmla="*/ 2576352 h 2611828"/>
              <a:gd name="connsiteX46" fmla="*/ 62393 w 4953355"/>
              <a:gd name="connsiteY46" fmla="*/ 2599651 h 2611828"/>
              <a:gd name="connsiteX47" fmla="*/ 220 w 4953355"/>
              <a:gd name="connsiteY47" fmla="*/ 2468987 h 2611828"/>
              <a:gd name="connsiteX48" fmla="*/ 160821 w 4953355"/>
              <a:gd name="connsiteY48" fmla="*/ 367534 h 2611828"/>
              <a:gd name="connsiteX0" fmla="*/ 0 w 4965673"/>
              <a:gd name="connsiteY0" fmla="*/ 0 h 2618498"/>
              <a:gd name="connsiteX1" fmla="*/ 4964927 w 4965673"/>
              <a:gd name="connsiteY1" fmla="*/ 6670 h 2618498"/>
              <a:gd name="connsiteX2" fmla="*/ 4964928 w 4965673"/>
              <a:gd name="connsiteY2" fmla="*/ 2475657 h 2618498"/>
              <a:gd name="connsiteX3" fmla="*/ 4905857 w 4965673"/>
              <a:gd name="connsiteY3" fmla="*/ 2575186 h 2618498"/>
              <a:gd name="connsiteX4" fmla="*/ 4774011 w 4965673"/>
              <a:gd name="connsiteY4" fmla="*/ 2605612 h 2618498"/>
              <a:gd name="connsiteX5" fmla="*/ 4581495 w 4965673"/>
              <a:gd name="connsiteY5" fmla="*/ 2517434 h 2618498"/>
              <a:gd name="connsiteX6" fmla="*/ 4411550 w 4965673"/>
              <a:gd name="connsiteY6" fmla="*/ 2567512 h 2618498"/>
              <a:gd name="connsiteX7" fmla="*/ 4221351 w 4965673"/>
              <a:gd name="connsiteY7" fmla="*/ 2538590 h 2618498"/>
              <a:gd name="connsiteX8" fmla="*/ 4008881 w 4965673"/>
              <a:gd name="connsiteY8" fmla="*/ 2522460 h 2618498"/>
              <a:gd name="connsiteX9" fmla="*/ 3849043 w 4965673"/>
              <a:gd name="connsiteY9" fmla="*/ 2405342 h 2618498"/>
              <a:gd name="connsiteX10" fmla="*/ 3701698 w 4965673"/>
              <a:gd name="connsiteY10" fmla="*/ 2440011 h 2618498"/>
              <a:gd name="connsiteX11" fmla="*/ 3588096 w 4965673"/>
              <a:gd name="connsiteY11" fmla="*/ 2518939 h 2618498"/>
              <a:gd name="connsiteX12" fmla="*/ 3524390 w 4965673"/>
              <a:gd name="connsiteY12" fmla="*/ 2459421 h 2618498"/>
              <a:gd name="connsiteX13" fmla="*/ 3376675 w 4965673"/>
              <a:gd name="connsiteY13" fmla="*/ 2518017 h 2618498"/>
              <a:gd name="connsiteX14" fmla="*/ 3274765 w 4965673"/>
              <a:gd name="connsiteY14" fmla="*/ 2504756 h 2618498"/>
              <a:gd name="connsiteX15" fmla="*/ 3173331 w 4965673"/>
              <a:gd name="connsiteY15" fmla="*/ 2514906 h 2618498"/>
              <a:gd name="connsiteX16" fmla="*/ 3082503 w 4965673"/>
              <a:gd name="connsiteY16" fmla="*/ 2433470 h 2618498"/>
              <a:gd name="connsiteX17" fmla="*/ 2983221 w 4965673"/>
              <a:gd name="connsiteY17" fmla="*/ 2451918 h 2618498"/>
              <a:gd name="connsiteX18" fmla="*/ 2847969 w 4965673"/>
              <a:gd name="connsiteY18" fmla="*/ 2327336 h 2618498"/>
              <a:gd name="connsiteX19" fmla="*/ 2759043 w 4965673"/>
              <a:gd name="connsiteY19" fmla="*/ 2362110 h 2618498"/>
              <a:gd name="connsiteX20" fmla="*/ 2722269 w 4965673"/>
              <a:gd name="connsiteY20" fmla="*/ 2417038 h 2618498"/>
              <a:gd name="connsiteX21" fmla="*/ 2652956 w 4965673"/>
              <a:gd name="connsiteY21" fmla="*/ 2466012 h 2618498"/>
              <a:gd name="connsiteX22" fmla="*/ 2542152 w 4965673"/>
              <a:gd name="connsiteY22" fmla="*/ 2514606 h 2618498"/>
              <a:gd name="connsiteX23" fmla="*/ 2397305 w 4965673"/>
              <a:gd name="connsiteY23" fmla="*/ 2481441 h 2618498"/>
              <a:gd name="connsiteX24" fmla="*/ 2313130 w 4965673"/>
              <a:gd name="connsiteY24" fmla="*/ 2512288 h 2618498"/>
              <a:gd name="connsiteX25" fmla="*/ 2111249 w 4965673"/>
              <a:gd name="connsiteY25" fmla="*/ 2444345 h 2618498"/>
              <a:gd name="connsiteX26" fmla="*/ 1955123 w 4965673"/>
              <a:gd name="connsiteY26" fmla="*/ 2462391 h 2618498"/>
              <a:gd name="connsiteX27" fmla="*/ 1887982 w 4965673"/>
              <a:gd name="connsiteY27" fmla="*/ 2506239 h 2618498"/>
              <a:gd name="connsiteX28" fmla="*/ 1703886 w 4965673"/>
              <a:gd name="connsiteY28" fmla="*/ 2505016 h 2618498"/>
              <a:gd name="connsiteX29" fmla="*/ 1599879 w 4965673"/>
              <a:gd name="connsiteY29" fmla="*/ 2427011 h 2618498"/>
              <a:gd name="connsiteX30" fmla="*/ 1474238 w 4965673"/>
              <a:gd name="connsiteY30" fmla="*/ 2518427 h 2618498"/>
              <a:gd name="connsiteX31" fmla="*/ 1368167 w 4965673"/>
              <a:gd name="connsiteY31" fmla="*/ 2611052 h 2618498"/>
              <a:gd name="connsiteX32" fmla="*/ 1287372 w 4965673"/>
              <a:gd name="connsiteY32" fmla="*/ 2615030 h 2618498"/>
              <a:gd name="connsiteX33" fmla="*/ 1253186 w 4965673"/>
              <a:gd name="connsiteY33" fmla="*/ 2557020 h 2618498"/>
              <a:gd name="connsiteX34" fmla="*/ 1144845 w 4965673"/>
              <a:gd name="connsiteY34" fmla="*/ 2557019 h 2618498"/>
              <a:gd name="connsiteX35" fmla="*/ 1066634 w 4965673"/>
              <a:gd name="connsiteY35" fmla="*/ 2520143 h 2618498"/>
              <a:gd name="connsiteX36" fmla="*/ 971499 w 4965673"/>
              <a:gd name="connsiteY36" fmla="*/ 2561354 h 2618498"/>
              <a:gd name="connsiteX37" fmla="*/ 853115 w 4965673"/>
              <a:gd name="connsiteY37" fmla="*/ 2563595 h 2618498"/>
              <a:gd name="connsiteX38" fmla="*/ 794096 w 4965673"/>
              <a:gd name="connsiteY38" fmla="*/ 2607027 h 2618498"/>
              <a:gd name="connsiteX39" fmla="*/ 725894 w 4965673"/>
              <a:gd name="connsiteY39" fmla="*/ 2563596 h 2618498"/>
              <a:gd name="connsiteX40" fmla="*/ 642142 w 4965673"/>
              <a:gd name="connsiteY40" fmla="*/ 2570021 h 2618498"/>
              <a:gd name="connsiteX41" fmla="*/ 566868 w 4965673"/>
              <a:gd name="connsiteY41" fmla="*/ 2539742 h 2618498"/>
              <a:gd name="connsiteX42" fmla="*/ 499077 w 4965673"/>
              <a:gd name="connsiteY42" fmla="*/ 2480027 h 2618498"/>
              <a:gd name="connsiteX43" fmla="*/ 416792 w 4965673"/>
              <a:gd name="connsiteY43" fmla="*/ 2570021 h 2618498"/>
              <a:gd name="connsiteX44" fmla="*/ 282063 w 4965673"/>
              <a:gd name="connsiteY44" fmla="*/ 2607026 h 2618498"/>
              <a:gd name="connsiteX45" fmla="*/ 169775 w 4965673"/>
              <a:gd name="connsiteY45" fmla="*/ 2583022 h 2618498"/>
              <a:gd name="connsiteX46" fmla="*/ 74711 w 4965673"/>
              <a:gd name="connsiteY46" fmla="*/ 2606321 h 2618498"/>
              <a:gd name="connsiteX47" fmla="*/ 12538 w 4965673"/>
              <a:gd name="connsiteY47" fmla="*/ 2475657 h 2618498"/>
              <a:gd name="connsiteX48" fmla="*/ 0 w 4965673"/>
              <a:gd name="connsiteY48" fmla="*/ 0 h 2618498"/>
              <a:gd name="connsiteX0" fmla="*/ 480 w 4966153"/>
              <a:gd name="connsiteY0" fmla="*/ 0 h 2618498"/>
              <a:gd name="connsiteX1" fmla="*/ 4965407 w 4966153"/>
              <a:gd name="connsiteY1" fmla="*/ 6670 h 2618498"/>
              <a:gd name="connsiteX2" fmla="*/ 4965408 w 4966153"/>
              <a:gd name="connsiteY2" fmla="*/ 2475657 h 2618498"/>
              <a:gd name="connsiteX3" fmla="*/ 4906337 w 4966153"/>
              <a:gd name="connsiteY3" fmla="*/ 2575186 h 2618498"/>
              <a:gd name="connsiteX4" fmla="*/ 4774491 w 4966153"/>
              <a:gd name="connsiteY4" fmla="*/ 2605612 h 2618498"/>
              <a:gd name="connsiteX5" fmla="*/ 4581975 w 4966153"/>
              <a:gd name="connsiteY5" fmla="*/ 2517434 h 2618498"/>
              <a:gd name="connsiteX6" fmla="*/ 4412030 w 4966153"/>
              <a:gd name="connsiteY6" fmla="*/ 2567512 h 2618498"/>
              <a:gd name="connsiteX7" fmla="*/ 4221831 w 4966153"/>
              <a:gd name="connsiteY7" fmla="*/ 2538590 h 2618498"/>
              <a:gd name="connsiteX8" fmla="*/ 4009361 w 4966153"/>
              <a:gd name="connsiteY8" fmla="*/ 2522460 h 2618498"/>
              <a:gd name="connsiteX9" fmla="*/ 3849523 w 4966153"/>
              <a:gd name="connsiteY9" fmla="*/ 2405342 h 2618498"/>
              <a:gd name="connsiteX10" fmla="*/ 3702178 w 4966153"/>
              <a:gd name="connsiteY10" fmla="*/ 2440011 h 2618498"/>
              <a:gd name="connsiteX11" fmla="*/ 3588576 w 4966153"/>
              <a:gd name="connsiteY11" fmla="*/ 2518939 h 2618498"/>
              <a:gd name="connsiteX12" fmla="*/ 3524870 w 4966153"/>
              <a:gd name="connsiteY12" fmla="*/ 2459421 h 2618498"/>
              <a:gd name="connsiteX13" fmla="*/ 3377155 w 4966153"/>
              <a:gd name="connsiteY13" fmla="*/ 2518017 h 2618498"/>
              <a:gd name="connsiteX14" fmla="*/ 3275245 w 4966153"/>
              <a:gd name="connsiteY14" fmla="*/ 2504756 h 2618498"/>
              <a:gd name="connsiteX15" fmla="*/ 3173811 w 4966153"/>
              <a:gd name="connsiteY15" fmla="*/ 2514906 h 2618498"/>
              <a:gd name="connsiteX16" fmla="*/ 3082983 w 4966153"/>
              <a:gd name="connsiteY16" fmla="*/ 2433470 h 2618498"/>
              <a:gd name="connsiteX17" fmla="*/ 2983701 w 4966153"/>
              <a:gd name="connsiteY17" fmla="*/ 2451918 h 2618498"/>
              <a:gd name="connsiteX18" fmla="*/ 2848449 w 4966153"/>
              <a:gd name="connsiteY18" fmla="*/ 2327336 h 2618498"/>
              <a:gd name="connsiteX19" fmla="*/ 2759523 w 4966153"/>
              <a:gd name="connsiteY19" fmla="*/ 2362110 h 2618498"/>
              <a:gd name="connsiteX20" fmla="*/ 2722749 w 4966153"/>
              <a:gd name="connsiteY20" fmla="*/ 2417038 h 2618498"/>
              <a:gd name="connsiteX21" fmla="*/ 2653436 w 4966153"/>
              <a:gd name="connsiteY21" fmla="*/ 2466012 h 2618498"/>
              <a:gd name="connsiteX22" fmla="*/ 2542632 w 4966153"/>
              <a:gd name="connsiteY22" fmla="*/ 2514606 h 2618498"/>
              <a:gd name="connsiteX23" fmla="*/ 2397785 w 4966153"/>
              <a:gd name="connsiteY23" fmla="*/ 2481441 h 2618498"/>
              <a:gd name="connsiteX24" fmla="*/ 2313610 w 4966153"/>
              <a:gd name="connsiteY24" fmla="*/ 2512288 h 2618498"/>
              <a:gd name="connsiteX25" fmla="*/ 2111729 w 4966153"/>
              <a:gd name="connsiteY25" fmla="*/ 2444345 h 2618498"/>
              <a:gd name="connsiteX26" fmla="*/ 1955603 w 4966153"/>
              <a:gd name="connsiteY26" fmla="*/ 2462391 h 2618498"/>
              <a:gd name="connsiteX27" fmla="*/ 1888462 w 4966153"/>
              <a:gd name="connsiteY27" fmla="*/ 2506239 h 2618498"/>
              <a:gd name="connsiteX28" fmla="*/ 1704366 w 4966153"/>
              <a:gd name="connsiteY28" fmla="*/ 2505016 h 2618498"/>
              <a:gd name="connsiteX29" fmla="*/ 1600359 w 4966153"/>
              <a:gd name="connsiteY29" fmla="*/ 2427011 h 2618498"/>
              <a:gd name="connsiteX30" fmla="*/ 1474718 w 4966153"/>
              <a:gd name="connsiteY30" fmla="*/ 2518427 h 2618498"/>
              <a:gd name="connsiteX31" fmla="*/ 1368647 w 4966153"/>
              <a:gd name="connsiteY31" fmla="*/ 2611052 h 2618498"/>
              <a:gd name="connsiteX32" fmla="*/ 1287852 w 4966153"/>
              <a:gd name="connsiteY32" fmla="*/ 2615030 h 2618498"/>
              <a:gd name="connsiteX33" fmla="*/ 1253666 w 4966153"/>
              <a:gd name="connsiteY33" fmla="*/ 2557020 h 2618498"/>
              <a:gd name="connsiteX34" fmla="*/ 1145325 w 4966153"/>
              <a:gd name="connsiteY34" fmla="*/ 2557019 h 2618498"/>
              <a:gd name="connsiteX35" fmla="*/ 1067114 w 4966153"/>
              <a:gd name="connsiteY35" fmla="*/ 2520143 h 2618498"/>
              <a:gd name="connsiteX36" fmla="*/ 971979 w 4966153"/>
              <a:gd name="connsiteY36" fmla="*/ 2561354 h 2618498"/>
              <a:gd name="connsiteX37" fmla="*/ 853595 w 4966153"/>
              <a:gd name="connsiteY37" fmla="*/ 2563595 h 2618498"/>
              <a:gd name="connsiteX38" fmla="*/ 794576 w 4966153"/>
              <a:gd name="connsiteY38" fmla="*/ 2607027 h 2618498"/>
              <a:gd name="connsiteX39" fmla="*/ 726374 w 4966153"/>
              <a:gd name="connsiteY39" fmla="*/ 2563596 h 2618498"/>
              <a:gd name="connsiteX40" fmla="*/ 642622 w 4966153"/>
              <a:gd name="connsiteY40" fmla="*/ 2570021 h 2618498"/>
              <a:gd name="connsiteX41" fmla="*/ 567348 w 4966153"/>
              <a:gd name="connsiteY41" fmla="*/ 2539742 h 2618498"/>
              <a:gd name="connsiteX42" fmla="*/ 499557 w 4966153"/>
              <a:gd name="connsiteY42" fmla="*/ 2480027 h 2618498"/>
              <a:gd name="connsiteX43" fmla="*/ 417272 w 4966153"/>
              <a:gd name="connsiteY43" fmla="*/ 2570021 h 2618498"/>
              <a:gd name="connsiteX44" fmla="*/ 282543 w 4966153"/>
              <a:gd name="connsiteY44" fmla="*/ 2607026 h 2618498"/>
              <a:gd name="connsiteX45" fmla="*/ 170255 w 4966153"/>
              <a:gd name="connsiteY45" fmla="*/ 2583022 h 2618498"/>
              <a:gd name="connsiteX46" fmla="*/ 75191 w 4966153"/>
              <a:gd name="connsiteY46" fmla="*/ 2606321 h 2618498"/>
              <a:gd name="connsiteX47" fmla="*/ 13018 w 4966153"/>
              <a:gd name="connsiteY47" fmla="*/ 2475657 h 2618498"/>
              <a:gd name="connsiteX48" fmla="*/ 480 w 4966153"/>
              <a:gd name="connsiteY48" fmla="*/ 0 h 2618498"/>
              <a:gd name="connsiteX0" fmla="*/ 323200 w 5288873"/>
              <a:gd name="connsiteY0" fmla="*/ 80689 h 2699187"/>
              <a:gd name="connsiteX1" fmla="*/ 4735198 w 5288873"/>
              <a:gd name="connsiteY1" fmla="*/ 556511 h 2699187"/>
              <a:gd name="connsiteX2" fmla="*/ 5288128 w 5288873"/>
              <a:gd name="connsiteY2" fmla="*/ 2556346 h 2699187"/>
              <a:gd name="connsiteX3" fmla="*/ 5229057 w 5288873"/>
              <a:gd name="connsiteY3" fmla="*/ 2655875 h 2699187"/>
              <a:gd name="connsiteX4" fmla="*/ 5097211 w 5288873"/>
              <a:gd name="connsiteY4" fmla="*/ 2686301 h 2699187"/>
              <a:gd name="connsiteX5" fmla="*/ 4904695 w 5288873"/>
              <a:gd name="connsiteY5" fmla="*/ 2598123 h 2699187"/>
              <a:gd name="connsiteX6" fmla="*/ 4734750 w 5288873"/>
              <a:gd name="connsiteY6" fmla="*/ 2648201 h 2699187"/>
              <a:gd name="connsiteX7" fmla="*/ 4544551 w 5288873"/>
              <a:gd name="connsiteY7" fmla="*/ 2619279 h 2699187"/>
              <a:gd name="connsiteX8" fmla="*/ 4332081 w 5288873"/>
              <a:gd name="connsiteY8" fmla="*/ 2603149 h 2699187"/>
              <a:gd name="connsiteX9" fmla="*/ 4172243 w 5288873"/>
              <a:gd name="connsiteY9" fmla="*/ 2486031 h 2699187"/>
              <a:gd name="connsiteX10" fmla="*/ 4024898 w 5288873"/>
              <a:gd name="connsiteY10" fmla="*/ 2520700 h 2699187"/>
              <a:gd name="connsiteX11" fmla="*/ 3911296 w 5288873"/>
              <a:gd name="connsiteY11" fmla="*/ 2599628 h 2699187"/>
              <a:gd name="connsiteX12" fmla="*/ 3847590 w 5288873"/>
              <a:gd name="connsiteY12" fmla="*/ 2540110 h 2699187"/>
              <a:gd name="connsiteX13" fmla="*/ 3699875 w 5288873"/>
              <a:gd name="connsiteY13" fmla="*/ 2598706 h 2699187"/>
              <a:gd name="connsiteX14" fmla="*/ 3597965 w 5288873"/>
              <a:gd name="connsiteY14" fmla="*/ 2585445 h 2699187"/>
              <a:gd name="connsiteX15" fmla="*/ 3496531 w 5288873"/>
              <a:gd name="connsiteY15" fmla="*/ 2595595 h 2699187"/>
              <a:gd name="connsiteX16" fmla="*/ 3405703 w 5288873"/>
              <a:gd name="connsiteY16" fmla="*/ 2514159 h 2699187"/>
              <a:gd name="connsiteX17" fmla="*/ 3306421 w 5288873"/>
              <a:gd name="connsiteY17" fmla="*/ 2532607 h 2699187"/>
              <a:gd name="connsiteX18" fmla="*/ 3171169 w 5288873"/>
              <a:gd name="connsiteY18" fmla="*/ 2408025 h 2699187"/>
              <a:gd name="connsiteX19" fmla="*/ 3082243 w 5288873"/>
              <a:gd name="connsiteY19" fmla="*/ 2442799 h 2699187"/>
              <a:gd name="connsiteX20" fmla="*/ 3045469 w 5288873"/>
              <a:gd name="connsiteY20" fmla="*/ 2497727 h 2699187"/>
              <a:gd name="connsiteX21" fmla="*/ 2976156 w 5288873"/>
              <a:gd name="connsiteY21" fmla="*/ 2546701 h 2699187"/>
              <a:gd name="connsiteX22" fmla="*/ 2865352 w 5288873"/>
              <a:gd name="connsiteY22" fmla="*/ 2595295 h 2699187"/>
              <a:gd name="connsiteX23" fmla="*/ 2720505 w 5288873"/>
              <a:gd name="connsiteY23" fmla="*/ 2562130 h 2699187"/>
              <a:gd name="connsiteX24" fmla="*/ 2636330 w 5288873"/>
              <a:gd name="connsiteY24" fmla="*/ 2592977 h 2699187"/>
              <a:gd name="connsiteX25" fmla="*/ 2434449 w 5288873"/>
              <a:gd name="connsiteY25" fmla="*/ 2525034 h 2699187"/>
              <a:gd name="connsiteX26" fmla="*/ 2278323 w 5288873"/>
              <a:gd name="connsiteY26" fmla="*/ 2543080 h 2699187"/>
              <a:gd name="connsiteX27" fmla="*/ 2211182 w 5288873"/>
              <a:gd name="connsiteY27" fmla="*/ 2586928 h 2699187"/>
              <a:gd name="connsiteX28" fmla="*/ 2027086 w 5288873"/>
              <a:gd name="connsiteY28" fmla="*/ 2585705 h 2699187"/>
              <a:gd name="connsiteX29" fmla="*/ 1923079 w 5288873"/>
              <a:gd name="connsiteY29" fmla="*/ 2507700 h 2699187"/>
              <a:gd name="connsiteX30" fmla="*/ 1797438 w 5288873"/>
              <a:gd name="connsiteY30" fmla="*/ 2599116 h 2699187"/>
              <a:gd name="connsiteX31" fmla="*/ 1691367 w 5288873"/>
              <a:gd name="connsiteY31" fmla="*/ 2691741 h 2699187"/>
              <a:gd name="connsiteX32" fmla="*/ 1610572 w 5288873"/>
              <a:gd name="connsiteY32" fmla="*/ 2695719 h 2699187"/>
              <a:gd name="connsiteX33" fmla="*/ 1576386 w 5288873"/>
              <a:gd name="connsiteY33" fmla="*/ 2637709 h 2699187"/>
              <a:gd name="connsiteX34" fmla="*/ 1468045 w 5288873"/>
              <a:gd name="connsiteY34" fmla="*/ 2637708 h 2699187"/>
              <a:gd name="connsiteX35" fmla="*/ 1389834 w 5288873"/>
              <a:gd name="connsiteY35" fmla="*/ 2600832 h 2699187"/>
              <a:gd name="connsiteX36" fmla="*/ 1294699 w 5288873"/>
              <a:gd name="connsiteY36" fmla="*/ 2642043 h 2699187"/>
              <a:gd name="connsiteX37" fmla="*/ 1176315 w 5288873"/>
              <a:gd name="connsiteY37" fmla="*/ 2644284 h 2699187"/>
              <a:gd name="connsiteX38" fmla="*/ 1117296 w 5288873"/>
              <a:gd name="connsiteY38" fmla="*/ 2687716 h 2699187"/>
              <a:gd name="connsiteX39" fmla="*/ 1049094 w 5288873"/>
              <a:gd name="connsiteY39" fmla="*/ 2644285 h 2699187"/>
              <a:gd name="connsiteX40" fmla="*/ 965342 w 5288873"/>
              <a:gd name="connsiteY40" fmla="*/ 2650710 h 2699187"/>
              <a:gd name="connsiteX41" fmla="*/ 890068 w 5288873"/>
              <a:gd name="connsiteY41" fmla="*/ 2620431 h 2699187"/>
              <a:gd name="connsiteX42" fmla="*/ 822277 w 5288873"/>
              <a:gd name="connsiteY42" fmla="*/ 2560716 h 2699187"/>
              <a:gd name="connsiteX43" fmla="*/ 739992 w 5288873"/>
              <a:gd name="connsiteY43" fmla="*/ 2650710 h 2699187"/>
              <a:gd name="connsiteX44" fmla="*/ 605263 w 5288873"/>
              <a:gd name="connsiteY44" fmla="*/ 2687715 h 2699187"/>
              <a:gd name="connsiteX45" fmla="*/ 492975 w 5288873"/>
              <a:gd name="connsiteY45" fmla="*/ 2663711 h 2699187"/>
              <a:gd name="connsiteX46" fmla="*/ 397911 w 5288873"/>
              <a:gd name="connsiteY46" fmla="*/ 2687010 h 2699187"/>
              <a:gd name="connsiteX47" fmla="*/ 335738 w 5288873"/>
              <a:gd name="connsiteY47" fmla="*/ 2556346 h 2699187"/>
              <a:gd name="connsiteX48" fmla="*/ 323200 w 5288873"/>
              <a:gd name="connsiteY48" fmla="*/ 80689 h 2699187"/>
              <a:gd name="connsiteX0" fmla="*/ 364156 w 5329829"/>
              <a:gd name="connsiteY0" fmla="*/ 183515 h 2802013"/>
              <a:gd name="connsiteX1" fmla="*/ 5329083 w 5329829"/>
              <a:gd name="connsiteY1" fmla="*/ 184600 h 2802013"/>
              <a:gd name="connsiteX2" fmla="*/ 5329084 w 5329829"/>
              <a:gd name="connsiteY2" fmla="*/ 2659172 h 2802013"/>
              <a:gd name="connsiteX3" fmla="*/ 5270013 w 5329829"/>
              <a:gd name="connsiteY3" fmla="*/ 2758701 h 2802013"/>
              <a:gd name="connsiteX4" fmla="*/ 5138167 w 5329829"/>
              <a:gd name="connsiteY4" fmla="*/ 2789127 h 2802013"/>
              <a:gd name="connsiteX5" fmla="*/ 4945651 w 5329829"/>
              <a:gd name="connsiteY5" fmla="*/ 2700949 h 2802013"/>
              <a:gd name="connsiteX6" fmla="*/ 4775706 w 5329829"/>
              <a:gd name="connsiteY6" fmla="*/ 2751027 h 2802013"/>
              <a:gd name="connsiteX7" fmla="*/ 4585507 w 5329829"/>
              <a:gd name="connsiteY7" fmla="*/ 2722105 h 2802013"/>
              <a:gd name="connsiteX8" fmla="*/ 4373037 w 5329829"/>
              <a:gd name="connsiteY8" fmla="*/ 2705975 h 2802013"/>
              <a:gd name="connsiteX9" fmla="*/ 4213199 w 5329829"/>
              <a:gd name="connsiteY9" fmla="*/ 2588857 h 2802013"/>
              <a:gd name="connsiteX10" fmla="*/ 4065854 w 5329829"/>
              <a:gd name="connsiteY10" fmla="*/ 2623526 h 2802013"/>
              <a:gd name="connsiteX11" fmla="*/ 3952252 w 5329829"/>
              <a:gd name="connsiteY11" fmla="*/ 2702454 h 2802013"/>
              <a:gd name="connsiteX12" fmla="*/ 3888546 w 5329829"/>
              <a:gd name="connsiteY12" fmla="*/ 2642936 h 2802013"/>
              <a:gd name="connsiteX13" fmla="*/ 3740831 w 5329829"/>
              <a:gd name="connsiteY13" fmla="*/ 2701532 h 2802013"/>
              <a:gd name="connsiteX14" fmla="*/ 3638921 w 5329829"/>
              <a:gd name="connsiteY14" fmla="*/ 2688271 h 2802013"/>
              <a:gd name="connsiteX15" fmla="*/ 3537487 w 5329829"/>
              <a:gd name="connsiteY15" fmla="*/ 2698421 h 2802013"/>
              <a:gd name="connsiteX16" fmla="*/ 3446659 w 5329829"/>
              <a:gd name="connsiteY16" fmla="*/ 2616985 h 2802013"/>
              <a:gd name="connsiteX17" fmla="*/ 3347377 w 5329829"/>
              <a:gd name="connsiteY17" fmla="*/ 2635433 h 2802013"/>
              <a:gd name="connsiteX18" fmla="*/ 3212125 w 5329829"/>
              <a:gd name="connsiteY18" fmla="*/ 2510851 h 2802013"/>
              <a:gd name="connsiteX19" fmla="*/ 3123199 w 5329829"/>
              <a:gd name="connsiteY19" fmla="*/ 2545625 h 2802013"/>
              <a:gd name="connsiteX20" fmla="*/ 3086425 w 5329829"/>
              <a:gd name="connsiteY20" fmla="*/ 2600553 h 2802013"/>
              <a:gd name="connsiteX21" fmla="*/ 3017112 w 5329829"/>
              <a:gd name="connsiteY21" fmla="*/ 2649527 h 2802013"/>
              <a:gd name="connsiteX22" fmla="*/ 2906308 w 5329829"/>
              <a:gd name="connsiteY22" fmla="*/ 2698121 h 2802013"/>
              <a:gd name="connsiteX23" fmla="*/ 2761461 w 5329829"/>
              <a:gd name="connsiteY23" fmla="*/ 2664956 h 2802013"/>
              <a:gd name="connsiteX24" fmla="*/ 2677286 w 5329829"/>
              <a:gd name="connsiteY24" fmla="*/ 2695803 h 2802013"/>
              <a:gd name="connsiteX25" fmla="*/ 2475405 w 5329829"/>
              <a:gd name="connsiteY25" fmla="*/ 2627860 h 2802013"/>
              <a:gd name="connsiteX26" fmla="*/ 2319279 w 5329829"/>
              <a:gd name="connsiteY26" fmla="*/ 2645906 h 2802013"/>
              <a:gd name="connsiteX27" fmla="*/ 2252138 w 5329829"/>
              <a:gd name="connsiteY27" fmla="*/ 2689754 h 2802013"/>
              <a:gd name="connsiteX28" fmla="*/ 2068042 w 5329829"/>
              <a:gd name="connsiteY28" fmla="*/ 2688531 h 2802013"/>
              <a:gd name="connsiteX29" fmla="*/ 1964035 w 5329829"/>
              <a:gd name="connsiteY29" fmla="*/ 2610526 h 2802013"/>
              <a:gd name="connsiteX30" fmla="*/ 1838394 w 5329829"/>
              <a:gd name="connsiteY30" fmla="*/ 2701942 h 2802013"/>
              <a:gd name="connsiteX31" fmla="*/ 1732323 w 5329829"/>
              <a:gd name="connsiteY31" fmla="*/ 2794567 h 2802013"/>
              <a:gd name="connsiteX32" fmla="*/ 1651528 w 5329829"/>
              <a:gd name="connsiteY32" fmla="*/ 2798545 h 2802013"/>
              <a:gd name="connsiteX33" fmla="*/ 1617342 w 5329829"/>
              <a:gd name="connsiteY33" fmla="*/ 2740535 h 2802013"/>
              <a:gd name="connsiteX34" fmla="*/ 1509001 w 5329829"/>
              <a:gd name="connsiteY34" fmla="*/ 2740534 h 2802013"/>
              <a:gd name="connsiteX35" fmla="*/ 1430790 w 5329829"/>
              <a:gd name="connsiteY35" fmla="*/ 2703658 h 2802013"/>
              <a:gd name="connsiteX36" fmla="*/ 1335655 w 5329829"/>
              <a:gd name="connsiteY36" fmla="*/ 2744869 h 2802013"/>
              <a:gd name="connsiteX37" fmla="*/ 1217271 w 5329829"/>
              <a:gd name="connsiteY37" fmla="*/ 2747110 h 2802013"/>
              <a:gd name="connsiteX38" fmla="*/ 1158252 w 5329829"/>
              <a:gd name="connsiteY38" fmla="*/ 2790542 h 2802013"/>
              <a:gd name="connsiteX39" fmla="*/ 1090050 w 5329829"/>
              <a:gd name="connsiteY39" fmla="*/ 2747111 h 2802013"/>
              <a:gd name="connsiteX40" fmla="*/ 1006298 w 5329829"/>
              <a:gd name="connsiteY40" fmla="*/ 2753536 h 2802013"/>
              <a:gd name="connsiteX41" fmla="*/ 931024 w 5329829"/>
              <a:gd name="connsiteY41" fmla="*/ 2723257 h 2802013"/>
              <a:gd name="connsiteX42" fmla="*/ 863233 w 5329829"/>
              <a:gd name="connsiteY42" fmla="*/ 2663542 h 2802013"/>
              <a:gd name="connsiteX43" fmla="*/ 780948 w 5329829"/>
              <a:gd name="connsiteY43" fmla="*/ 2753536 h 2802013"/>
              <a:gd name="connsiteX44" fmla="*/ 646219 w 5329829"/>
              <a:gd name="connsiteY44" fmla="*/ 2790541 h 2802013"/>
              <a:gd name="connsiteX45" fmla="*/ 533931 w 5329829"/>
              <a:gd name="connsiteY45" fmla="*/ 2766537 h 2802013"/>
              <a:gd name="connsiteX46" fmla="*/ 438867 w 5329829"/>
              <a:gd name="connsiteY46" fmla="*/ 2789836 h 2802013"/>
              <a:gd name="connsiteX47" fmla="*/ 376694 w 5329829"/>
              <a:gd name="connsiteY47" fmla="*/ 2659172 h 2802013"/>
              <a:gd name="connsiteX48" fmla="*/ 364156 w 5329829"/>
              <a:gd name="connsiteY48" fmla="*/ 183515 h 2802013"/>
              <a:gd name="connsiteX0" fmla="*/ 364156 w 5329829"/>
              <a:gd name="connsiteY0" fmla="*/ 181056 h 2799554"/>
              <a:gd name="connsiteX1" fmla="*/ 5329083 w 5329829"/>
              <a:gd name="connsiteY1" fmla="*/ 182141 h 2799554"/>
              <a:gd name="connsiteX2" fmla="*/ 5329084 w 5329829"/>
              <a:gd name="connsiteY2" fmla="*/ 2656713 h 2799554"/>
              <a:gd name="connsiteX3" fmla="*/ 5270013 w 5329829"/>
              <a:gd name="connsiteY3" fmla="*/ 2756242 h 2799554"/>
              <a:gd name="connsiteX4" fmla="*/ 5138167 w 5329829"/>
              <a:gd name="connsiteY4" fmla="*/ 2786668 h 2799554"/>
              <a:gd name="connsiteX5" fmla="*/ 4945651 w 5329829"/>
              <a:gd name="connsiteY5" fmla="*/ 2698490 h 2799554"/>
              <a:gd name="connsiteX6" fmla="*/ 4775706 w 5329829"/>
              <a:gd name="connsiteY6" fmla="*/ 2748568 h 2799554"/>
              <a:gd name="connsiteX7" fmla="*/ 4585507 w 5329829"/>
              <a:gd name="connsiteY7" fmla="*/ 2719646 h 2799554"/>
              <a:gd name="connsiteX8" fmla="*/ 4373037 w 5329829"/>
              <a:gd name="connsiteY8" fmla="*/ 2703516 h 2799554"/>
              <a:gd name="connsiteX9" fmla="*/ 4213199 w 5329829"/>
              <a:gd name="connsiteY9" fmla="*/ 2586398 h 2799554"/>
              <a:gd name="connsiteX10" fmla="*/ 4065854 w 5329829"/>
              <a:gd name="connsiteY10" fmla="*/ 2621067 h 2799554"/>
              <a:gd name="connsiteX11" fmla="*/ 3952252 w 5329829"/>
              <a:gd name="connsiteY11" fmla="*/ 2699995 h 2799554"/>
              <a:gd name="connsiteX12" fmla="*/ 3888546 w 5329829"/>
              <a:gd name="connsiteY12" fmla="*/ 2640477 h 2799554"/>
              <a:gd name="connsiteX13" fmla="*/ 3740831 w 5329829"/>
              <a:gd name="connsiteY13" fmla="*/ 2699073 h 2799554"/>
              <a:gd name="connsiteX14" fmla="*/ 3638921 w 5329829"/>
              <a:gd name="connsiteY14" fmla="*/ 2685812 h 2799554"/>
              <a:gd name="connsiteX15" fmla="*/ 3537487 w 5329829"/>
              <a:gd name="connsiteY15" fmla="*/ 2695962 h 2799554"/>
              <a:gd name="connsiteX16" fmla="*/ 3446659 w 5329829"/>
              <a:gd name="connsiteY16" fmla="*/ 2614526 h 2799554"/>
              <a:gd name="connsiteX17" fmla="*/ 3347377 w 5329829"/>
              <a:gd name="connsiteY17" fmla="*/ 2632974 h 2799554"/>
              <a:gd name="connsiteX18" fmla="*/ 3212125 w 5329829"/>
              <a:gd name="connsiteY18" fmla="*/ 2508392 h 2799554"/>
              <a:gd name="connsiteX19" fmla="*/ 3123199 w 5329829"/>
              <a:gd name="connsiteY19" fmla="*/ 2543166 h 2799554"/>
              <a:gd name="connsiteX20" fmla="*/ 3086425 w 5329829"/>
              <a:gd name="connsiteY20" fmla="*/ 2598094 h 2799554"/>
              <a:gd name="connsiteX21" fmla="*/ 3017112 w 5329829"/>
              <a:gd name="connsiteY21" fmla="*/ 2647068 h 2799554"/>
              <a:gd name="connsiteX22" fmla="*/ 2906308 w 5329829"/>
              <a:gd name="connsiteY22" fmla="*/ 2695662 h 2799554"/>
              <a:gd name="connsiteX23" fmla="*/ 2761461 w 5329829"/>
              <a:gd name="connsiteY23" fmla="*/ 2662497 h 2799554"/>
              <a:gd name="connsiteX24" fmla="*/ 2677286 w 5329829"/>
              <a:gd name="connsiteY24" fmla="*/ 2693344 h 2799554"/>
              <a:gd name="connsiteX25" fmla="*/ 2475405 w 5329829"/>
              <a:gd name="connsiteY25" fmla="*/ 2625401 h 2799554"/>
              <a:gd name="connsiteX26" fmla="*/ 2319279 w 5329829"/>
              <a:gd name="connsiteY26" fmla="*/ 2643447 h 2799554"/>
              <a:gd name="connsiteX27" fmla="*/ 2252138 w 5329829"/>
              <a:gd name="connsiteY27" fmla="*/ 2687295 h 2799554"/>
              <a:gd name="connsiteX28" fmla="*/ 2068042 w 5329829"/>
              <a:gd name="connsiteY28" fmla="*/ 2686072 h 2799554"/>
              <a:gd name="connsiteX29" fmla="*/ 1964035 w 5329829"/>
              <a:gd name="connsiteY29" fmla="*/ 2608067 h 2799554"/>
              <a:gd name="connsiteX30" fmla="*/ 1838394 w 5329829"/>
              <a:gd name="connsiteY30" fmla="*/ 2699483 h 2799554"/>
              <a:gd name="connsiteX31" fmla="*/ 1732323 w 5329829"/>
              <a:gd name="connsiteY31" fmla="*/ 2792108 h 2799554"/>
              <a:gd name="connsiteX32" fmla="*/ 1651528 w 5329829"/>
              <a:gd name="connsiteY32" fmla="*/ 2796086 h 2799554"/>
              <a:gd name="connsiteX33" fmla="*/ 1617342 w 5329829"/>
              <a:gd name="connsiteY33" fmla="*/ 2738076 h 2799554"/>
              <a:gd name="connsiteX34" fmla="*/ 1509001 w 5329829"/>
              <a:gd name="connsiteY34" fmla="*/ 2738075 h 2799554"/>
              <a:gd name="connsiteX35" fmla="*/ 1430790 w 5329829"/>
              <a:gd name="connsiteY35" fmla="*/ 2701199 h 2799554"/>
              <a:gd name="connsiteX36" fmla="*/ 1335655 w 5329829"/>
              <a:gd name="connsiteY36" fmla="*/ 2742410 h 2799554"/>
              <a:gd name="connsiteX37" fmla="*/ 1217271 w 5329829"/>
              <a:gd name="connsiteY37" fmla="*/ 2744651 h 2799554"/>
              <a:gd name="connsiteX38" fmla="*/ 1158252 w 5329829"/>
              <a:gd name="connsiteY38" fmla="*/ 2788083 h 2799554"/>
              <a:gd name="connsiteX39" fmla="*/ 1090050 w 5329829"/>
              <a:gd name="connsiteY39" fmla="*/ 2744652 h 2799554"/>
              <a:gd name="connsiteX40" fmla="*/ 1006298 w 5329829"/>
              <a:gd name="connsiteY40" fmla="*/ 2751077 h 2799554"/>
              <a:gd name="connsiteX41" fmla="*/ 931024 w 5329829"/>
              <a:gd name="connsiteY41" fmla="*/ 2720798 h 2799554"/>
              <a:gd name="connsiteX42" fmla="*/ 863233 w 5329829"/>
              <a:gd name="connsiteY42" fmla="*/ 2661083 h 2799554"/>
              <a:gd name="connsiteX43" fmla="*/ 780948 w 5329829"/>
              <a:gd name="connsiteY43" fmla="*/ 2751077 h 2799554"/>
              <a:gd name="connsiteX44" fmla="*/ 646219 w 5329829"/>
              <a:gd name="connsiteY44" fmla="*/ 2788082 h 2799554"/>
              <a:gd name="connsiteX45" fmla="*/ 533931 w 5329829"/>
              <a:gd name="connsiteY45" fmla="*/ 2764078 h 2799554"/>
              <a:gd name="connsiteX46" fmla="*/ 438867 w 5329829"/>
              <a:gd name="connsiteY46" fmla="*/ 2787377 h 2799554"/>
              <a:gd name="connsiteX47" fmla="*/ 376694 w 5329829"/>
              <a:gd name="connsiteY47" fmla="*/ 2656713 h 2799554"/>
              <a:gd name="connsiteX48" fmla="*/ 364156 w 5329829"/>
              <a:gd name="connsiteY48" fmla="*/ 181056 h 2799554"/>
              <a:gd name="connsiteX0" fmla="*/ 364156 w 5329829"/>
              <a:gd name="connsiteY0" fmla="*/ 181056 h 2799554"/>
              <a:gd name="connsiteX1" fmla="*/ 5329083 w 5329829"/>
              <a:gd name="connsiteY1" fmla="*/ 182141 h 2799554"/>
              <a:gd name="connsiteX2" fmla="*/ 5329084 w 5329829"/>
              <a:gd name="connsiteY2" fmla="*/ 2656713 h 2799554"/>
              <a:gd name="connsiteX3" fmla="*/ 5270013 w 5329829"/>
              <a:gd name="connsiteY3" fmla="*/ 2756242 h 2799554"/>
              <a:gd name="connsiteX4" fmla="*/ 5138167 w 5329829"/>
              <a:gd name="connsiteY4" fmla="*/ 2786668 h 2799554"/>
              <a:gd name="connsiteX5" fmla="*/ 4945651 w 5329829"/>
              <a:gd name="connsiteY5" fmla="*/ 2698490 h 2799554"/>
              <a:gd name="connsiteX6" fmla="*/ 4775706 w 5329829"/>
              <a:gd name="connsiteY6" fmla="*/ 2748568 h 2799554"/>
              <a:gd name="connsiteX7" fmla="*/ 4585507 w 5329829"/>
              <a:gd name="connsiteY7" fmla="*/ 2719646 h 2799554"/>
              <a:gd name="connsiteX8" fmla="*/ 4373037 w 5329829"/>
              <a:gd name="connsiteY8" fmla="*/ 2703516 h 2799554"/>
              <a:gd name="connsiteX9" fmla="*/ 4213199 w 5329829"/>
              <a:gd name="connsiteY9" fmla="*/ 2586398 h 2799554"/>
              <a:gd name="connsiteX10" fmla="*/ 4065854 w 5329829"/>
              <a:gd name="connsiteY10" fmla="*/ 2621067 h 2799554"/>
              <a:gd name="connsiteX11" fmla="*/ 3952252 w 5329829"/>
              <a:gd name="connsiteY11" fmla="*/ 2699995 h 2799554"/>
              <a:gd name="connsiteX12" fmla="*/ 3888546 w 5329829"/>
              <a:gd name="connsiteY12" fmla="*/ 2640477 h 2799554"/>
              <a:gd name="connsiteX13" fmla="*/ 3740831 w 5329829"/>
              <a:gd name="connsiteY13" fmla="*/ 2699073 h 2799554"/>
              <a:gd name="connsiteX14" fmla="*/ 3638921 w 5329829"/>
              <a:gd name="connsiteY14" fmla="*/ 2685812 h 2799554"/>
              <a:gd name="connsiteX15" fmla="*/ 3537487 w 5329829"/>
              <a:gd name="connsiteY15" fmla="*/ 2695962 h 2799554"/>
              <a:gd name="connsiteX16" fmla="*/ 3446659 w 5329829"/>
              <a:gd name="connsiteY16" fmla="*/ 2614526 h 2799554"/>
              <a:gd name="connsiteX17" fmla="*/ 3347377 w 5329829"/>
              <a:gd name="connsiteY17" fmla="*/ 2632974 h 2799554"/>
              <a:gd name="connsiteX18" fmla="*/ 3212125 w 5329829"/>
              <a:gd name="connsiteY18" fmla="*/ 2508392 h 2799554"/>
              <a:gd name="connsiteX19" fmla="*/ 3123199 w 5329829"/>
              <a:gd name="connsiteY19" fmla="*/ 2543166 h 2799554"/>
              <a:gd name="connsiteX20" fmla="*/ 3086425 w 5329829"/>
              <a:gd name="connsiteY20" fmla="*/ 2598094 h 2799554"/>
              <a:gd name="connsiteX21" fmla="*/ 3017112 w 5329829"/>
              <a:gd name="connsiteY21" fmla="*/ 2647068 h 2799554"/>
              <a:gd name="connsiteX22" fmla="*/ 2906308 w 5329829"/>
              <a:gd name="connsiteY22" fmla="*/ 2695662 h 2799554"/>
              <a:gd name="connsiteX23" fmla="*/ 2761461 w 5329829"/>
              <a:gd name="connsiteY23" fmla="*/ 2662497 h 2799554"/>
              <a:gd name="connsiteX24" fmla="*/ 2677286 w 5329829"/>
              <a:gd name="connsiteY24" fmla="*/ 2693344 h 2799554"/>
              <a:gd name="connsiteX25" fmla="*/ 2475405 w 5329829"/>
              <a:gd name="connsiteY25" fmla="*/ 2625401 h 2799554"/>
              <a:gd name="connsiteX26" fmla="*/ 2319279 w 5329829"/>
              <a:gd name="connsiteY26" fmla="*/ 2643447 h 2799554"/>
              <a:gd name="connsiteX27" fmla="*/ 2252138 w 5329829"/>
              <a:gd name="connsiteY27" fmla="*/ 2687295 h 2799554"/>
              <a:gd name="connsiteX28" fmla="*/ 2068042 w 5329829"/>
              <a:gd name="connsiteY28" fmla="*/ 2686072 h 2799554"/>
              <a:gd name="connsiteX29" fmla="*/ 1964035 w 5329829"/>
              <a:gd name="connsiteY29" fmla="*/ 2608067 h 2799554"/>
              <a:gd name="connsiteX30" fmla="*/ 1838394 w 5329829"/>
              <a:gd name="connsiteY30" fmla="*/ 2699483 h 2799554"/>
              <a:gd name="connsiteX31" fmla="*/ 1732323 w 5329829"/>
              <a:gd name="connsiteY31" fmla="*/ 2792108 h 2799554"/>
              <a:gd name="connsiteX32" fmla="*/ 1651528 w 5329829"/>
              <a:gd name="connsiteY32" fmla="*/ 2796086 h 2799554"/>
              <a:gd name="connsiteX33" fmla="*/ 1617342 w 5329829"/>
              <a:gd name="connsiteY33" fmla="*/ 2738076 h 2799554"/>
              <a:gd name="connsiteX34" fmla="*/ 1509001 w 5329829"/>
              <a:gd name="connsiteY34" fmla="*/ 2738075 h 2799554"/>
              <a:gd name="connsiteX35" fmla="*/ 1430790 w 5329829"/>
              <a:gd name="connsiteY35" fmla="*/ 2701199 h 2799554"/>
              <a:gd name="connsiteX36" fmla="*/ 1335655 w 5329829"/>
              <a:gd name="connsiteY36" fmla="*/ 2742410 h 2799554"/>
              <a:gd name="connsiteX37" fmla="*/ 1217271 w 5329829"/>
              <a:gd name="connsiteY37" fmla="*/ 2744651 h 2799554"/>
              <a:gd name="connsiteX38" fmla="*/ 1158252 w 5329829"/>
              <a:gd name="connsiteY38" fmla="*/ 2788083 h 2799554"/>
              <a:gd name="connsiteX39" fmla="*/ 1090050 w 5329829"/>
              <a:gd name="connsiteY39" fmla="*/ 2744652 h 2799554"/>
              <a:gd name="connsiteX40" fmla="*/ 1006298 w 5329829"/>
              <a:gd name="connsiteY40" fmla="*/ 2751077 h 2799554"/>
              <a:gd name="connsiteX41" fmla="*/ 931024 w 5329829"/>
              <a:gd name="connsiteY41" fmla="*/ 2720798 h 2799554"/>
              <a:gd name="connsiteX42" fmla="*/ 863233 w 5329829"/>
              <a:gd name="connsiteY42" fmla="*/ 2661083 h 2799554"/>
              <a:gd name="connsiteX43" fmla="*/ 780948 w 5329829"/>
              <a:gd name="connsiteY43" fmla="*/ 2751077 h 2799554"/>
              <a:gd name="connsiteX44" fmla="*/ 646219 w 5329829"/>
              <a:gd name="connsiteY44" fmla="*/ 2788082 h 2799554"/>
              <a:gd name="connsiteX45" fmla="*/ 533931 w 5329829"/>
              <a:gd name="connsiteY45" fmla="*/ 2764078 h 2799554"/>
              <a:gd name="connsiteX46" fmla="*/ 438867 w 5329829"/>
              <a:gd name="connsiteY46" fmla="*/ 2787377 h 2799554"/>
              <a:gd name="connsiteX47" fmla="*/ 376694 w 5329829"/>
              <a:gd name="connsiteY47" fmla="*/ 2656713 h 2799554"/>
              <a:gd name="connsiteX48" fmla="*/ 364156 w 5329829"/>
              <a:gd name="connsiteY48" fmla="*/ 181056 h 2799554"/>
              <a:gd name="connsiteX0" fmla="*/ 7 w 4965680"/>
              <a:gd name="connsiteY0" fmla="*/ 192 h 2618690"/>
              <a:gd name="connsiteX1" fmla="*/ 4964934 w 4965680"/>
              <a:gd name="connsiteY1" fmla="*/ 1277 h 2618690"/>
              <a:gd name="connsiteX2" fmla="*/ 4964935 w 4965680"/>
              <a:gd name="connsiteY2" fmla="*/ 2475849 h 2618690"/>
              <a:gd name="connsiteX3" fmla="*/ 4905864 w 4965680"/>
              <a:gd name="connsiteY3" fmla="*/ 2575378 h 2618690"/>
              <a:gd name="connsiteX4" fmla="*/ 4774018 w 4965680"/>
              <a:gd name="connsiteY4" fmla="*/ 2605804 h 2618690"/>
              <a:gd name="connsiteX5" fmla="*/ 4581502 w 4965680"/>
              <a:gd name="connsiteY5" fmla="*/ 2517626 h 2618690"/>
              <a:gd name="connsiteX6" fmla="*/ 4411557 w 4965680"/>
              <a:gd name="connsiteY6" fmla="*/ 2567704 h 2618690"/>
              <a:gd name="connsiteX7" fmla="*/ 4221358 w 4965680"/>
              <a:gd name="connsiteY7" fmla="*/ 2538782 h 2618690"/>
              <a:gd name="connsiteX8" fmla="*/ 4008888 w 4965680"/>
              <a:gd name="connsiteY8" fmla="*/ 2522652 h 2618690"/>
              <a:gd name="connsiteX9" fmla="*/ 3849050 w 4965680"/>
              <a:gd name="connsiteY9" fmla="*/ 2405534 h 2618690"/>
              <a:gd name="connsiteX10" fmla="*/ 3701705 w 4965680"/>
              <a:gd name="connsiteY10" fmla="*/ 2440203 h 2618690"/>
              <a:gd name="connsiteX11" fmla="*/ 3588103 w 4965680"/>
              <a:gd name="connsiteY11" fmla="*/ 2519131 h 2618690"/>
              <a:gd name="connsiteX12" fmla="*/ 3524397 w 4965680"/>
              <a:gd name="connsiteY12" fmla="*/ 2459613 h 2618690"/>
              <a:gd name="connsiteX13" fmla="*/ 3376682 w 4965680"/>
              <a:gd name="connsiteY13" fmla="*/ 2518209 h 2618690"/>
              <a:gd name="connsiteX14" fmla="*/ 3274772 w 4965680"/>
              <a:gd name="connsiteY14" fmla="*/ 2504948 h 2618690"/>
              <a:gd name="connsiteX15" fmla="*/ 3173338 w 4965680"/>
              <a:gd name="connsiteY15" fmla="*/ 2515098 h 2618690"/>
              <a:gd name="connsiteX16" fmla="*/ 3082510 w 4965680"/>
              <a:gd name="connsiteY16" fmla="*/ 2433662 h 2618690"/>
              <a:gd name="connsiteX17" fmla="*/ 2983228 w 4965680"/>
              <a:gd name="connsiteY17" fmla="*/ 2452110 h 2618690"/>
              <a:gd name="connsiteX18" fmla="*/ 2847976 w 4965680"/>
              <a:gd name="connsiteY18" fmla="*/ 2327528 h 2618690"/>
              <a:gd name="connsiteX19" fmla="*/ 2759050 w 4965680"/>
              <a:gd name="connsiteY19" fmla="*/ 2362302 h 2618690"/>
              <a:gd name="connsiteX20" fmla="*/ 2722276 w 4965680"/>
              <a:gd name="connsiteY20" fmla="*/ 2417230 h 2618690"/>
              <a:gd name="connsiteX21" fmla="*/ 2652963 w 4965680"/>
              <a:gd name="connsiteY21" fmla="*/ 2466204 h 2618690"/>
              <a:gd name="connsiteX22" fmla="*/ 2542159 w 4965680"/>
              <a:gd name="connsiteY22" fmla="*/ 2514798 h 2618690"/>
              <a:gd name="connsiteX23" fmla="*/ 2397312 w 4965680"/>
              <a:gd name="connsiteY23" fmla="*/ 2481633 h 2618690"/>
              <a:gd name="connsiteX24" fmla="*/ 2313137 w 4965680"/>
              <a:gd name="connsiteY24" fmla="*/ 2512480 h 2618690"/>
              <a:gd name="connsiteX25" fmla="*/ 2111256 w 4965680"/>
              <a:gd name="connsiteY25" fmla="*/ 2444537 h 2618690"/>
              <a:gd name="connsiteX26" fmla="*/ 1955130 w 4965680"/>
              <a:gd name="connsiteY26" fmla="*/ 2462583 h 2618690"/>
              <a:gd name="connsiteX27" fmla="*/ 1887989 w 4965680"/>
              <a:gd name="connsiteY27" fmla="*/ 2506431 h 2618690"/>
              <a:gd name="connsiteX28" fmla="*/ 1703893 w 4965680"/>
              <a:gd name="connsiteY28" fmla="*/ 2505208 h 2618690"/>
              <a:gd name="connsiteX29" fmla="*/ 1599886 w 4965680"/>
              <a:gd name="connsiteY29" fmla="*/ 2427203 h 2618690"/>
              <a:gd name="connsiteX30" fmla="*/ 1474245 w 4965680"/>
              <a:gd name="connsiteY30" fmla="*/ 2518619 h 2618690"/>
              <a:gd name="connsiteX31" fmla="*/ 1368174 w 4965680"/>
              <a:gd name="connsiteY31" fmla="*/ 2611244 h 2618690"/>
              <a:gd name="connsiteX32" fmla="*/ 1287379 w 4965680"/>
              <a:gd name="connsiteY32" fmla="*/ 2615222 h 2618690"/>
              <a:gd name="connsiteX33" fmla="*/ 1253193 w 4965680"/>
              <a:gd name="connsiteY33" fmla="*/ 2557212 h 2618690"/>
              <a:gd name="connsiteX34" fmla="*/ 1144852 w 4965680"/>
              <a:gd name="connsiteY34" fmla="*/ 2557211 h 2618690"/>
              <a:gd name="connsiteX35" fmla="*/ 1066641 w 4965680"/>
              <a:gd name="connsiteY35" fmla="*/ 2520335 h 2618690"/>
              <a:gd name="connsiteX36" fmla="*/ 971506 w 4965680"/>
              <a:gd name="connsiteY36" fmla="*/ 2561546 h 2618690"/>
              <a:gd name="connsiteX37" fmla="*/ 853122 w 4965680"/>
              <a:gd name="connsiteY37" fmla="*/ 2563787 h 2618690"/>
              <a:gd name="connsiteX38" fmla="*/ 794103 w 4965680"/>
              <a:gd name="connsiteY38" fmla="*/ 2607219 h 2618690"/>
              <a:gd name="connsiteX39" fmla="*/ 725901 w 4965680"/>
              <a:gd name="connsiteY39" fmla="*/ 2563788 h 2618690"/>
              <a:gd name="connsiteX40" fmla="*/ 642149 w 4965680"/>
              <a:gd name="connsiteY40" fmla="*/ 2570213 h 2618690"/>
              <a:gd name="connsiteX41" fmla="*/ 566875 w 4965680"/>
              <a:gd name="connsiteY41" fmla="*/ 2539934 h 2618690"/>
              <a:gd name="connsiteX42" fmla="*/ 499084 w 4965680"/>
              <a:gd name="connsiteY42" fmla="*/ 2480219 h 2618690"/>
              <a:gd name="connsiteX43" fmla="*/ 416799 w 4965680"/>
              <a:gd name="connsiteY43" fmla="*/ 2570213 h 2618690"/>
              <a:gd name="connsiteX44" fmla="*/ 282070 w 4965680"/>
              <a:gd name="connsiteY44" fmla="*/ 2607218 h 2618690"/>
              <a:gd name="connsiteX45" fmla="*/ 169782 w 4965680"/>
              <a:gd name="connsiteY45" fmla="*/ 2583214 h 2618690"/>
              <a:gd name="connsiteX46" fmla="*/ 74718 w 4965680"/>
              <a:gd name="connsiteY46" fmla="*/ 2606513 h 2618690"/>
              <a:gd name="connsiteX47" fmla="*/ 12545 w 4965680"/>
              <a:gd name="connsiteY47" fmla="*/ 2475849 h 2618690"/>
              <a:gd name="connsiteX48" fmla="*/ 7 w 4965680"/>
              <a:gd name="connsiteY48" fmla="*/ 192 h 2618690"/>
              <a:gd name="connsiteX0" fmla="*/ 7 w 4965680"/>
              <a:gd name="connsiteY0" fmla="*/ 192 h 2618690"/>
              <a:gd name="connsiteX1" fmla="*/ 4964934 w 4965680"/>
              <a:gd name="connsiteY1" fmla="*/ 1277 h 2618690"/>
              <a:gd name="connsiteX2" fmla="*/ 4964935 w 4965680"/>
              <a:gd name="connsiteY2" fmla="*/ 2475849 h 2618690"/>
              <a:gd name="connsiteX3" fmla="*/ 4905864 w 4965680"/>
              <a:gd name="connsiteY3" fmla="*/ 2575378 h 2618690"/>
              <a:gd name="connsiteX4" fmla="*/ 4774018 w 4965680"/>
              <a:gd name="connsiteY4" fmla="*/ 2605804 h 2618690"/>
              <a:gd name="connsiteX5" fmla="*/ 4581502 w 4965680"/>
              <a:gd name="connsiteY5" fmla="*/ 2517626 h 2618690"/>
              <a:gd name="connsiteX6" fmla="*/ 4411557 w 4965680"/>
              <a:gd name="connsiteY6" fmla="*/ 2567704 h 2618690"/>
              <a:gd name="connsiteX7" fmla="*/ 4221358 w 4965680"/>
              <a:gd name="connsiteY7" fmla="*/ 2538782 h 2618690"/>
              <a:gd name="connsiteX8" fmla="*/ 4008888 w 4965680"/>
              <a:gd name="connsiteY8" fmla="*/ 2522652 h 2618690"/>
              <a:gd name="connsiteX9" fmla="*/ 3849050 w 4965680"/>
              <a:gd name="connsiteY9" fmla="*/ 2405534 h 2618690"/>
              <a:gd name="connsiteX10" fmla="*/ 3701705 w 4965680"/>
              <a:gd name="connsiteY10" fmla="*/ 2440203 h 2618690"/>
              <a:gd name="connsiteX11" fmla="*/ 3588103 w 4965680"/>
              <a:gd name="connsiteY11" fmla="*/ 2519131 h 2618690"/>
              <a:gd name="connsiteX12" fmla="*/ 3524397 w 4965680"/>
              <a:gd name="connsiteY12" fmla="*/ 2459613 h 2618690"/>
              <a:gd name="connsiteX13" fmla="*/ 3376682 w 4965680"/>
              <a:gd name="connsiteY13" fmla="*/ 2518209 h 2618690"/>
              <a:gd name="connsiteX14" fmla="*/ 3274772 w 4965680"/>
              <a:gd name="connsiteY14" fmla="*/ 2504948 h 2618690"/>
              <a:gd name="connsiteX15" fmla="*/ 3173338 w 4965680"/>
              <a:gd name="connsiteY15" fmla="*/ 2515098 h 2618690"/>
              <a:gd name="connsiteX16" fmla="*/ 3082510 w 4965680"/>
              <a:gd name="connsiteY16" fmla="*/ 2433662 h 2618690"/>
              <a:gd name="connsiteX17" fmla="*/ 2983228 w 4965680"/>
              <a:gd name="connsiteY17" fmla="*/ 2452110 h 2618690"/>
              <a:gd name="connsiteX18" fmla="*/ 2847976 w 4965680"/>
              <a:gd name="connsiteY18" fmla="*/ 2327528 h 2618690"/>
              <a:gd name="connsiteX19" fmla="*/ 2759050 w 4965680"/>
              <a:gd name="connsiteY19" fmla="*/ 2362302 h 2618690"/>
              <a:gd name="connsiteX20" fmla="*/ 2722276 w 4965680"/>
              <a:gd name="connsiteY20" fmla="*/ 2417230 h 2618690"/>
              <a:gd name="connsiteX21" fmla="*/ 2652963 w 4965680"/>
              <a:gd name="connsiteY21" fmla="*/ 2466204 h 2618690"/>
              <a:gd name="connsiteX22" fmla="*/ 2542159 w 4965680"/>
              <a:gd name="connsiteY22" fmla="*/ 2514798 h 2618690"/>
              <a:gd name="connsiteX23" fmla="*/ 2397312 w 4965680"/>
              <a:gd name="connsiteY23" fmla="*/ 2481633 h 2618690"/>
              <a:gd name="connsiteX24" fmla="*/ 2313137 w 4965680"/>
              <a:gd name="connsiteY24" fmla="*/ 2512480 h 2618690"/>
              <a:gd name="connsiteX25" fmla="*/ 2111256 w 4965680"/>
              <a:gd name="connsiteY25" fmla="*/ 2444537 h 2618690"/>
              <a:gd name="connsiteX26" fmla="*/ 1955130 w 4965680"/>
              <a:gd name="connsiteY26" fmla="*/ 2462583 h 2618690"/>
              <a:gd name="connsiteX27" fmla="*/ 1887989 w 4965680"/>
              <a:gd name="connsiteY27" fmla="*/ 2506431 h 2618690"/>
              <a:gd name="connsiteX28" fmla="*/ 1703893 w 4965680"/>
              <a:gd name="connsiteY28" fmla="*/ 2505208 h 2618690"/>
              <a:gd name="connsiteX29" fmla="*/ 1599886 w 4965680"/>
              <a:gd name="connsiteY29" fmla="*/ 2427203 h 2618690"/>
              <a:gd name="connsiteX30" fmla="*/ 1474245 w 4965680"/>
              <a:gd name="connsiteY30" fmla="*/ 2518619 h 2618690"/>
              <a:gd name="connsiteX31" fmla="*/ 1368174 w 4965680"/>
              <a:gd name="connsiteY31" fmla="*/ 2611244 h 2618690"/>
              <a:gd name="connsiteX32" fmla="*/ 1287379 w 4965680"/>
              <a:gd name="connsiteY32" fmla="*/ 2615222 h 2618690"/>
              <a:gd name="connsiteX33" fmla="*/ 1253193 w 4965680"/>
              <a:gd name="connsiteY33" fmla="*/ 2557212 h 2618690"/>
              <a:gd name="connsiteX34" fmla="*/ 1144852 w 4965680"/>
              <a:gd name="connsiteY34" fmla="*/ 2557211 h 2618690"/>
              <a:gd name="connsiteX35" fmla="*/ 1066641 w 4965680"/>
              <a:gd name="connsiteY35" fmla="*/ 2520335 h 2618690"/>
              <a:gd name="connsiteX36" fmla="*/ 971506 w 4965680"/>
              <a:gd name="connsiteY36" fmla="*/ 2561546 h 2618690"/>
              <a:gd name="connsiteX37" fmla="*/ 853122 w 4965680"/>
              <a:gd name="connsiteY37" fmla="*/ 2563787 h 2618690"/>
              <a:gd name="connsiteX38" fmla="*/ 794103 w 4965680"/>
              <a:gd name="connsiteY38" fmla="*/ 2607219 h 2618690"/>
              <a:gd name="connsiteX39" fmla="*/ 725901 w 4965680"/>
              <a:gd name="connsiteY39" fmla="*/ 2563788 h 2618690"/>
              <a:gd name="connsiteX40" fmla="*/ 642149 w 4965680"/>
              <a:gd name="connsiteY40" fmla="*/ 2570213 h 2618690"/>
              <a:gd name="connsiteX41" fmla="*/ 566875 w 4965680"/>
              <a:gd name="connsiteY41" fmla="*/ 2539934 h 2618690"/>
              <a:gd name="connsiteX42" fmla="*/ 499084 w 4965680"/>
              <a:gd name="connsiteY42" fmla="*/ 2480219 h 2618690"/>
              <a:gd name="connsiteX43" fmla="*/ 416799 w 4965680"/>
              <a:gd name="connsiteY43" fmla="*/ 2570213 h 2618690"/>
              <a:gd name="connsiteX44" fmla="*/ 282070 w 4965680"/>
              <a:gd name="connsiteY44" fmla="*/ 2607218 h 2618690"/>
              <a:gd name="connsiteX45" fmla="*/ 169782 w 4965680"/>
              <a:gd name="connsiteY45" fmla="*/ 2583214 h 2618690"/>
              <a:gd name="connsiteX46" fmla="*/ 74718 w 4965680"/>
              <a:gd name="connsiteY46" fmla="*/ 2606513 h 2618690"/>
              <a:gd name="connsiteX47" fmla="*/ 12545 w 4965680"/>
              <a:gd name="connsiteY47" fmla="*/ 2475849 h 2618690"/>
              <a:gd name="connsiteX48" fmla="*/ 7 w 4965680"/>
              <a:gd name="connsiteY48" fmla="*/ 192 h 2618690"/>
              <a:gd name="connsiteX0" fmla="*/ 7 w 4965680"/>
              <a:gd name="connsiteY0" fmla="*/ 0 h 2618498"/>
              <a:gd name="connsiteX1" fmla="*/ 4964934 w 4965680"/>
              <a:gd name="connsiteY1" fmla="*/ 1085 h 2618498"/>
              <a:gd name="connsiteX2" fmla="*/ 4964935 w 4965680"/>
              <a:gd name="connsiteY2" fmla="*/ 2475657 h 2618498"/>
              <a:gd name="connsiteX3" fmla="*/ 4905864 w 4965680"/>
              <a:gd name="connsiteY3" fmla="*/ 2575186 h 2618498"/>
              <a:gd name="connsiteX4" fmla="*/ 4774018 w 4965680"/>
              <a:gd name="connsiteY4" fmla="*/ 2605612 h 2618498"/>
              <a:gd name="connsiteX5" fmla="*/ 4581502 w 4965680"/>
              <a:gd name="connsiteY5" fmla="*/ 2517434 h 2618498"/>
              <a:gd name="connsiteX6" fmla="*/ 4411557 w 4965680"/>
              <a:gd name="connsiteY6" fmla="*/ 2567512 h 2618498"/>
              <a:gd name="connsiteX7" fmla="*/ 4221358 w 4965680"/>
              <a:gd name="connsiteY7" fmla="*/ 2538590 h 2618498"/>
              <a:gd name="connsiteX8" fmla="*/ 4008888 w 4965680"/>
              <a:gd name="connsiteY8" fmla="*/ 2522460 h 2618498"/>
              <a:gd name="connsiteX9" fmla="*/ 3849050 w 4965680"/>
              <a:gd name="connsiteY9" fmla="*/ 2405342 h 2618498"/>
              <a:gd name="connsiteX10" fmla="*/ 3701705 w 4965680"/>
              <a:gd name="connsiteY10" fmla="*/ 2440011 h 2618498"/>
              <a:gd name="connsiteX11" fmla="*/ 3588103 w 4965680"/>
              <a:gd name="connsiteY11" fmla="*/ 2518939 h 2618498"/>
              <a:gd name="connsiteX12" fmla="*/ 3524397 w 4965680"/>
              <a:gd name="connsiteY12" fmla="*/ 2459421 h 2618498"/>
              <a:gd name="connsiteX13" fmla="*/ 3376682 w 4965680"/>
              <a:gd name="connsiteY13" fmla="*/ 2518017 h 2618498"/>
              <a:gd name="connsiteX14" fmla="*/ 3274772 w 4965680"/>
              <a:gd name="connsiteY14" fmla="*/ 2504756 h 2618498"/>
              <a:gd name="connsiteX15" fmla="*/ 3173338 w 4965680"/>
              <a:gd name="connsiteY15" fmla="*/ 2514906 h 2618498"/>
              <a:gd name="connsiteX16" fmla="*/ 3082510 w 4965680"/>
              <a:gd name="connsiteY16" fmla="*/ 2433470 h 2618498"/>
              <a:gd name="connsiteX17" fmla="*/ 2983228 w 4965680"/>
              <a:gd name="connsiteY17" fmla="*/ 2451918 h 2618498"/>
              <a:gd name="connsiteX18" fmla="*/ 2847976 w 4965680"/>
              <a:gd name="connsiteY18" fmla="*/ 2327336 h 2618498"/>
              <a:gd name="connsiteX19" fmla="*/ 2759050 w 4965680"/>
              <a:gd name="connsiteY19" fmla="*/ 2362110 h 2618498"/>
              <a:gd name="connsiteX20" fmla="*/ 2722276 w 4965680"/>
              <a:gd name="connsiteY20" fmla="*/ 2417038 h 2618498"/>
              <a:gd name="connsiteX21" fmla="*/ 2652963 w 4965680"/>
              <a:gd name="connsiteY21" fmla="*/ 2466012 h 2618498"/>
              <a:gd name="connsiteX22" fmla="*/ 2542159 w 4965680"/>
              <a:gd name="connsiteY22" fmla="*/ 2514606 h 2618498"/>
              <a:gd name="connsiteX23" fmla="*/ 2397312 w 4965680"/>
              <a:gd name="connsiteY23" fmla="*/ 2481441 h 2618498"/>
              <a:gd name="connsiteX24" fmla="*/ 2313137 w 4965680"/>
              <a:gd name="connsiteY24" fmla="*/ 2512288 h 2618498"/>
              <a:gd name="connsiteX25" fmla="*/ 2111256 w 4965680"/>
              <a:gd name="connsiteY25" fmla="*/ 2444345 h 2618498"/>
              <a:gd name="connsiteX26" fmla="*/ 1955130 w 4965680"/>
              <a:gd name="connsiteY26" fmla="*/ 2462391 h 2618498"/>
              <a:gd name="connsiteX27" fmla="*/ 1887989 w 4965680"/>
              <a:gd name="connsiteY27" fmla="*/ 2506239 h 2618498"/>
              <a:gd name="connsiteX28" fmla="*/ 1703893 w 4965680"/>
              <a:gd name="connsiteY28" fmla="*/ 2505016 h 2618498"/>
              <a:gd name="connsiteX29" fmla="*/ 1599886 w 4965680"/>
              <a:gd name="connsiteY29" fmla="*/ 2427011 h 2618498"/>
              <a:gd name="connsiteX30" fmla="*/ 1474245 w 4965680"/>
              <a:gd name="connsiteY30" fmla="*/ 2518427 h 2618498"/>
              <a:gd name="connsiteX31" fmla="*/ 1368174 w 4965680"/>
              <a:gd name="connsiteY31" fmla="*/ 2611052 h 2618498"/>
              <a:gd name="connsiteX32" fmla="*/ 1287379 w 4965680"/>
              <a:gd name="connsiteY32" fmla="*/ 2615030 h 2618498"/>
              <a:gd name="connsiteX33" fmla="*/ 1253193 w 4965680"/>
              <a:gd name="connsiteY33" fmla="*/ 2557020 h 2618498"/>
              <a:gd name="connsiteX34" fmla="*/ 1144852 w 4965680"/>
              <a:gd name="connsiteY34" fmla="*/ 2557019 h 2618498"/>
              <a:gd name="connsiteX35" fmla="*/ 1066641 w 4965680"/>
              <a:gd name="connsiteY35" fmla="*/ 2520143 h 2618498"/>
              <a:gd name="connsiteX36" fmla="*/ 971506 w 4965680"/>
              <a:gd name="connsiteY36" fmla="*/ 2561354 h 2618498"/>
              <a:gd name="connsiteX37" fmla="*/ 853122 w 4965680"/>
              <a:gd name="connsiteY37" fmla="*/ 2563595 h 2618498"/>
              <a:gd name="connsiteX38" fmla="*/ 794103 w 4965680"/>
              <a:gd name="connsiteY38" fmla="*/ 2607027 h 2618498"/>
              <a:gd name="connsiteX39" fmla="*/ 725901 w 4965680"/>
              <a:gd name="connsiteY39" fmla="*/ 2563596 h 2618498"/>
              <a:gd name="connsiteX40" fmla="*/ 642149 w 4965680"/>
              <a:gd name="connsiteY40" fmla="*/ 2570021 h 2618498"/>
              <a:gd name="connsiteX41" fmla="*/ 566875 w 4965680"/>
              <a:gd name="connsiteY41" fmla="*/ 2539742 h 2618498"/>
              <a:gd name="connsiteX42" fmla="*/ 499084 w 4965680"/>
              <a:gd name="connsiteY42" fmla="*/ 2480027 h 2618498"/>
              <a:gd name="connsiteX43" fmla="*/ 416799 w 4965680"/>
              <a:gd name="connsiteY43" fmla="*/ 2570021 h 2618498"/>
              <a:gd name="connsiteX44" fmla="*/ 282070 w 4965680"/>
              <a:gd name="connsiteY44" fmla="*/ 2607026 h 2618498"/>
              <a:gd name="connsiteX45" fmla="*/ 169782 w 4965680"/>
              <a:gd name="connsiteY45" fmla="*/ 2583022 h 2618498"/>
              <a:gd name="connsiteX46" fmla="*/ 74718 w 4965680"/>
              <a:gd name="connsiteY46" fmla="*/ 2606321 h 2618498"/>
              <a:gd name="connsiteX47" fmla="*/ 12545 w 4965680"/>
              <a:gd name="connsiteY47" fmla="*/ 2475657 h 2618498"/>
              <a:gd name="connsiteX48" fmla="*/ 7 w 4965680"/>
              <a:gd name="connsiteY48" fmla="*/ 0 h 2618498"/>
              <a:gd name="connsiteX0" fmla="*/ 0 w 4965673"/>
              <a:gd name="connsiteY0" fmla="*/ 128934 h 2747432"/>
              <a:gd name="connsiteX1" fmla="*/ 4964927 w 4965673"/>
              <a:gd name="connsiteY1" fmla="*/ 130019 h 2747432"/>
              <a:gd name="connsiteX2" fmla="*/ 4964928 w 4965673"/>
              <a:gd name="connsiteY2" fmla="*/ 2604591 h 2747432"/>
              <a:gd name="connsiteX3" fmla="*/ 4905857 w 4965673"/>
              <a:gd name="connsiteY3" fmla="*/ 2704120 h 2747432"/>
              <a:gd name="connsiteX4" fmla="*/ 4774011 w 4965673"/>
              <a:gd name="connsiteY4" fmla="*/ 2734546 h 2747432"/>
              <a:gd name="connsiteX5" fmla="*/ 4581495 w 4965673"/>
              <a:gd name="connsiteY5" fmla="*/ 2646368 h 2747432"/>
              <a:gd name="connsiteX6" fmla="*/ 4411550 w 4965673"/>
              <a:gd name="connsiteY6" fmla="*/ 2696446 h 2747432"/>
              <a:gd name="connsiteX7" fmla="*/ 4221351 w 4965673"/>
              <a:gd name="connsiteY7" fmla="*/ 2667524 h 2747432"/>
              <a:gd name="connsiteX8" fmla="*/ 4008881 w 4965673"/>
              <a:gd name="connsiteY8" fmla="*/ 2651394 h 2747432"/>
              <a:gd name="connsiteX9" fmla="*/ 3849043 w 4965673"/>
              <a:gd name="connsiteY9" fmla="*/ 2534276 h 2747432"/>
              <a:gd name="connsiteX10" fmla="*/ 3701698 w 4965673"/>
              <a:gd name="connsiteY10" fmla="*/ 2568945 h 2747432"/>
              <a:gd name="connsiteX11" fmla="*/ 3588096 w 4965673"/>
              <a:gd name="connsiteY11" fmla="*/ 2647873 h 2747432"/>
              <a:gd name="connsiteX12" fmla="*/ 3524390 w 4965673"/>
              <a:gd name="connsiteY12" fmla="*/ 2588355 h 2747432"/>
              <a:gd name="connsiteX13" fmla="*/ 3376675 w 4965673"/>
              <a:gd name="connsiteY13" fmla="*/ 2646951 h 2747432"/>
              <a:gd name="connsiteX14" fmla="*/ 3274765 w 4965673"/>
              <a:gd name="connsiteY14" fmla="*/ 2633690 h 2747432"/>
              <a:gd name="connsiteX15" fmla="*/ 3173331 w 4965673"/>
              <a:gd name="connsiteY15" fmla="*/ 2643840 h 2747432"/>
              <a:gd name="connsiteX16" fmla="*/ 3082503 w 4965673"/>
              <a:gd name="connsiteY16" fmla="*/ 2562404 h 2747432"/>
              <a:gd name="connsiteX17" fmla="*/ 2983221 w 4965673"/>
              <a:gd name="connsiteY17" fmla="*/ 2580852 h 2747432"/>
              <a:gd name="connsiteX18" fmla="*/ 2847969 w 4965673"/>
              <a:gd name="connsiteY18" fmla="*/ 2456270 h 2747432"/>
              <a:gd name="connsiteX19" fmla="*/ 2759043 w 4965673"/>
              <a:gd name="connsiteY19" fmla="*/ 2491044 h 2747432"/>
              <a:gd name="connsiteX20" fmla="*/ 2722269 w 4965673"/>
              <a:gd name="connsiteY20" fmla="*/ 2545972 h 2747432"/>
              <a:gd name="connsiteX21" fmla="*/ 2652956 w 4965673"/>
              <a:gd name="connsiteY21" fmla="*/ 2594946 h 2747432"/>
              <a:gd name="connsiteX22" fmla="*/ 2542152 w 4965673"/>
              <a:gd name="connsiteY22" fmla="*/ 2643540 h 2747432"/>
              <a:gd name="connsiteX23" fmla="*/ 2397305 w 4965673"/>
              <a:gd name="connsiteY23" fmla="*/ 2610375 h 2747432"/>
              <a:gd name="connsiteX24" fmla="*/ 2313130 w 4965673"/>
              <a:gd name="connsiteY24" fmla="*/ 2641222 h 2747432"/>
              <a:gd name="connsiteX25" fmla="*/ 2111249 w 4965673"/>
              <a:gd name="connsiteY25" fmla="*/ 2573279 h 2747432"/>
              <a:gd name="connsiteX26" fmla="*/ 1955123 w 4965673"/>
              <a:gd name="connsiteY26" fmla="*/ 2591325 h 2747432"/>
              <a:gd name="connsiteX27" fmla="*/ 1887982 w 4965673"/>
              <a:gd name="connsiteY27" fmla="*/ 2635173 h 2747432"/>
              <a:gd name="connsiteX28" fmla="*/ 1703886 w 4965673"/>
              <a:gd name="connsiteY28" fmla="*/ 2633950 h 2747432"/>
              <a:gd name="connsiteX29" fmla="*/ 1599879 w 4965673"/>
              <a:gd name="connsiteY29" fmla="*/ 2555945 h 2747432"/>
              <a:gd name="connsiteX30" fmla="*/ 1474238 w 4965673"/>
              <a:gd name="connsiteY30" fmla="*/ 2647361 h 2747432"/>
              <a:gd name="connsiteX31" fmla="*/ 1368167 w 4965673"/>
              <a:gd name="connsiteY31" fmla="*/ 2739986 h 2747432"/>
              <a:gd name="connsiteX32" fmla="*/ 1287372 w 4965673"/>
              <a:gd name="connsiteY32" fmla="*/ 2743964 h 2747432"/>
              <a:gd name="connsiteX33" fmla="*/ 1253186 w 4965673"/>
              <a:gd name="connsiteY33" fmla="*/ 2685954 h 2747432"/>
              <a:gd name="connsiteX34" fmla="*/ 1144845 w 4965673"/>
              <a:gd name="connsiteY34" fmla="*/ 2685953 h 2747432"/>
              <a:gd name="connsiteX35" fmla="*/ 1066634 w 4965673"/>
              <a:gd name="connsiteY35" fmla="*/ 2649077 h 2747432"/>
              <a:gd name="connsiteX36" fmla="*/ 971499 w 4965673"/>
              <a:gd name="connsiteY36" fmla="*/ 2690288 h 2747432"/>
              <a:gd name="connsiteX37" fmla="*/ 853115 w 4965673"/>
              <a:gd name="connsiteY37" fmla="*/ 2692529 h 2747432"/>
              <a:gd name="connsiteX38" fmla="*/ 794096 w 4965673"/>
              <a:gd name="connsiteY38" fmla="*/ 2735961 h 2747432"/>
              <a:gd name="connsiteX39" fmla="*/ 725894 w 4965673"/>
              <a:gd name="connsiteY39" fmla="*/ 2692530 h 2747432"/>
              <a:gd name="connsiteX40" fmla="*/ 642142 w 4965673"/>
              <a:gd name="connsiteY40" fmla="*/ 2698955 h 2747432"/>
              <a:gd name="connsiteX41" fmla="*/ 566868 w 4965673"/>
              <a:gd name="connsiteY41" fmla="*/ 2668676 h 2747432"/>
              <a:gd name="connsiteX42" fmla="*/ 499077 w 4965673"/>
              <a:gd name="connsiteY42" fmla="*/ 2608961 h 2747432"/>
              <a:gd name="connsiteX43" fmla="*/ 416792 w 4965673"/>
              <a:gd name="connsiteY43" fmla="*/ 2698955 h 2747432"/>
              <a:gd name="connsiteX44" fmla="*/ 282063 w 4965673"/>
              <a:gd name="connsiteY44" fmla="*/ 2735960 h 2747432"/>
              <a:gd name="connsiteX45" fmla="*/ 169775 w 4965673"/>
              <a:gd name="connsiteY45" fmla="*/ 2711956 h 2747432"/>
              <a:gd name="connsiteX46" fmla="*/ 74711 w 4965673"/>
              <a:gd name="connsiteY46" fmla="*/ 2735255 h 2747432"/>
              <a:gd name="connsiteX47" fmla="*/ 12538 w 4965673"/>
              <a:gd name="connsiteY47" fmla="*/ 2604591 h 2747432"/>
              <a:gd name="connsiteX48" fmla="*/ 0 w 4965673"/>
              <a:gd name="connsiteY48" fmla="*/ 128934 h 2747432"/>
              <a:gd name="connsiteX0" fmla="*/ 0 w 4965673"/>
              <a:gd name="connsiteY0" fmla="*/ 0 h 2618498"/>
              <a:gd name="connsiteX1" fmla="*/ 4964927 w 4965673"/>
              <a:gd name="connsiteY1" fmla="*/ 1085 h 2618498"/>
              <a:gd name="connsiteX2" fmla="*/ 4964928 w 4965673"/>
              <a:gd name="connsiteY2" fmla="*/ 2475657 h 2618498"/>
              <a:gd name="connsiteX3" fmla="*/ 4905857 w 4965673"/>
              <a:gd name="connsiteY3" fmla="*/ 2575186 h 2618498"/>
              <a:gd name="connsiteX4" fmla="*/ 4774011 w 4965673"/>
              <a:gd name="connsiteY4" fmla="*/ 2605612 h 2618498"/>
              <a:gd name="connsiteX5" fmla="*/ 4581495 w 4965673"/>
              <a:gd name="connsiteY5" fmla="*/ 2517434 h 2618498"/>
              <a:gd name="connsiteX6" fmla="*/ 4411550 w 4965673"/>
              <a:gd name="connsiteY6" fmla="*/ 2567512 h 2618498"/>
              <a:gd name="connsiteX7" fmla="*/ 4221351 w 4965673"/>
              <a:gd name="connsiteY7" fmla="*/ 2538590 h 2618498"/>
              <a:gd name="connsiteX8" fmla="*/ 4008881 w 4965673"/>
              <a:gd name="connsiteY8" fmla="*/ 2522460 h 2618498"/>
              <a:gd name="connsiteX9" fmla="*/ 3849043 w 4965673"/>
              <a:gd name="connsiteY9" fmla="*/ 2405342 h 2618498"/>
              <a:gd name="connsiteX10" fmla="*/ 3701698 w 4965673"/>
              <a:gd name="connsiteY10" fmla="*/ 2440011 h 2618498"/>
              <a:gd name="connsiteX11" fmla="*/ 3588096 w 4965673"/>
              <a:gd name="connsiteY11" fmla="*/ 2518939 h 2618498"/>
              <a:gd name="connsiteX12" fmla="*/ 3524390 w 4965673"/>
              <a:gd name="connsiteY12" fmla="*/ 2459421 h 2618498"/>
              <a:gd name="connsiteX13" fmla="*/ 3376675 w 4965673"/>
              <a:gd name="connsiteY13" fmla="*/ 2518017 h 2618498"/>
              <a:gd name="connsiteX14" fmla="*/ 3274765 w 4965673"/>
              <a:gd name="connsiteY14" fmla="*/ 2504756 h 2618498"/>
              <a:gd name="connsiteX15" fmla="*/ 3173331 w 4965673"/>
              <a:gd name="connsiteY15" fmla="*/ 2514906 h 2618498"/>
              <a:gd name="connsiteX16" fmla="*/ 3082503 w 4965673"/>
              <a:gd name="connsiteY16" fmla="*/ 2433470 h 2618498"/>
              <a:gd name="connsiteX17" fmla="*/ 2983221 w 4965673"/>
              <a:gd name="connsiteY17" fmla="*/ 2451918 h 2618498"/>
              <a:gd name="connsiteX18" fmla="*/ 2847969 w 4965673"/>
              <a:gd name="connsiteY18" fmla="*/ 2327336 h 2618498"/>
              <a:gd name="connsiteX19" fmla="*/ 2759043 w 4965673"/>
              <a:gd name="connsiteY19" fmla="*/ 2362110 h 2618498"/>
              <a:gd name="connsiteX20" fmla="*/ 2722269 w 4965673"/>
              <a:gd name="connsiteY20" fmla="*/ 2417038 h 2618498"/>
              <a:gd name="connsiteX21" fmla="*/ 2652956 w 4965673"/>
              <a:gd name="connsiteY21" fmla="*/ 2466012 h 2618498"/>
              <a:gd name="connsiteX22" fmla="*/ 2542152 w 4965673"/>
              <a:gd name="connsiteY22" fmla="*/ 2514606 h 2618498"/>
              <a:gd name="connsiteX23" fmla="*/ 2397305 w 4965673"/>
              <a:gd name="connsiteY23" fmla="*/ 2481441 h 2618498"/>
              <a:gd name="connsiteX24" fmla="*/ 2313130 w 4965673"/>
              <a:gd name="connsiteY24" fmla="*/ 2512288 h 2618498"/>
              <a:gd name="connsiteX25" fmla="*/ 2111249 w 4965673"/>
              <a:gd name="connsiteY25" fmla="*/ 2444345 h 2618498"/>
              <a:gd name="connsiteX26" fmla="*/ 1955123 w 4965673"/>
              <a:gd name="connsiteY26" fmla="*/ 2462391 h 2618498"/>
              <a:gd name="connsiteX27" fmla="*/ 1887982 w 4965673"/>
              <a:gd name="connsiteY27" fmla="*/ 2506239 h 2618498"/>
              <a:gd name="connsiteX28" fmla="*/ 1703886 w 4965673"/>
              <a:gd name="connsiteY28" fmla="*/ 2505016 h 2618498"/>
              <a:gd name="connsiteX29" fmla="*/ 1599879 w 4965673"/>
              <a:gd name="connsiteY29" fmla="*/ 2427011 h 2618498"/>
              <a:gd name="connsiteX30" fmla="*/ 1474238 w 4965673"/>
              <a:gd name="connsiteY30" fmla="*/ 2518427 h 2618498"/>
              <a:gd name="connsiteX31" fmla="*/ 1368167 w 4965673"/>
              <a:gd name="connsiteY31" fmla="*/ 2611052 h 2618498"/>
              <a:gd name="connsiteX32" fmla="*/ 1287372 w 4965673"/>
              <a:gd name="connsiteY32" fmla="*/ 2615030 h 2618498"/>
              <a:gd name="connsiteX33" fmla="*/ 1253186 w 4965673"/>
              <a:gd name="connsiteY33" fmla="*/ 2557020 h 2618498"/>
              <a:gd name="connsiteX34" fmla="*/ 1144845 w 4965673"/>
              <a:gd name="connsiteY34" fmla="*/ 2557019 h 2618498"/>
              <a:gd name="connsiteX35" fmla="*/ 1066634 w 4965673"/>
              <a:gd name="connsiteY35" fmla="*/ 2520143 h 2618498"/>
              <a:gd name="connsiteX36" fmla="*/ 971499 w 4965673"/>
              <a:gd name="connsiteY36" fmla="*/ 2561354 h 2618498"/>
              <a:gd name="connsiteX37" fmla="*/ 853115 w 4965673"/>
              <a:gd name="connsiteY37" fmla="*/ 2563595 h 2618498"/>
              <a:gd name="connsiteX38" fmla="*/ 794096 w 4965673"/>
              <a:gd name="connsiteY38" fmla="*/ 2607027 h 2618498"/>
              <a:gd name="connsiteX39" fmla="*/ 725894 w 4965673"/>
              <a:gd name="connsiteY39" fmla="*/ 2563596 h 2618498"/>
              <a:gd name="connsiteX40" fmla="*/ 642142 w 4965673"/>
              <a:gd name="connsiteY40" fmla="*/ 2570021 h 2618498"/>
              <a:gd name="connsiteX41" fmla="*/ 566868 w 4965673"/>
              <a:gd name="connsiteY41" fmla="*/ 2539742 h 2618498"/>
              <a:gd name="connsiteX42" fmla="*/ 499077 w 4965673"/>
              <a:gd name="connsiteY42" fmla="*/ 2480027 h 2618498"/>
              <a:gd name="connsiteX43" fmla="*/ 416792 w 4965673"/>
              <a:gd name="connsiteY43" fmla="*/ 2570021 h 2618498"/>
              <a:gd name="connsiteX44" fmla="*/ 282063 w 4965673"/>
              <a:gd name="connsiteY44" fmla="*/ 2607026 h 2618498"/>
              <a:gd name="connsiteX45" fmla="*/ 169775 w 4965673"/>
              <a:gd name="connsiteY45" fmla="*/ 2583022 h 2618498"/>
              <a:gd name="connsiteX46" fmla="*/ 74711 w 4965673"/>
              <a:gd name="connsiteY46" fmla="*/ 2606321 h 2618498"/>
              <a:gd name="connsiteX47" fmla="*/ 12538 w 4965673"/>
              <a:gd name="connsiteY47" fmla="*/ 2475657 h 2618498"/>
              <a:gd name="connsiteX48" fmla="*/ 0 w 4965673"/>
              <a:gd name="connsiteY48" fmla="*/ 0 h 2618498"/>
              <a:gd name="connsiteX0" fmla="*/ 2759 w 4968432"/>
              <a:gd name="connsiteY0" fmla="*/ 0 h 2618498"/>
              <a:gd name="connsiteX1" fmla="*/ 4967686 w 4968432"/>
              <a:gd name="connsiteY1" fmla="*/ 1085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4968432"/>
              <a:gd name="connsiteY0" fmla="*/ 0 h 2618498"/>
              <a:gd name="connsiteX1" fmla="*/ 4788963 w 4968432"/>
              <a:gd name="connsiteY1" fmla="*/ 224491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4973271"/>
              <a:gd name="connsiteY0" fmla="*/ 0 h 2618498"/>
              <a:gd name="connsiteX1" fmla="*/ 4973271 w 4973271"/>
              <a:gd name="connsiteY1" fmla="*/ 12258 h 2618498"/>
              <a:gd name="connsiteX2" fmla="*/ 4967687 w 4973271"/>
              <a:gd name="connsiteY2" fmla="*/ 2475657 h 2618498"/>
              <a:gd name="connsiteX3" fmla="*/ 4908616 w 4973271"/>
              <a:gd name="connsiteY3" fmla="*/ 2575186 h 2618498"/>
              <a:gd name="connsiteX4" fmla="*/ 4776770 w 4973271"/>
              <a:gd name="connsiteY4" fmla="*/ 2605612 h 2618498"/>
              <a:gd name="connsiteX5" fmla="*/ 4584254 w 4973271"/>
              <a:gd name="connsiteY5" fmla="*/ 2517434 h 2618498"/>
              <a:gd name="connsiteX6" fmla="*/ 4414309 w 4973271"/>
              <a:gd name="connsiteY6" fmla="*/ 2567512 h 2618498"/>
              <a:gd name="connsiteX7" fmla="*/ 4224110 w 4973271"/>
              <a:gd name="connsiteY7" fmla="*/ 2538590 h 2618498"/>
              <a:gd name="connsiteX8" fmla="*/ 4011640 w 4973271"/>
              <a:gd name="connsiteY8" fmla="*/ 2522460 h 2618498"/>
              <a:gd name="connsiteX9" fmla="*/ 3851802 w 4973271"/>
              <a:gd name="connsiteY9" fmla="*/ 2405342 h 2618498"/>
              <a:gd name="connsiteX10" fmla="*/ 3704457 w 4973271"/>
              <a:gd name="connsiteY10" fmla="*/ 2440011 h 2618498"/>
              <a:gd name="connsiteX11" fmla="*/ 3590855 w 4973271"/>
              <a:gd name="connsiteY11" fmla="*/ 2518939 h 2618498"/>
              <a:gd name="connsiteX12" fmla="*/ 3527149 w 4973271"/>
              <a:gd name="connsiteY12" fmla="*/ 2459421 h 2618498"/>
              <a:gd name="connsiteX13" fmla="*/ 3379434 w 4973271"/>
              <a:gd name="connsiteY13" fmla="*/ 2518017 h 2618498"/>
              <a:gd name="connsiteX14" fmla="*/ 3277524 w 4973271"/>
              <a:gd name="connsiteY14" fmla="*/ 2504756 h 2618498"/>
              <a:gd name="connsiteX15" fmla="*/ 3176090 w 4973271"/>
              <a:gd name="connsiteY15" fmla="*/ 2514906 h 2618498"/>
              <a:gd name="connsiteX16" fmla="*/ 3085262 w 4973271"/>
              <a:gd name="connsiteY16" fmla="*/ 2433470 h 2618498"/>
              <a:gd name="connsiteX17" fmla="*/ 2985980 w 4973271"/>
              <a:gd name="connsiteY17" fmla="*/ 2451918 h 2618498"/>
              <a:gd name="connsiteX18" fmla="*/ 2850728 w 4973271"/>
              <a:gd name="connsiteY18" fmla="*/ 2327336 h 2618498"/>
              <a:gd name="connsiteX19" fmla="*/ 2761802 w 4973271"/>
              <a:gd name="connsiteY19" fmla="*/ 2362110 h 2618498"/>
              <a:gd name="connsiteX20" fmla="*/ 2725028 w 4973271"/>
              <a:gd name="connsiteY20" fmla="*/ 2417038 h 2618498"/>
              <a:gd name="connsiteX21" fmla="*/ 2655715 w 4973271"/>
              <a:gd name="connsiteY21" fmla="*/ 2466012 h 2618498"/>
              <a:gd name="connsiteX22" fmla="*/ 2544911 w 4973271"/>
              <a:gd name="connsiteY22" fmla="*/ 2514606 h 2618498"/>
              <a:gd name="connsiteX23" fmla="*/ 2400064 w 4973271"/>
              <a:gd name="connsiteY23" fmla="*/ 2481441 h 2618498"/>
              <a:gd name="connsiteX24" fmla="*/ 2315889 w 4973271"/>
              <a:gd name="connsiteY24" fmla="*/ 2512288 h 2618498"/>
              <a:gd name="connsiteX25" fmla="*/ 2114008 w 4973271"/>
              <a:gd name="connsiteY25" fmla="*/ 2444345 h 2618498"/>
              <a:gd name="connsiteX26" fmla="*/ 1957882 w 4973271"/>
              <a:gd name="connsiteY26" fmla="*/ 2462391 h 2618498"/>
              <a:gd name="connsiteX27" fmla="*/ 1890741 w 4973271"/>
              <a:gd name="connsiteY27" fmla="*/ 2506239 h 2618498"/>
              <a:gd name="connsiteX28" fmla="*/ 1706645 w 4973271"/>
              <a:gd name="connsiteY28" fmla="*/ 2505016 h 2618498"/>
              <a:gd name="connsiteX29" fmla="*/ 1602638 w 4973271"/>
              <a:gd name="connsiteY29" fmla="*/ 2427011 h 2618498"/>
              <a:gd name="connsiteX30" fmla="*/ 1476997 w 4973271"/>
              <a:gd name="connsiteY30" fmla="*/ 2518427 h 2618498"/>
              <a:gd name="connsiteX31" fmla="*/ 1370926 w 4973271"/>
              <a:gd name="connsiteY31" fmla="*/ 2611052 h 2618498"/>
              <a:gd name="connsiteX32" fmla="*/ 1290131 w 4973271"/>
              <a:gd name="connsiteY32" fmla="*/ 2615030 h 2618498"/>
              <a:gd name="connsiteX33" fmla="*/ 1255945 w 4973271"/>
              <a:gd name="connsiteY33" fmla="*/ 2557020 h 2618498"/>
              <a:gd name="connsiteX34" fmla="*/ 1147604 w 4973271"/>
              <a:gd name="connsiteY34" fmla="*/ 2557019 h 2618498"/>
              <a:gd name="connsiteX35" fmla="*/ 1069393 w 4973271"/>
              <a:gd name="connsiteY35" fmla="*/ 2520143 h 2618498"/>
              <a:gd name="connsiteX36" fmla="*/ 974258 w 4973271"/>
              <a:gd name="connsiteY36" fmla="*/ 2561354 h 2618498"/>
              <a:gd name="connsiteX37" fmla="*/ 855874 w 4973271"/>
              <a:gd name="connsiteY37" fmla="*/ 2563595 h 2618498"/>
              <a:gd name="connsiteX38" fmla="*/ 796855 w 4973271"/>
              <a:gd name="connsiteY38" fmla="*/ 2607027 h 2618498"/>
              <a:gd name="connsiteX39" fmla="*/ 728653 w 4973271"/>
              <a:gd name="connsiteY39" fmla="*/ 2563596 h 2618498"/>
              <a:gd name="connsiteX40" fmla="*/ 644901 w 4973271"/>
              <a:gd name="connsiteY40" fmla="*/ 2570021 h 2618498"/>
              <a:gd name="connsiteX41" fmla="*/ 569627 w 4973271"/>
              <a:gd name="connsiteY41" fmla="*/ 2539742 h 2618498"/>
              <a:gd name="connsiteX42" fmla="*/ 501836 w 4973271"/>
              <a:gd name="connsiteY42" fmla="*/ 2480027 h 2618498"/>
              <a:gd name="connsiteX43" fmla="*/ 419551 w 4973271"/>
              <a:gd name="connsiteY43" fmla="*/ 2570021 h 2618498"/>
              <a:gd name="connsiteX44" fmla="*/ 284822 w 4973271"/>
              <a:gd name="connsiteY44" fmla="*/ 2607026 h 2618498"/>
              <a:gd name="connsiteX45" fmla="*/ 172534 w 4973271"/>
              <a:gd name="connsiteY45" fmla="*/ 2583022 h 2618498"/>
              <a:gd name="connsiteX46" fmla="*/ 77470 w 4973271"/>
              <a:gd name="connsiteY46" fmla="*/ 2606321 h 2618498"/>
              <a:gd name="connsiteX47" fmla="*/ 15297 w 4973271"/>
              <a:gd name="connsiteY47" fmla="*/ 2475657 h 2618498"/>
              <a:gd name="connsiteX48" fmla="*/ 2759 w 4973271"/>
              <a:gd name="connsiteY48" fmla="*/ 0 h 2618498"/>
              <a:gd name="connsiteX0" fmla="*/ 2759 w 4973276"/>
              <a:gd name="connsiteY0" fmla="*/ 0 h 2618498"/>
              <a:gd name="connsiteX1" fmla="*/ 4973271 w 4973276"/>
              <a:gd name="connsiteY1" fmla="*/ 12258 h 2618498"/>
              <a:gd name="connsiteX2" fmla="*/ 4967687 w 4973276"/>
              <a:gd name="connsiteY2" fmla="*/ 2475657 h 2618498"/>
              <a:gd name="connsiteX3" fmla="*/ 4908616 w 4973276"/>
              <a:gd name="connsiteY3" fmla="*/ 2575186 h 2618498"/>
              <a:gd name="connsiteX4" fmla="*/ 4776770 w 4973276"/>
              <a:gd name="connsiteY4" fmla="*/ 2605612 h 2618498"/>
              <a:gd name="connsiteX5" fmla="*/ 4584254 w 4973276"/>
              <a:gd name="connsiteY5" fmla="*/ 2517434 h 2618498"/>
              <a:gd name="connsiteX6" fmla="*/ 4414309 w 4973276"/>
              <a:gd name="connsiteY6" fmla="*/ 2567512 h 2618498"/>
              <a:gd name="connsiteX7" fmla="*/ 4224110 w 4973276"/>
              <a:gd name="connsiteY7" fmla="*/ 2538590 h 2618498"/>
              <a:gd name="connsiteX8" fmla="*/ 4011640 w 4973276"/>
              <a:gd name="connsiteY8" fmla="*/ 2522460 h 2618498"/>
              <a:gd name="connsiteX9" fmla="*/ 3851802 w 4973276"/>
              <a:gd name="connsiteY9" fmla="*/ 2405342 h 2618498"/>
              <a:gd name="connsiteX10" fmla="*/ 3704457 w 4973276"/>
              <a:gd name="connsiteY10" fmla="*/ 2440011 h 2618498"/>
              <a:gd name="connsiteX11" fmla="*/ 3590855 w 4973276"/>
              <a:gd name="connsiteY11" fmla="*/ 2518939 h 2618498"/>
              <a:gd name="connsiteX12" fmla="*/ 3527149 w 4973276"/>
              <a:gd name="connsiteY12" fmla="*/ 2459421 h 2618498"/>
              <a:gd name="connsiteX13" fmla="*/ 3379434 w 4973276"/>
              <a:gd name="connsiteY13" fmla="*/ 2518017 h 2618498"/>
              <a:gd name="connsiteX14" fmla="*/ 3277524 w 4973276"/>
              <a:gd name="connsiteY14" fmla="*/ 2504756 h 2618498"/>
              <a:gd name="connsiteX15" fmla="*/ 3176090 w 4973276"/>
              <a:gd name="connsiteY15" fmla="*/ 2514906 h 2618498"/>
              <a:gd name="connsiteX16" fmla="*/ 3085262 w 4973276"/>
              <a:gd name="connsiteY16" fmla="*/ 2433470 h 2618498"/>
              <a:gd name="connsiteX17" fmla="*/ 2985980 w 4973276"/>
              <a:gd name="connsiteY17" fmla="*/ 2451918 h 2618498"/>
              <a:gd name="connsiteX18" fmla="*/ 2850728 w 4973276"/>
              <a:gd name="connsiteY18" fmla="*/ 2327336 h 2618498"/>
              <a:gd name="connsiteX19" fmla="*/ 2761802 w 4973276"/>
              <a:gd name="connsiteY19" fmla="*/ 2362110 h 2618498"/>
              <a:gd name="connsiteX20" fmla="*/ 2725028 w 4973276"/>
              <a:gd name="connsiteY20" fmla="*/ 2417038 h 2618498"/>
              <a:gd name="connsiteX21" fmla="*/ 2655715 w 4973276"/>
              <a:gd name="connsiteY21" fmla="*/ 2466012 h 2618498"/>
              <a:gd name="connsiteX22" fmla="*/ 2544911 w 4973276"/>
              <a:gd name="connsiteY22" fmla="*/ 2514606 h 2618498"/>
              <a:gd name="connsiteX23" fmla="*/ 2400064 w 4973276"/>
              <a:gd name="connsiteY23" fmla="*/ 2481441 h 2618498"/>
              <a:gd name="connsiteX24" fmla="*/ 2315889 w 4973276"/>
              <a:gd name="connsiteY24" fmla="*/ 2512288 h 2618498"/>
              <a:gd name="connsiteX25" fmla="*/ 2114008 w 4973276"/>
              <a:gd name="connsiteY25" fmla="*/ 2444345 h 2618498"/>
              <a:gd name="connsiteX26" fmla="*/ 1957882 w 4973276"/>
              <a:gd name="connsiteY26" fmla="*/ 2462391 h 2618498"/>
              <a:gd name="connsiteX27" fmla="*/ 1890741 w 4973276"/>
              <a:gd name="connsiteY27" fmla="*/ 2506239 h 2618498"/>
              <a:gd name="connsiteX28" fmla="*/ 1706645 w 4973276"/>
              <a:gd name="connsiteY28" fmla="*/ 2505016 h 2618498"/>
              <a:gd name="connsiteX29" fmla="*/ 1602638 w 4973276"/>
              <a:gd name="connsiteY29" fmla="*/ 2427011 h 2618498"/>
              <a:gd name="connsiteX30" fmla="*/ 1476997 w 4973276"/>
              <a:gd name="connsiteY30" fmla="*/ 2518427 h 2618498"/>
              <a:gd name="connsiteX31" fmla="*/ 1370926 w 4973276"/>
              <a:gd name="connsiteY31" fmla="*/ 2611052 h 2618498"/>
              <a:gd name="connsiteX32" fmla="*/ 1290131 w 4973276"/>
              <a:gd name="connsiteY32" fmla="*/ 2615030 h 2618498"/>
              <a:gd name="connsiteX33" fmla="*/ 1255945 w 4973276"/>
              <a:gd name="connsiteY33" fmla="*/ 2557020 h 2618498"/>
              <a:gd name="connsiteX34" fmla="*/ 1147604 w 4973276"/>
              <a:gd name="connsiteY34" fmla="*/ 2557019 h 2618498"/>
              <a:gd name="connsiteX35" fmla="*/ 1069393 w 4973276"/>
              <a:gd name="connsiteY35" fmla="*/ 2520143 h 2618498"/>
              <a:gd name="connsiteX36" fmla="*/ 974258 w 4973276"/>
              <a:gd name="connsiteY36" fmla="*/ 2561354 h 2618498"/>
              <a:gd name="connsiteX37" fmla="*/ 855874 w 4973276"/>
              <a:gd name="connsiteY37" fmla="*/ 2563595 h 2618498"/>
              <a:gd name="connsiteX38" fmla="*/ 796855 w 4973276"/>
              <a:gd name="connsiteY38" fmla="*/ 2607027 h 2618498"/>
              <a:gd name="connsiteX39" fmla="*/ 728653 w 4973276"/>
              <a:gd name="connsiteY39" fmla="*/ 2563596 h 2618498"/>
              <a:gd name="connsiteX40" fmla="*/ 644901 w 4973276"/>
              <a:gd name="connsiteY40" fmla="*/ 2570021 h 2618498"/>
              <a:gd name="connsiteX41" fmla="*/ 569627 w 4973276"/>
              <a:gd name="connsiteY41" fmla="*/ 2539742 h 2618498"/>
              <a:gd name="connsiteX42" fmla="*/ 501836 w 4973276"/>
              <a:gd name="connsiteY42" fmla="*/ 2480027 h 2618498"/>
              <a:gd name="connsiteX43" fmla="*/ 419551 w 4973276"/>
              <a:gd name="connsiteY43" fmla="*/ 2570021 h 2618498"/>
              <a:gd name="connsiteX44" fmla="*/ 284822 w 4973276"/>
              <a:gd name="connsiteY44" fmla="*/ 2607026 h 2618498"/>
              <a:gd name="connsiteX45" fmla="*/ 172534 w 4973276"/>
              <a:gd name="connsiteY45" fmla="*/ 2583022 h 2618498"/>
              <a:gd name="connsiteX46" fmla="*/ 77470 w 4973276"/>
              <a:gd name="connsiteY46" fmla="*/ 2606321 h 2618498"/>
              <a:gd name="connsiteX47" fmla="*/ 15297 w 4973276"/>
              <a:gd name="connsiteY47" fmla="*/ 2475657 h 2618498"/>
              <a:gd name="connsiteX48" fmla="*/ 2759 w 4973276"/>
              <a:gd name="connsiteY48" fmla="*/ 0 h 2618498"/>
              <a:gd name="connsiteX0" fmla="*/ 2759 w 4968432"/>
              <a:gd name="connsiteY0" fmla="*/ 0 h 2618498"/>
              <a:gd name="connsiteX1" fmla="*/ 4766621 w 4968432"/>
              <a:gd name="connsiteY1" fmla="*/ 246833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5017954"/>
              <a:gd name="connsiteY0" fmla="*/ 1000 h 2619498"/>
              <a:gd name="connsiteX1" fmla="*/ 4766621 w 5017954"/>
              <a:gd name="connsiteY1" fmla="*/ 247833 h 2619498"/>
              <a:gd name="connsiteX2" fmla="*/ 4967687 w 5017954"/>
              <a:gd name="connsiteY2" fmla="*/ 2476657 h 2619498"/>
              <a:gd name="connsiteX3" fmla="*/ 4908616 w 5017954"/>
              <a:gd name="connsiteY3" fmla="*/ 2576186 h 2619498"/>
              <a:gd name="connsiteX4" fmla="*/ 4776770 w 5017954"/>
              <a:gd name="connsiteY4" fmla="*/ 2606612 h 2619498"/>
              <a:gd name="connsiteX5" fmla="*/ 4584254 w 5017954"/>
              <a:gd name="connsiteY5" fmla="*/ 2518434 h 2619498"/>
              <a:gd name="connsiteX6" fmla="*/ 4414309 w 5017954"/>
              <a:gd name="connsiteY6" fmla="*/ 2568512 h 2619498"/>
              <a:gd name="connsiteX7" fmla="*/ 4224110 w 5017954"/>
              <a:gd name="connsiteY7" fmla="*/ 2539590 h 2619498"/>
              <a:gd name="connsiteX8" fmla="*/ 4011640 w 5017954"/>
              <a:gd name="connsiteY8" fmla="*/ 2523460 h 2619498"/>
              <a:gd name="connsiteX9" fmla="*/ 3851802 w 5017954"/>
              <a:gd name="connsiteY9" fmla="*/ 2406342 h 2619498"/>
              <a:gd name="connsiteX10" fmla="*/ 3704457 w 5017954"/>
              <a:gd name="connsiteY10" fmla="*/ 2441011 h 2619498"/>
              <a:gd name="connsiteX11" fmla="*/ 3590855 w 5017954"/>
              <a:gd name="connsiteY11" fmla="*/ 2519939 h 2619498"/>
              <a:gd name="connsiteX12" fmla="*/ 3527149 w 5017954"/>
              <a:gd name="connsiteY12" fmla="*/ 2460421 h 2619498"/>
              <a:gd name="connsiteX13" fmla="*/ 3379434 w 5017954"/>
              <a:gd name="connsiteY13" fmla="*/ 2519017 h 2619498"/>
              <a:gd name="connsiteX14" fmla="*/ 3277524 w 5017954"/>
              <a:gd name="connsiteY14" fmla="*/ 2505756 h 2619498"/>
              <a:gd name="connsiteX15" fmla="*/ 3176090 w 5017954"/>
              <a:gd name="connsiteY15" fmla="*/ 2515906 h 2619498"/>
              <a:gd name="connsiteX16" fmla="*/ 3085262 w 5017954"/>
              <a:gd name="connsiteY16" fmla="*/ 2434470 h 2619498"/>
              <a:gd name="connsiteX17" fmla="*/ 2985980 w 5017954"/>
              <a:gd name="connsiteY17" fmla="*/ 2452918 h 2619498"/>
              <a:gd name="connsiteX18" fmla="*/ 2850728 w 5017954"/>
              <a:gd name="connsiteY18" fmla="*/ 2328336 h 2619498"/>
              <a:gd name="connsiteX19" fmla="*/ 2761802 w 5017954"/>
              <a:gd name="connsiteY19" fmla="*/ 2363110 h 2619498"/>
              <a:gd name="connsiteX20" fmla="*/ 2725028 w 5017954"/>
              <a:gd name="connsiteY20" fmla="*/ 2418038 h 2619498"/>
              <a:gd name="connsiteX21" fmla="*/ 2655715 w 5017954"/>
              <a:gd name="connsiteY21" fmla="*/ 2467012 h 2619498"/>
              <a:gd name="connsiteX22" fmla="*/ 2544911 w 5017954"/>
              <a:gd name="connsiteY22" fmla="*/ 2515606 h 2619498"/>
              <a:gd name="connsiteX23" fmla="*/ 2400064 w 5017954"/>
              <a:gd name="connsiteY23" fmla="*/ 2482441 h 2619498"/>
              <a:gd name="connsiteX24" fmla="*/ 2315889 w 5017954"/>
              <a:gd name="connsiteY24" fmla="*/ 2513288 h 2619498"/>
              <a:gd name="connsiteX25" fmla="*/ 2114008 w 5017954"/>
              <a:gd name="connsiteY25" fmla="*/ 2445345 h 2619498"/>
              <a:gd name="connsiteX26" fmla="*/ 1957882 w 5017954"/>
              <a:gd name="connsiteY26" fmla="*/ 2463391 h 2619498"/>
              <a:gd name="connsiteX27" fmla="*/ 1890741 w 5017954"/>
              <a:gd name="connsiteY27" fmla="*/ 2507239 h 2619498"/>
              <a:gd name="connsiteX28" fmla="*/ 1706645 w 5017954"/>
              <a:gd name="connsiteY28" fmla="*/ 2506016 h 2619498"/>
              <a:gd name="connsiteX29" fmla="*/ 1602638 w 5017954"/>
              <a:gd name="connsiteY29" fmla="*/ 2428011 h 2619498"/>
              <a:gd name="connsiteX30" fmla="*/ 1476997 w 5017954"/>
              <a:gd name="connsiteY30" fmla="*/ 2519427 h 2619498"/>
              <a:gd name="connsiteX31" fmla="*/ 1370926 w 5017954"/>
              <a:gd name="connsiteY31" fmla="*/ 2612052 h 2619498"/>
              <a:gd name="connsiteX32" fmla="*/ 1290131 w 5017954"/>
              <a:gd name="connsiteY32" fmla="*/ 2616030 h 2619498"/>
              <a:gd name="connsiteX33" fmla="*/ 1255945 w 5017954"/>
              <a:gd name="connsiteY33" fmla="*/ 2558020 h 2619498"/>
              <a:gd name="connsiteX34" fmla="*/ 1147604 w 5017954"/>
              <a:gd name="connsiteY34" fmla="*/ 2558019 h 2619498"/>
              <a:gd name="connsiteX35" fmla="*/ 1069393 w 5017954"/>
              <a:gd name="connsiteY35" fmla="*/ 2521143 h 2619498"/>
              <a:gd name="connsiteX36" fmla="*/ 974258 w 5017954"/>
              <a:gd name="connsiteY36" fmla="*/ 2562354 h 2619498"/>
              <a:gd name="connsiteX37" fmla="*/ 855874 w 5017954"/>
              <a:gd name="connsiteY37" fmla="*/ 2564595 h 2619498"/>
              <a:gd name="connsiteX38" fmla="*/ 796855 w 5017954"/>
              <a:gd name="connsiteY38" fmla="*/ 2608027 h 2619498"/>
              <a:gd name="connsiteX39" fmla="*/ 728653 w 5017954"/>
              <a:gd name="connsiteY39" fmla="*/ 2564596 h 2619498"/>
              <a:gd name="connsiteX40" fmla="*/ 644901 w 5017954"/>
              <a:gd name="connsiteY40" fmla="*/ 2571021 h 2619498"/>
              <a:gd name="connsiteX41" fmla="*/ 569627 w 5017954"/>
              <a:gd name="connsiteY41" fmla="*/ 2540742 h 2619498"/>
              <a:gd name="connsiteX42" fmla="*/ 501836 w 5017954"/>
              <a:gd name="connsiteY42" fmla="*/ 2481027 h 2619498"/>
              <a:gd name="connsiteX43" fmla="*/ 419551 w 5017954"/>
              <a:gd name="connsiteY43" fmla="*/ 2571021 h 2619498"/>
              <a:gd name="connsiteX44" fmla="*/ 284822 w 5017954"/>
              <a:gd name="connsiteY44" fmla="*/ 2608026 h 2619498"/>
              <a:gd name="connsiteX45" fmla="*/ 172534 w 5017954"/>
              <a:gd name="connsiteY45" fmla="*/ 2584022 h 2619498"/>
              <a:gd name="connsiteX46" fmla="*/ 77470 w 5017954"/>
              <a:gd name="connsiteY46" fmla="*/ 2607321 h 2619498"/>
              <a:gd name="connsiteX47" fmla="*/ 15297 w 5017954"/>
              <a:gd name="connsiteY47" fmla="*/ 2476657 h 2619498"/>
              <a:gd name="connsiteX48" fmla="*/ 2759 w 5017954"/>
              <a:gd name="connsiteY48" fmla="*/ 1000 h 2619498"/>
              <a:gd name="connsiteX0" fmla="*/ 2759 w 5146412"/>
              <a:gd name="connsiteY0" fmla="*/ 599254 h 3217752"/>
              <a:gd name="connsiteX1" fmla="*/ 4967686 w 5146412"/>
              <a:gd name="connsiteY1" fmla="*/ 58581 h 3217752"/>
              <a:gd name="connsiteX2" fmla="*/ 4967687 w 5146412"/>
              <a:gd name="connsiteY2" fmla="*/ 3074911 h 3217752"/>
              <a:gd name="connsiteX3" fmla="*/ 4908616 w 5146412"/>
              <a:gd name="connsiteY3" fmla="*/ 3174440 h 3217752"/>
              <a:gd name="connsiteX4" fmla="*/ 4776770 w 5146412"/>
              <a:gd name="connsiteY4" fmla="*/ 3204866 h 3217752"/>
              <a:gd name="connsiteX5" fmla="*/ 4584254 w 5146412"/>
              <a:gd name="connsiteY5" fmla="*/ 3116688 h 3217752"/>
              <a:gd name="connsiteX6" fmla="*/ 4414309 w 5146412"/>
              <a:gd name="connsiteY6" fmla="*/ 3166766 h 3217752"/>
              <a:gd name="connsiteX7" fmla="*/ 4224110 w 5146412"/>
              <a:gd name="connsiteY7" fmla="*/ 3137844 h 3217752"/>
              <a:gd name="connsiteX8" fmla="*/ 4011640 w 5146412"/>
              <a:gd name="connsiteY8" fmla="*/ 3121714 h 3217752"/>
              <a:gd name="connsiteX9" fmla="*/ 3851802 w 5146412"/>
              <a:gd name="connsiteY9" fmla="*/ 3004596 h 3217752"/>
              <a:gd name="connsiteX10" fmla="*/ 3704457 w 5146412"/>
              <a:gd name="connsiteY10" fmla="*/ 3039265 h 3217752"/>
              <a:gd name="connsiteX11" fmla="*/ 3590855 w 5146412"/>
              <a:gd name="connsiteY11" fmla="*/ 3118193 h 3217752"/>
              <a:gd name="connsiteX12" fmla="*/ 3527149 w 5146412"/>
              <a:gd name="connsiteY12" fmla="*/ 3058675 h 3217752"/>
              <a:gd name="connsiteX13" fmla="*/ 3379434 w 5146412"/>
              <a:gd name="connsiteY13" fmla="*/ 3117271 h 3217752"/>
              <a:gd name="connsiteX14" fmla="*/ 3277524 w 5146412"/>
              <a:gd name="connsiteY14" fmla="*/ 3104010 h 3217752"/>
              <a:gd name="connsiteX15" fmla="*/ 3176090 w 5146412"/>
              <a:gd name="connsiteY15" fmla="*/ 3114160 h 3217752"/>
              <a:gd name="connsiteX16" fmla="*/ 3085262 w 5146412"/>
              <a:gd name="connsiteY16" fmla="*/ 3032724 h 3217752"/>
              <a:gd name="connsiteX17" fmla="*/ 2985980 w 5146412"/>
              <a:gd name="connsiteY17" fmla="*/ 3051172 h 3217752"/>
              <a:gd name="connsiteX18" fmla="*/ 2850728 w 5146412"/>
              <a:gd name="connsiteY18" fmla="*/ 2926590 h 3217752"/>
              <a:gd name="connsiteX19" fmla="*/ 2761802 w 5146412"/>
              <a:gd name="connsiteY19" fmla="*/ 2961364 h 3217752"/>
              <a:gd name="connsiteX20" fmla="*/ 2725028 w 5146412"/>
              <a:gd name="connsiteY20" fmla="*/ 3016292 h 3217752"/>
              <a:gd name="connsiteX21" fmla="*/ 2655715 w 5146412"/>
              <a:gd name="connsiteY21" fmla="*/ 3065266 h 3217752"/>
              <a:gd name="connsiteX22" fmla="*/ 2544911 w 5146412"/>
              <a:gd name="connsiteY22" fmla="*/ 3113860 h 3217752"/>
              <a:gd name="connsiteX23" fmla="*/ 2400064 w 5146412"/>
              <a:gd name="connsiteY23" fmla="*/ 3080695 h 3217752"/>
              <a:gd name="connsiteX24" fmla="*/ 2315889 w 5146412"/>
              <a:gd name="connsiteY24" fmla="*/ 3111542 h 3217752"/>
              <a:gd name="connsiteX25" fmla="*/ 2114008 w 5146412"/>
              <a:gd name="connsiteY25" fmla="*/ 3043599 h 3217752"/>
              <a:gd name="connsiteX26" fmla="*/ 1957882 w 5146412"/>
              <a:gd name="connsiteY26" fmla="*/ 3061645 h 3217752"/>
              <a:gd name="connsiteX27" fmla="*/ 1890741 w 5146412"/>
              <a:gd name="connsiteY27" fmla="*/ 3105493 h 3217752"/>
              <a:gd name="connsiteX28" fmla="*/ 1706645 w 5146412"/>
              <a:gd name="connsiteY28" fmla="*/ 3104270 h 3217752"/>
              <a:gd name="connsiteX29" fmla="*/ 1602638 w 5146412"/>
              <a:gd name="connsiteY29" fmla="*/ 3026265 h 3217752"/>
              <a:gd name="connsiteX30" fmla="*/ 1476997 w 5146412"/>
              <a:gd name="connsiteY30" fmla="*/ 3117681 h 3217752"/>
              <a:gd name="connsiteX31" fmla="*/ 1370926 w 5146412"/>
              <a:gd name="connsiteY31" fmla="*/ 3210306 h 3217752"/>
              <a:gd name="connsiteX32" fmla="*/ 1290131 w 5146412"/>
              <a:gd name="connsiteY32" fmla="*/ 3214284 h 3217752"/>
              <a:gd name="connsiteX33" fmla="*/ 1255945 w 5146412"/>
              <a:gd name="connsiteY33" fmla="*/ 3156274 h 3217752"/>
              <a:gd name="connsiteX34" fmla="*/ 1147604 w 5146412"/>
              <a:gd name="connsiteY34" fmla="*/ 3156273 h 3217752"/>
              <a:gd name="connsiteX35" fmla="*/ 1069393 w 5146412"/>
              <a:gd name="connsiteY35" fmla="*/ 3119397 h 3217752"/>
              <a:gd name="connsiteX36" fmla="*/ 974258 w 5146412"/>
              <a:gd name="connsiteY36" fmla="*/ 3160608 h 3217752"/>
              <a:gd name="connsiteX37" fmla="*/ 855874 w 5146412"/>
              <a:gd name="connsiteY37" fmla="*/ 3162849 h 3217752"/>
              <a:gd name="connsiteX38" fmla="*/ 796855 w 5146412"/>
              <a:gd name="connsiteY38" fmla="*/ 3206281 h 3217752"/>
              <a:gd name="connsiteX39" fmla="*/ 728653 w 5146412"/>
              <a:gd name="connsiteY39" fmla="*/ 3162850 h 3217752"/>
              <a:gd name="connsiteX40" fmla="*/ 644901 w 5146412"/>
              <a:gd name="connsiteY40" fmla="*/ 3169275 h 3217752"/>
              <a:gd name="connsiteX41" fmla="*/ 569627 w 5146412"/>
              <a:gd name="connsiteY41" fmla="*/ 3138996 h 3217752"/>
              <a:gd name="connsiteX42" fmla="*/ 501836 w 5146412"/>
              <a:gd name="connsiteY42" fmla="*/ 3079281 h 3217752"/>
              <a:gd name="connsiteX43" fmla="*/ 419551 w 5146412"/>
              <a:gd name="connsiteY43" fmla="*/ 3169275 h 3217752"/>
              <a:gd name="connsiteX44" fmla="*/ 284822 w 5146412"/>
              <a:gd name="connsiteY44" fmla="*/ 3206280 h 3217752"/>
              <a:gd name="connsiteX45" fmla="*/ 172534 w 5146412"/>
              <a:gd name="connsiteY45" fmla="*/ 3182276 h 3217752"/>
              <a:gd name="connsiteX46" fmla="*/ 77470 w 5146412"/>
              <a:gd name="connsiteY46" fmla="*/ 3205575 h 3217752"/>
              <a:gd name="connsiteX47" fmla="*/ 15297 w 5146412"/>
              <a:gd name="connsiteY47" fmla="*/ 3074911 h 3217752"/>
              <a:gd name="connsiteX48" fmla="*/ 2759 w 5146412"/>
              <a:gd name="connsiteY48" fmla="*/ 599254 h 3217752"/>
              <a:gd name="connsiteX0" fmla="*/ 2759 w 5335458"/>
              <a:gd name="connsiteY0" fmla="*/ 218800 h 3384643"/>
              <a:gd name="connsiteX1" fmla="*/ 4967686 w 5335458"/>
              <a:gd name="connsiteY1" fmla="*/ 225472 h 3384643"/>
              <a:gd name="connsiteX2" fmla="*/ 4967687 w 5335458"/>
              <a:gd name="connsiteY2" fmla="*/ 3241802 h 3384643"/>
              <a:gd name="connsiteX3" fmla="*/ 4908616 w 5335458"/>
              <a:gd name="connsiteY3" fmla="*/ 3341331 h 3384643"/>
              <a:gd name="connsiteX4" fmla="*/ 4776770 w 5335458"/>
              <a:gd name="connsiteY4" fmla="*/ 3371757 h 3384643"/>
              <a:gd name="connsiteX5" fmla="*/ 4584254 w 5335458"/>
              <a:gd name="connsiteY5" fmla="*/ 3283579 h 3384643"/>
              <a:gd name="connsiteX6" fmla="*/ 4414309 w 5335458"/>
              <a:gd name="connsiteY6" fmla="*/ 3333657 h 3384643"/>
              <a:gd name="connsiteX7" fmla="*/ 4224110 w 5335458"/>
              <a:gd name="connsiteY7" fmla="*/ 3304735 h 3384643"/>
              <a:gd name="connsiteX8" fmla="*/ 4011640 w 5335458"/>
              <a:gd name="connsiteY8" fmla="*/ 3288605 h 3384643"/>
              <a:gd name="connsiteX9" fmla="*/ 3851802 w 5335458"/>
              <a:gd name="connsiteY9" fmla="*/ 3171487 h 3384643"/>
              <a:gd name="connsiteX10" fmla="*/ 3704457 w 5335458"/>
              <a:gd name="connsiteY10" fmla="*/ 3206156 h 3384643"/>
              <a:gd name="connsiteX11" fmla="*/ 3590855 w 5335458"/>
              <a:gd name="connsiteY11" fmla="*/ 3285084 h 3384643"/>
              <a:gd name="connsiteX12" fmla="*/ 3527149 w 5335458"/>
              <a:gd name="connsiteY12" fmla="*/ 3225566 h 3384643"/>
              <a:gd name="connsiteX13" fmla="*/ 3379434 w 5335458"/>
              <a:gd name="connsiteY13" fmla="*/ 3284162 h 3384643"/>
              <a:gd name="connsiteX14" fmla="*/ 3277524 w 5335458"/>
              <a:gd name="connsiteY14" fmla="*/ 3270901 h 3384643"/>
              <a:gd name="connsiteX15" fmla="*/ 3176090 w 5335458"/>
              <a:gd name="connsiteY15" fmla="*/ 3281051 h 3384643"/>
              <a:gd name="connsiteX16" fmla="*/ 3085262 w 5335458"/>
              <a:gd name="connsiteY16" fmla="*/ 3199615 h 3384643"/>
              <a:gd name="connsiteX17" fmla="*/ 2985980 w 5335458"/>
              <a:gd name="connsiteY17" fmla="*/ 3218063 h 3384643"/>
              <a:gd name="connsiteX18" fmla="*/ 2850728 w 5335458"/>
              <a:gd name="connsiteY18" fmla="*/ 3093481 h 3384643"/>
              <a:gd name="connsiteX19" fmla="*/ 2761802 w 5335458"/>
              <a:gd name="connsiteY19" fmla="*/ 3128255 h 3384643"/>
              <a:gd name="connsiteX20" fmla="*/ 2725028 w 5335458"/>
              <a:gd name="connsiteY20" fmla="*/ 3183183 h 3384643"/>
              <a:gd name="connsiteX21" fmla="*/ 2655715 w 5335458"/>
              <a:gd name="connsiteY21" fmla="*/ 3232157 h 3384643"/>
              <a:gd name="connsiteX22" fmla="*/ 2544911 w 5335458"/>
              <a:gd name="connsiteY22" fmla="*/ 3280751 h 3384643"/>
              <a:gd name="connsiteX23" fmla="*/ 2400064 w 5335458"/>
              <a:gd name="connsiteY23" fmla="*/ 3247586 h 3384643"/>
              <a:gd name="connsiteX24" fmla="*/ 2315889 w 5335458"/>
              <a:gd name="connsiteY24" fmla="*/ 3278433 h 3384643"/>
              <a:gd name="connsiteX25" fmla="*/ 2114008 w 5335458"/>
              <a:gd name="connsiteY25" fmla="*/ 3210490 h 3384643"/>
              <a:gd name="connsiteX26" fmla="*/ 1957882 w 5335458"/>
              <a:gd name="connsiteY26" fmla="*/ 3228536 h 3384643"/>
              <a:gd name="connsiteX27" fmla="*/ 1890741 w 5335458"/>
              <a:gd name="connsiteY27" fmla="*/ 3272384 h 3384643"/>
              <a:gd name="connsiteX28" fmla="*/ 1706645 w 5335458"/>
              <a:gd name="connsiteY28" fmla="*/ 3271161 h 3384643"/>
              <a:gd name="connsiteX29" fmla="*/ 1602638 w 5335458"/>
              <a:gd name="connsiteY29" fmla="*/ 3193156 h 3384643"/>
              <a:gd name="connsiteX30" fmla="*/ 1476997 w 5335458"/>
              <a:gd name="connsiteY30" fmla="*/ 3284572 h 3384643"/>
              <a:gd name="connsiteX31" fmla="*/ 1370926 w 5335458"/>
              <a:gd name="connsiteY31" fmla="*/ 3377197 h 3384643"/>
              <a:gd name="connsiteX32" fmla="*/ 1290131 w 5335458"/>
              <a:gd name="connsiteY32" fmla="*/ 3381175 h 3384643"/>
              <a:gd name="connsiteX33" fmla="*/ 1255945 w 5335458"/>
              <a:gd name="connsiteY33" fmla="*/ 3323165 h 3384643"/>
              <a:gd name="connsiteX34" fmla="*/ 1147604 w 5335458"/>
              <a:gd name="connsiteY34" fmla="*/ 3323164 h 3384643"/>
              <a:gd name="connsiteX35" fmla="*/ 1069393 w 5335458"/>
              <a:gd name="connsiteY35" fmla="*/ 3286288 h 3384643"/>
              <a:gd name="connsiteX36" fmla="*/ 974258 w 5335458"/>
              <a:gd name="connsiteY36" fmla="*/ 3327499 h 3384643"/>
              <a:gd name="connsiteX37" fmla="*/ 855874 w 5335458"/>
              <a:gd name="connsiteY37" fmla="*/ 3329740 h 3384643"/>
              <a:gd name="connsiteX38" fmla="*/ 796855 w 5335458"/>
              <a:gd name="connsiteY38" fmla="*/ 3373172 h 3384643"/>
              <a:gd name="connsiteX39" fmla="*/ 728653 w 5335458"/>
              <a:gd name="connsiteY39" fmla="*/ 3329741 h 3384643"/>
              <a:gd name="connsiteX40" fmla="*/ 644901 w 5335458"/>
              <a:gd name="connsiteY40" fmla="*/ 3336166 h 3384643"/>
              <a:gd name="connsiteX41" fmla="*/ 569627 w 5335458"/>
              <a:gd name="connsiteY41" fmla="*/ 3305887 h 3384643"/>
              <a:gd name="connsiteX42" fmla="*/ 501836 w 5335458"/>
              <a:gd name="connsiteY42" fmla="*/ 3246172 h 3384643"/>
              <a:gd name="connsiteX43" fmla="*/ 419551 w 5335458"/>
              <a:gd name="connsiteY43" fmla="*/ 3336166 h 3384643"/>
              <a:gd name="connsiteX44" fmla="*/ 284822 w 5335458"/>
              <a:gd name="connsiteY44" fmla="*/ 3373171 h 3384643"/>
              <a:gd name="connsiteX45" fmla="*/ 172534 w 5335458"/>
              <a:gd name="connsiteY45" fmla="*/ 3349167 h 3384643"/>
              <a:gd name="connsiteX46" fmla="*/ 77470 w 5335458"/>
              <a:gd name="connsiteY46" fmla="*/ 3372466 h 3384643"/>
              <a:gd name="connsiteX47" fmla="*/ 15297 w 5335458"/>
              <a:gd name="connsiteY47" fmla="*/ 3241802 h 3384643"/>
              <a:gd name="connsiteX48" fmla="*/ 2759 w 5335458"/>
              <a:gd name="connsiteY48" fmla="*/ 218800 h 3384643"/>
              <a:gd name="connsiteX0" fmla="*/ 0 w 5332699"/>
              <a:gd name="connsiteY0" fmla="*/ 218800 h 3384643"/>
              <a:gd name="connsiteX1" fmla="*/ 4964927 w 5332699"/>
              <a:gd name="connsiteY1" fmla="*/ 225472 h 3384643"/>
              <a:gd name="connsiteX2" fmla="*/ 4964928 w 5332699"/>
              <a:gd name="connsiteY2" fmla="*/ 3241802 h 3384643"/>
              <a:gd name="connsiteX3" fmla="*/ 4905857 w 5332699"/>
              <a:gd name="connsiteY3" fmla="*/ 3341331 h 3384643"/>
              <a:gd name="connsiteX4" fmla="*/ 4774011 w 5332699"/>
              <a:gd name="connsiteY4" fmla="*/ 3371757 h 3384643"/>
              <a:gd name="connsiteX5" fmla="*/ 4581495 w 5332699"/>
              <a:gd name="connsiteY5" fmla="*/ 3283579 h 3384643"/>
              <a:gd name="connsiteX6" fmla="*/ 4411550 w 5332699"/>
              <a:gd name="connsiteY6" fmla="*/ 3333657 h 3384643"/>
              <a:gd name="connsiteX7" fmla="*/ 4221351 w 5332699"/>
              <a:gd name="connsiteY7" fmla="*/ 3304735 h 3384643"/>
              <a:gd name="connsiteX8" fmla="*/ 4008881 w 5332699"/>
              <a:gd name="connsiteY8" fmla="*/ 3288605 h 3384643"/>
              <a:gd name="connsiteX9" fmla="*/ 3849043 w 5332699"/>
              <a:gd name="connsiteY9" fmla="*/ 3171487 h 3384643"/>
              <a:gd name="connsiteX10" fmla="*/ 3701698 w 5332699"/>
              <a:gd name="connsiteY10" fmla="*/ 3206156 h 3384643"/>
              <a:gd name="connsiteX11" fmla="*/ 3588096 w 5332699"/>
              <a:gd name="connsiteY11" fmla="*/ 3285084 h 3384643"/>
              <a:gd name="connsiteX12" fmla="*/ 3524390 w 5332699"/>
              <a:gd name="connsiteY12" fmla="*/ 3225566 h 3384643"/>
              <a:gd name="connsiteX13" fmla="*/ 3376675 w 5332699"/>
              <a:gd name="connsiteY13" fmla="*/ 3284162 h 3384643"/>
              <a:gd name="connsiteX14" fmla="*/ 3274765 w 5332699"/>
              <a:gd name="connsiteY14" fmla="*/ 3270901 h 3384643"/>
              <a:gd name="connsiteX15" fmla="*/ 3173331 w 5332699"/>
              <a:gd name="connsiteY15" fmla="*/ 3281051 h 3384643"/>
              <a:gd name="connsiteX16" fmla="*/ 3082503 w 5332699"/>
              <a:gd name="connsiteY16" fmla="*/ 3199615 h 3384643"/>
              <a:gd name="connsiteX17" fmla="*/ 2983221 w 5332699"/>
              <a:gd name="connsiteY17" fmla="*/ 3218063 h 3384643"/>
              <a:gd name="connsiteX18" fmla="*/ 2847969 w 5332699"/>
              <a:gd name="connsiteY18" fmla="*/ 3093481 h 3384643"/>
              <a:gd name="connsiteX19" fmla="*/ 2759043 w 5332699"/>
              <a:gd name="connsiteY19" fmla="*/ 3128255 h 3384643"/>
              <a:gd name="connsiteX20" fmla="*/ 2722269 w 5332699"/>
              <a:gd name="connsiteY20" fmla="*/ 3183183 h 3384643"/>
              <a:gd name="connsiteX21" fmla="*/ 2652956 w 5332699"/>
              <a:gd name="connsiteY21" fmla="*/ 3232157 h 3384643"/>
              <a:gd name="connsiteX22" fmla="*/ 2542152 w 5332699"/>
              <a:gd name="connsiteY22" fmla="*/ 3280751 h 3384643"/>
              <a:gd name="connsiteX23" fmla="*/ 2397305 w 5332699"/>
              <a:gd name="connsiteY23" fmla="*/ 3247586 h 3384643"/>
              <a:gd name="connsiteX24" fmla="*/ 2313130 w 5332699"/>
              <a:gd name="connsiteY24" fmla="*/ 3278433 h 3384643"/>
              <a:gd name="connsiteX25" fmla="*/ 2111249 w 5332699"/>
              <a:gd name="connsiteY25" fmla="*/ 3210490 h 3384643"/>
              <a:gd name="connsiteX26" fmla="*/ 1955123 w 5332699"/>
              <a:gd name="connsiteY26" fmla="*/ 3228536 h 3384643"/>
              <a:gd name="connsiteX27" fmla="*/ 1887982 w 5332699"/>
              <a:gd name="connsiteY27" fmla="*/ 3272384 h 3384643"/>
              <a:gd name="connsiteX28" fmla="*/ 1703886 w 5332699"/>
              <a:gd name="connsiteY28" fmla="*/ 3271161 h 3384643"/>
              <a:gd name="connsiteX29" fmla="*/ 1599879 w 5332699"/>
              <a:gd name="connsiteY29" fmla="*/ 3193156 h 3384643"/>
              <a:gd name="connsiteX30" fmla="*/ 1474238 w 5332699"/>
              <a:gd name="connsiteY30" fmla="*/ 3284572 h 3384643"/>
              <a:gd name="connsiteX31" fmla="*/ 1368167 w 5332699"/>
              <a:gd name="connsiteY31" fmla="*/ 3377197 h 3384643"/>
              <a:gd name="connsiteX32" fmla="*/ 1287372 w 5332699"/>
              <a:gd name="connsiteY32" fmla="*/ 3381175 h 3384643"/>
              <a:gd name="connsiteX33" fmla="*/ 1253186 w 5332699"/>
              <a:gd name="connsiteY33" fmla="*/ 3323165 h 3384643"/>
              <a:gd name="connsiteX34" fmla="*/ 1144845 w 5332699"/>
              <a:gd name="connsiteY34" fmla="*/ 3323164 h 3384643"/>
              <a:gd name="connsiteX35" fmla="*/ 1066634 w 5332699"/>
              <a:gd name="connsiteY35" fmla="*/ 3286288 h 3384643"/>
              <a:gd name="connsiteX36" fmla="*/ 971499 w 5332699"/>
              <a:gd name="connsiteY36" fmla="*/ 3327499 h 3384643"/>
              <a:gd name="connsiteX37" fmla="*/ 853115 w 5332699"/>
              <a:gd name="connsiteY37" fmla="*/ 3329740 h 3384643"/>
              <a:gd name="connsiteX38" fmla="*/ 794096 w 5332699"/>
              <a:gd name="connsiteY38" fmla="*/ 3373172 h 3384643"/>
              <a:gd name="connsiteX39" fmla="*/ 725894 w 5332699"/>
              <a:gd name="connsiteY39" fmla="*/ 3329741 h 3384643"/>
              <a:gd name="connsiteX40" fmla="*/ 642142 w 5332699"/>
              <a:gd name="connsiteY40" fmla="*/ 3336166 h 3384643"/>
              <a:gd name="connsiteX41" fmla="*/ 566868 w 5332699"/>
              <a:gd name="connsiteY41" fmla="*/ 3305887 h 3384643"/>
              <a:gd name="connsiteX42" fmla="*/ 499077 w 5332699"/>
              <a:gd name="connsiteY42" fmla="*/ 3246172 h 3384643"/>
              <a:gd name="connsiteX43" fmla="*/ 416792 w 5332699"/>
              <a:gd name="connsiteY43" fmla="*/ 3336166 h 3384643"/>
              <a:gd name="connsiteX44" fmla="*/ 282063 w 5332699"/>
              <a:gd name="connsiteY44" fmla="*/ 3373171 h 3384643"/>
              <a:gd name="connsiteX45" fmla="*/ 169775 w 5332699"/>
              <a:gd name="connsiteY45" fmla="*/ 3349167 h 3384643"/>
              <a:gd name="connsiteX46" fmla="*/ 74711 w 5332699"/>
              <a:gd name="connsiteY46" fmla="*/ 3372466 h 3384643"/>
              <a:gd name="connsiteX47" fmla="*/ 12538 w 5332699"/>
              <a:gd name="connsiteY47" fmla="*/ 3241802 h 3384643"/>
              <a:gd name="connsiteX48" fmla="*/ 0 w 5332699"/>
              <a:gd name="connsiteY48" fmla="*/ 218800 h 3384643"/>
              <a:gd name="connsiteX0" fmla="*/ 317204 w 5295970"/>
              <a:gd name="connsiteY0" fmla="*/ 126494 h 3443135"/>
              <a:gd name="connsiteX1" fmla="*/ 4952607 w 5295970"/>
              <a:gd name="connsiteY1" fmla="*/ 283964 h 3443135"/>
              <a:gd name="connsiteX2" fmla="*/ 4952608 w 5295970"/>
              <a:gd name="connsiteY2" fmla="*/ 3300294 h 3443135"/>
              <a:gd name="connsiteX3" fmla="*/ 4893537 w 5295970"/>
              <a:gd name="connsiteY3" fmla="*/ 3399823 h 3443135"/>
              <a:gd name="connsiteX4" fmla="*/ 4761691 w 5295970"/>
              <a:gd name="connsiteY4" fmla="*/ 3430249 h 3443135"/>
              <a:gd name="connsiteX5" fmla="*/ 4569175 w 5295970"/>
              <a:gd name="connsiteY5" fmla="*/ 3342071 h 3443135"/>
              <a:gd name="connsiteX6" fmla="*/ 4399230 w 5295970"/>
              <a:gd name="connsiteY6" fmla="*/ 3392149 h 3443135"/>
              <a:gd name="connsiteX7" fmla="*/ 4209031 w 5295970"/>
              <a:gd name="connsiteY7" fmla="*/ 3363227 h 3443135"/>
              <a:gd name="connsiteX8" fmla="*/ 3996561 w 5295970"/>
              <a:gd name="connsiteY8" fmla="*/ 3347097 h 3443135"/>
              <a:gd name="connsiteX9" fmla="*/ 3836723 w 5295970"/>
              <a:gd name="connsiteY9" fmla="*/ 3229979 h 3443135"/>
              <a:gd name="connsiteX10" fmla="*/ 3689378 w 5295970"/>
              <a:gd name="connsiteY10" fmla="*/ 3264648 h 3443135"/>
              <a:gd name="connsiteX11" fmla="*/ 3575776 w 5295970"/>
              <a:gd name="connsiteY11" fmla="*/ 3343576 h 3443135"/>
              <a:gd name="connsiteX12" fmla="*/ 3512070 w 5295970"/>
              <a:gd name="connsiteY12" fmla="*/ 3284058 h 3443135"/>
              <a:gd name="connsiteX13" fmla="*/ 3364355 w 5295970"/>
              <a:gd name="connsiteY13" fmla="*/ 3342654 h 3443135"/>
              <a:gd name="connsiteX14" fmla="*/ 3262445 w 5295970"/>
              <a:gd name="connsiteY14" fmla="*/ 3329393 h 3443135"/>
              <a:gd name="connsiteX15" fmla="*/ 3161011 w 5295970"/>
              <a:gd name="connsiteY15" fmla="*/ 3339543 h 3443135"/>
              <a:gd name="connsiteX16" fmla="*/ 3070183 w 5295970"/>
              <a:gd name="connsiteY16" fmla="*/ 3258107 h 3443135"/>
              <a:gd name="connsiteX17" fmla="*/ 2970901 w 5295970"/>
              <a:gd name="connsiteY17" fmla="*/ 3276555 h 3443135"/>
              <a:gd name="connsiteX18" fmla="*/ 2835649 w 5295970"/>
              <a:gd name="connsiteY18" fmla="*/ 3151973 h 3443135"/>
              <a:gd name="connsiteX19" fmla="*/ 2746723 w 5295970"/>
              <a:gd name="connsiteY19" fmla="*/ 3186747 h 3443135"/>
              <a:gd name="connsiteX20" fmla="*/ 2709949 w 5295970"/>
              <a:gd name="connsiteY20" fmla="*/ 3241675 h 3443135"/>
              <a:gd name="connsiteX21" fmla="*/ 2640636 w 5295970"/>
              <a:gd name="connsiteY21" fmla="*/ 3290649 h 3443135"/>
              <a:gd name="connsiteX22" fmla="*/ 2529832 w 5295970"/>
              <a:gd name="connsiteY22" fmla="*/ 3339243 h 3443135"/>
              <a:gd name="connsiteX23" fmla="*/ 2384985 w 5295970"/>
              <a:gd name="connsiteY23" fmla="*/ 3306078 h 3443135"/>
              <a:gd name="connsiteX24" fmla="*/ 2300810 w 5295970"/>
              <a:gd name="connsiteY24" fmla="*/ 3336925 h 3443135"/>
              <a:gd name="connsiteX25" fmla="*/ 2098929 w 5295970"/>
              <a:gd name="connsiteY25" fmla="*/ 3268982 h 3443135"/>
              <a:gd name="connsiteX26" fmla="*/ 1942803 w 5295970"/>
              <a:gd name="connsiteY26" fmla="*/ 3287028 h 3443135"/>
              <a:gd name="connsiteX27" fmla="*/ 1875662 w 5295970"/>
              <a:gd name="connsiteY27" fmla="*/ 3330876 h 3443135"/>
              <a:gd name="connsiteX28" fmla="*/ 1691566 w 5295970"/>
              <a:gd name="connsiteY28" fmla="*/ 3329653 h 3443135"/>
              <a:gd name="connsiteX29" fmla="*/ 1587559 w 5295970"/>
              <a:gd name="connsiteY29" fmla="*/ 3251648 h 3443135"/>
              <a:gd name="connsiteX30" fmla="*/ 1461918 w 5295970"/>
              <a:gd name="connsiteY30" fmla="*/ 3343064 h 3443135"/>
              <a:gd name="connsiteX31" fmla="*/ 1355847 w 5295970"/>
              <a:gd name="connsiteY31" fmla="*/ 3435689 h 3443135"/>
              <a:gd name="connsiteX32" fmla="*/ 1275052 w 5295970"/>
              <a:gd name="connsiteY32" fmla="*/ 3439667 h 3443135"/>
              <a:gd name="connsiteX33" fmla="*/ 1240866 w 5295970"/>
              <a:gd name="connsiteY33" fmla="*/ 3381657 h 3443135"/>
              <a:gd name="connsiteX34" fmla="*/ 1132525 w 5295970"/>
              <a:gd name="connsiteY34" fmla="*/ 3381656 h 3443135"/>
              <a:gd name="connsiteX35" fmla="*/ 1054314 w 5295970"/>
              <a:gd name="connsiteY35" fmla="*/ 3344780 h 3443135"/>
              <a:gd name="connsiteX36" fmla="*/ 959179 w 5295970"/>
              <a:gd name="connsiteY36" fmla="*/ 3385991 h 3443135"/>
              <a:gd name="connsiteX37" fmla="*/ 840795 w 5295970"/>
              <a:gd name="connsiteY37" fmla="*/ 3388232 h 3443135"/>
              <a:gd name="connsiteX38" fmla="*/ 781776 w 5295970"/>
              <a:gd name="connsiteY38" fmla="*/ 3431664 h 3443135"/>
              <a:gd name="connsiteX39" fmla="*/ 713574 w 5295970"/>
              <a:gd name="connsiteY39" fmla="*/ 3388233 h 3443135"/>
              <a:gd name="connsiteX40" fmla="*/ 629822 w 5295970"/>
              <a:gd name="connsiteY40" fmla="*/ 3394658 h 3443135"/>
              <a:gd name="connsiteX41" fmla="*/ 554548 w 5295970"/>
              <a:gd name="connsiteY41" fmla="*/ 3364379 h 3443135"/>
              <a:gd name="connsiteX42" fmla="*/ 486757 w 5295970"/>
              <a:gd name="connsiteY42" fmla="*/ 3304664 h 3443135"/>
              <a:gd name="connsiteX43" fmla="*/ 404472 w 5295970"/>
              <a:gd name="connsiteY43" fmla="*/ 3394658 h 3443135"/>
              <a:gd name="connsiteX44" fmla="*/ 269743 w 5295970"/>
              <a:gd name="connsiteY44" fmla="*/ 3431663 h 3443135"/>
              <a:gd name="connsiteX45" fmla="*/ 157455 w 5295970"/>
              <a:gd name="connsiteY45" fmla="*/ 3407659 h 3443135"/>
              <a:gd name="connsiteX46" fmla="*/ 62391 w 5295970"/>
              <a:gd name="connsiteY46" fmla="*/ 3430958 h 3443135"/>
              <a:gd name="connsiteX47" fmla="*/ 218 w 5295970"/>
              <a:gd name="connsiteY47" fmla="*/ 3300294 h 3443135"/>
              <a:gd name="connsiteX48" fmla="*/ 317204 w 5295970"/>
              <a:gd name="connsiteY48" fmla="*/ 126494 h 3443135"/>
              <a:gd name="connsiteX0" fmla="*/ 389809 w 5290593"/>
              <a:gd name="connsiteY0" fmla="*/ 83274 h 3483694"/>
              <a:gd name="connsiteX1" fmla="*/ 4952607 w 5290593"/>
              <a:gd name="connsiteY1" fmla="*/ 324523 h 3483694"/>
              <a:gd name="connsiteX2" fmla="*/ 4952608 w 5290593"/>
              <a:gd name="connsiteY2" fmla="*/ 3340853 h 3483694"/>
              <a:gd name="connsiteX3" fmla="*/ 4893537 w 5290593"/>
              <a:gd name="connsiteY3" fmla="*/ 3440382 h 3483694"/>
              <a:gd name="connsiteX4" fmla="*/ 4761691 w 5290593"/>
              <a:gd name="connsiteY4" fmla="*/ 3470808 h 3483694"/>
              <a:gd name="connsiteX5" fmla="*/ 4569175 w 5290593"/>
              <a:gd name="connsiteY5" fmla="*/ 3382630 h 3483694"/>
              <a:gd name="connsiteX6" fmla="*/ 4399230 w 5290593"/>
              <a:gd name="connsiteY6" fmla="*/ 3432708 h 3483694"/>
              <a:gd name="connsiteX7" fmla="*/ 4209031 w 5290593"/>
              <a:gd name="connsiteY7" fmla="*/ 3403786 h 3483694"/>
              <a:gd name="connsiteX8" fmla="*/ 3996561 w 5290593"/>
              <a:gd name="connsiteY8" fmla="*/ 3387656 h 3483694"/>
              <a:gd name="connsiteX9" fmla="*/ 3836723 w 5290593"/>
              <a:gd name="connsiteY9" fmla="*/ 3270538 h 3483694"/>
              <a:gd name="connsiteX10" fmla="*/ 3689378 w 5290593"/>
              <a:gd name="connsiteY10" fmla="*/ 3305207 h 3483694"/>
              <a:gd name="connsiteX11" fmla="*/ 3575776 w 5290593"/>
              <a:gd name="connsiteY11" fmla="*/ 3384135 h 3483694"/>
              <a:gd name="connsiteX12" fmla="*/ 3512070 w 5290593"/>
              <a:gd name="connsiteY12" fmla="*/ 3324617 h 3483694"/>
              <a:gd name="connsiteX13" fmla="*/ 3364355 w 5290593"/>
              <a:gd name="connsiteY13" fmla="*/ 3383213 h 3483694"/>
              <a:gd name="connsiteX14" fmla="*/ 3262445 w 5290593"/>
              <a:gd name="connsiteY14" fmla="*/ 3369952 h 3483694"/>
              <a:gd name="connsiteX15" fmla="*/ 3161011 w 5290593"/>
              <a:gd name="connsiteY15" fmla="*/ 3380102 h 3483694"/>
              <a:gd name="connsiteX16" fmla="*/ 3070183 w 5290593"/>
              <a:gd name="connsiteY16" fmla="*/ 3298666 h 3483694"/>
              <a:gd name="connsiteX17" fmla="*/ 2970901 w 5290593"/>
              <a:gd name="connsiteY17" fmla="*/ 3317114 h 3483694"/>
              <a:gd name="connsiteX18" fmla="*/ 2835649 w 5290593"/>
              <a:gd name="connsiteY18" fmla="*/ 3192532 h 3483694"/>
              <a:gd name="connsiteX19" fmla="*/ 2746723 w 5290593"/>
              <a:gd name="connsiteY19" fmla="*/ 3227306 h 3483694"/>
              <a:gd name="connsiteX20" fmla="*/ 2709949 w 5290593"/>
              <a:gd name="connsiteY20" fmla="*/ 3282234 h 3483694"/>
              <a:gd name="connsiteX21" fmla="*/ 2640636 w 5290593"/>
              <a:gd name="connsiteY21" fmla="*/ 3331208 h 3483694"/>
              <a:gd name="connsiteX22" fmla="*/ 2529832 w 5290593"/>
              <a:gd name="connsiteY22" fmla="*/ 3379802 h 3483694"/>
              <a:gd name="connsiteX23" fmla="*/ 2384985 w 5290593"/>
              <a:gd name="connsiteY23" fmla="*/ 3346637 h 3483694"/>
              <a:gd name="connsiteX24" fmla="*/ 2300810 w 5290593"/>
              <a:gd name="connsiteY24" fmla="*/ 3377484 h 3483694"/>
              <a:gd name="connsiteX25" fmla="*/ 2098929 w 5290593"/>
              <a:gd name="connsiteY25" fmla="*/ 3309541 h 3483694"/>
              <a:gd name="connsiteX26" fmla="*/ 1942803 w 5290593"/>
              <a:gd name="connsiteY26" fmla="*/ 3327587 h 3483694"/>
              <a:gd name="connsiteX27" fmla="*/ 1875662 w 5290593"/>
              <a:gd name="connsiteY27" fmla="*/ 3371435 h 3483694"/>
              <a:gd name="connsiteX28" fmla="*/ 1691566 w 5290593"/>
              <a:gd name="connsiteY28" fmla="*/ 3370212 h 3483694"/>
              <a:gd name="connsiteX29" fmla="*/ 1587559 w 5290593"/>
              <a:gd name="connsiteY29" fmla="*/ 3292207 h 3483694"/>
              <a:gd name="connsiteX30" fmla="*/ 1461918 w 5290593"/>
              <a:gd name="connsiteY30" fmla="*/ 3383623 h 3483694"/>
              <a:gd name="connsiteX31" fmla="*/ 1355847 w 5290593"/>
              <a:gd name="connsiteY31" fmla="*/ 3476248 h 3483694"/>
              <a:gd name="connsiteX32" fmla="*/ 1275052 w 5290593"/>
              <a:gd name="connsiteY32" fmla="*/ 3480226 h 3483694"/>
              <a:gd name="connsiteX33" fmla="*/ 1240866 w 5290593"/>
              <a:gd name="connsiteY33" fmla="*/ 3422216 h 3483694"/>
              <a:gd name="connsiteX34" fmla="*/ 1132525 w 5290593"/>
              <a:gd name="connsiteY34" fmla="*/ 3422215 h 3483694"/>
              <a:gd name="connsiteX35" fmla="*/ 1054314 w 5290593"/>
              <a:gd name="connsiteY35" fmla="*/ 3385339 h 3483694"/>
              <a:gd name="connsiteX36" fmla="*/ 959179 w 5290593"/>
              <a:gd name="connsiteY36" fmla="*/ 3426550 h 3483694"/>
              <a:gd name="connsiteX37" fmla="*/ 840795 w 5290593"/>
              <a:gd name="connsiteY37" fmla="*/ 3428791 h 3483694"/>
              <a:gd name="connsiteX38" fmla="*/ 781776 w 5290593"/>
              <a:gd name="connsiteY38" fmla="*/ 3472223 h 3483694"/>
              <a:gd name="connsiteX39" fmla="*/ 713574 w 5290593"/>
              <a:gd name="connsiteY39" fmla="*/ 3428792 h 3483694"/>
              <a:gd name="connsiteX40" fmla="*/ 629822 w 5290593"/>
              <a:gd name="connsiteY40" fmla="*/ 3435217 h 3483694"/>
              <a:gd name="connsiteX41" fmla="*/ 554548 w 5290593"/>
              <a:gd name="connsiteY41" fmla="*/ 3404938 h 3483694"/>
              <a:gd name="connsiteX42" fmla="*/ 486757 w 5290593"/>
              <a:gd name="connsiteY42" fmla="*/ 3345223 h 3483694"/>
              <a:gd name="connsiteX43" fmla="*/ 404472 w 5290593"/>
              <a:gd name="connsiteY43" fmla="*/ 3435217 h 3483694"/>
              <a:gd name="connsiteX44" fmla="*/ 269743 w 5290593"/>
              <a:gd name="connsiteY44" fmla="*/ 3472222 h 3483694"/>
              <a:gd name="connsiteX45" fmla="*/ 157455 w 5290593"/>
              <a:gd name="connsiteY45" fmla="*/ 3448218 h 3483694"/>
              <a:gd name="connsiteX46" fmla="*/ 62391 w 5290593"/>
              <a:gd name="connsiteY46" fmla="*/ 3471517 h 3483694"/>
              <a:gd name="connsiteX47" fmla="*/ 218 w 5290593"/>
              <a:gd name="connsiteY47" fmla="*/ 3340853 h 3483694"/>
              <a:gd name="connsiteX48" fmla="*/ 389809 w 5290593"/>
              <a:gd name="connsiteY48" fmla="*/ 83274 h 3483694"/>
              <a:gd name="connsiteX0" fmla="*/ 410334 w 5311118"/>
              <a:gd name="connsiteY0" fmla="*/ 140362 h 3679332"/>
              <a:gd name="connsiteX1" fmla="*/ 4973132 w 5311118"/>
              <a:gd name="connsiteY1" fmla="*/ 381611 h 3679332"/>
              <a:gd name="connsiteX2" fmla="*/ 4973133 w 5311118"/>
              <a:gd name="connsiteY2" fmla="*/ 3397941 h 3679332"/>
              <a:gd name="connsiteX3" fmla="*/ 4914062 w 5311118"/>
              <a:gd name="connsiteY3" fmla="*/ 3497470 h 3679332"/>
              <a:gd name="connsiteX4" fmla="*/ 4782216 w 5311118"/>
              <a:gd name="connsiteY4" fmla="*/ 3527896 h 3679332"/>
              <a:gd name="connsiteX5" fmla="*/ 4589700 w 5311118"/>
              <a:gd name="connsiteY5" fmla="*/ 3439718 h 3679332"/>
              <a:gd name="connsiteX6" fmla="*/ 4419755 w 5311118"/>
              <a:gd name="connsiteY6" fmla="*/ 3489796 h 3679332"/>
              <a:gd name="connsiteX7" fmla="*/ 4229556 w 5311118"/>
              <a:gd name="connsiteY7" fmla="*/ 3460874 h 3679332"/>
              <a:gd name="connsiteX8" fmla="*/ 4017086 w 5311118"/>
              <a:gd name="connsiteY8" fmla="*/ 3444744 h 3679332"/>
              <a:gd name="connsiteX9" fmla="*/ 3857248 w 5311118"/>
              <a:gd name="connsiteY9" fmla="*/ 3327626 h 3679332"/>
              <a:gd name="connsiteX10" fmla="*/ 3709903 w 5311118"/>
              <a:gd name="connsiteY10" fmla="*/ 3362295 h 3679332"/>
              <a:gd name="connsiteX11" fmla="*/ 3596301 w 5311118"/>
              <a:gd name="connsiteY11" fmla="*/ 3441223 h 3679332"/>
              <a:gd name="connsiteX12" fmla="*/ 3532595 w 5311118"/>
              <a:gd name="connsiteY12" fmla="*/ 3381705 h 3679332"/>
              <a:gd name="connsiteX13" fmla="*/ 3384880 w 5311118"/>
              <a:gd name="connsiteY13" fmla="*/ 3440301 h 3679332"/>
              <a:gd name="connsiteX14" fmla="*/ 3282970 w 5311118"/>
              <a:gd name="connsiteY14" fmla="*/ 3427040 h 3679332"/>
              <a:gd name="connsiteX15" fmla="*/ 3181536 w 5311118"/>
              <a:gd name="connsiteY15" fmla="*/ 3437190 h 3679332"/>
              <a:gd name="connsiteX16" fmla="*/ 3090708 w 5311118"/>
              <a:gd name="connsiteY16" fmla="*/ 3355754 h 3679332"/>
              <a:gd name="connsiteX17" fmla="*/ 2991426 w 5311118"/>
              <a:gd name="connsiteY17" fmla="*/ 3374202 h 3679332"/>
              <a:gd name="connsiteX18" fmla="*/ 2856174 w 5311118"/>
              <a:gd name="connsiteY18" fmla="*/ 3249620 h 3679332"/>
              <a:gd name="connsiteX19" fmla="*/ 2767248 w 5311118"/>
              <a:gd name="connsiteY19" fmla="*/ 3284394 h 3679332"/>
              <a:gd name="connsiteX20" fmla="*/ 2730474 w 5311118"/>
              <a:gd name="connsiteY20" fmla="*/ 3339322 h 3679332"/>
              <a:gd name="connsiteX21" fmla="*/ 2661161 w 5311118"/>
              <a:gd name="connsiteY21" fmla="*/ 3388296 h 3679332"/>
              <a:gd name="connsiteX22" fmla="*/ 2550357 w 5311118"/>
              <a:gd name="connsiteY22" fmla="*/ 3436890 h 3679332"/>
              <a:gd name="connsiteX23" fmla="*/ 2405510 w 5311118"/>
              <a:gd name="connsiteY23" fmla="*/ 3403725 h 3679332"/>
              <a:gd name="connsiteX24" fmla="*/ 2321335 w 5311118"/>
              <a:gd name="connsiteY24" fmla="*/ 3434572 h 3679332"/>
              <a:gd name="connsiteX25" fmla="*/ 2119454 w 5311118"/>
              <a:gd name="connsiteY25" fmla="*/ 3366629 h 3679332"/>
              <a:gd name="connsiteX26" fmla="*/ 1963328 w 5311118"/>
              <a:gd name="connsiteY26" fmla="*/ 3384675 h 3679332"/>
              <a:gd name="connsiteX27" fmla="*/ 1896187 w 5311118"/>
              <a:gd name="connsiteY27" fmla="*/ 3428523 h 3679332"/>
              <a:gd name="connsiteX28" fmla="*/ 1712091 w 5311118"/>
              <a:gd name="connsiteY28" fmla="*/ 3427300 h 3679332"/>
              <a:gd name="connsiteX29" fmla="*/ 1608084 w 5311118"/>
              <a:gd name="connsiteY29" fmla="*/ 3349295 h 3679332"/>
              <a:gd name="connsiteX30" fmla="*/ 1482443 w 5311118"/>
              <a:gd name="connsiteY30" fmla="*/ 3440711 h 3679332"/>
              <a:gd name="connsiteX31" fmla="*/ 1376372 w 5311118"/>
              <a:gd name="connsiteY31" fmla="*/ 3533336 h 3679332"/>
              <a:gd name="connsiteX32" fmla="*/ 1295577 w 5311118"/>
              <a:gd name="connsiteY32" fmla="*/ 3537314 h 3679332"/>
              <a:gd name="connsiteX33" fmla="*/ 1261391 w 5311118"/>
              <a:gd name="connsiteY33" fmla="*/ 3479304 h 3679332"/>
              <a:gd name="connsiteX34" fmla="*/ 1153050 w 5311118"/>
              <a:gd name="connsiteY34" fmla="*/ 3479303 h 3679332"/>
              <a:gd name="connsiteX35" fmla="*/ 1074839 w 5311118"/>
              <a:gd name="connsiteY35" fmla="*/ 3442427 h 3679332"/>
              <a:gd name="connsiteX36" fmla="*/ 979704 w 5311118"/>
              <a:gd name="connsiteY36" fmla="*/ 3483638 h 3679332"/>
              <a:gd name="connsiteX37" fmla="*/ 861320 w 5311118"/>
              <a:gd name="connsiteY37" fmla="*/ 3485879 h 3679332"/>
              <a:gd name="connsiteX38" fmla="*/ 802301 w 5311118"/>
              <a:gd name="connsiteY38" fmla="*/ 3529311 h 3679332"/>
              <a:gd name="connsiteX39" fmla="*/ 734099 w 5311118"/>
              <a:gd name="connsiteY39" fmla="*/ 3485880 h 3679332"/>
              <a:gd name="connsiteX40" fmla="*/ 650347 w 5311118"/>
              <a:gd name="connsiteY40" fmla="*/ 3492305 h 3679332"/>
              <a:gd name="connsiteX41" fmla="*/ 575073 w 5311118"/>
              <a:gd name="connsiteY41" fmla="*/ 3462026 h 3679332"/>
              <a:gd name="connsiteX42" fmla="*/ 507282 w 5311118"/>
              <a:gd name="connsiteY42" fmla="*/ 3402311 h 3679332"/>
              <a:gd name="connsiteX43" fmla="*/ 424997 w 5311118"/>
              <a:gd name="connsiteY43" fmla="*/ 3492305 h 3679332"/>
              <a:gd name="connsiteX44" fmla="*/ 290268 w 5311118"/>
              <a:gd name="connsiteY44" fmla="*/ 3529310 h 3679332"/>
              <a:gd name="connsiteX45" fmla="*/ 177980 w 5311118"/>
              <a:gd name="connsiteY45" fmla="*/ 3505306 h 3679332"/>
              <a:gd name="connsiteX46" fmla="*/ 82916 w 5311118"/>
              <a:gd name="connsiteY46" fmla="*/ 3528605 h 3679332"/>
              <a:gd name="connsiteX47" fmla="*/ 20743 w 5311118"/>
              <a:gd name="connsiteY47" fmla="*/ 3397941 h 3679332"/>
              <a:gd name="connsiteX48" fmla="*/ 173300 w 5311118"/>
              <a:gd name="connsiteY48" fmla="*/ 1282030 h 3679332"/>
              <a:gd name="connsiteX49" fmla="*/ 410334 w 5311118"/>
              <a:gd name="connsiteY49" fmla="*/ 140362 h 3679332"/>
              <a:gd name="connsiteX0" fmla="*/ 485034 w 5385818"/>
              <a:gd name="connsiteY0" fmla="*/ 288627 h 3827597"/>
              <a:gd name="connsiteX1" fmla="*/ 5047832 w 5385818"/>
              <a:gd name="connsiteY1" fmla="*/ 529876 h 3827597"/>
              <a:gd name="connsiteX2" fmla="*/ 5047833 w 5385818"/>
              <a:gd name="connsiteY2" fmla="*/ 3546206 h 3827597"/>
              <a:gd name="connsiteX3" fmla="*/ 4988762 w 5385818"/>
              <a:gd name="connsiteY3" fmla="*/ 3645735 h 3827597"/>
              <a:gd name="connsiteX4" fmla="*/ 4856916 w 5385818"/>
              <a:gd name="connsiteY4" fmla="*/ 3676161 h 3827597"/>
              <a:gd name="connsiteX5" fmla="*/ 4664400 w 5385818"/>
              <a:gd name="connsiteY5" fmla="*/ 3587983 h 3827597"/>
              <a:gd name="connsiteX6" fmla="*/ 4494455 w 5385818"/>
              <a:gd name="connsiteY6" fmla="*/ 3638061 h 3827597"/>
              <a:gd name="connsiteX7" fmla="*/ 4304256 w 5385818"/>
              <a:gd name="connsiteY7" fmla="*/ 3609139 h 3827597"/>
              <a:gd name="connsiteX8" fmla="*/ 4091786 w 5385818"/>
              <a:gd name="connsiteY8" fmla="*/ 3593009 h 3827597"/>
              <a:gd name="connsiteX9" fmla="*/ 3931948 w 5385818"/>
              <a:gd name="connsiteY9" fmla="*/ 3475891 h 3827597"/>
              <a:gd name="connsiteX10" fmla="*/ 3784603 w 5385818"/>
              <a:gd name="connsiteY10" fmla="*/ 3510560 h 3827597"/>
              <a:gd name="connsiteX11" fmla="*/ 3671001 w 5385818"/>
              <a:gd name="connsiteY11" fmla="*/ 3589488 h 3827597"/>
              <a:gd name="connsiteX12" fmla="*/ 3607295 w 5385818"/>
              <a:gd name="connsiteY12" fmla="*/ 3529970 h 3827597"/>
              <a:gd name="connsiteX13" fmla="*/ 3459580 w 5385818"/>
              <a:gd name="connsiteY13" fmla="*/ 3588566 h 3827597"/>
              <a:gd name="connsiteX14" fmla="*/ 3357670 w 5385818"/>
              <a:gd name="connsiteY14" fmla="*/ 3575305 h 3827597"/>
              <a:gd name="connsiteX15" fmla="*/ 3256236 w 5385818"/>
              <a:gd name="connsiteY15" fmla="*/ 3585455 h 3827597"/>
              <a:gd name="connsiteX16" fmla="*/ 3165408 w 5385818"/>
              <a:gd name="connsiteY16" fmla="*/ 3504019 h 3827597"/>
              <a:gd name="connsiteX17" fmla="*/ 3066126 w 5385818"/>
              <a:gd name="connsiteY17" fmla="*/ 3522467 h 3827597"/>
              <a:gd name="connsiteX18" fmla="*/ 2930874 w 5385818"/>
              <a:gd name="connsiteY18" fmla="*/ 3397885 h 3827597"/>
              <a:gd name="connsiteX19" fmla="*/ 2841948 w 5385818"/>
              <a:gd name="connsiteY19" fmla="*/ 3432659 h 3827597"/>
              <a:gd name="connsiteX20" fmla="*/ 2805174 w 5385818"/>
              <a:gd name="connsiteY20" fmla="*/ 3487587 h 3827597"/>
              <a:gd name="connsiteX21" fmla="*/ 2735861 w 5385818"/>
              <a:gd name="connsiteY21" fmla="*/ 3536561 h 3827597"/>
              <a:gd name="connsiteX22" fmla="*/ 2625057 w 5385818"/>
              <a:gd name="connsiteY22" fmla="*/ 3585155 h 3827597"/>
              <a:gd name="connsiteX23" fmla="*/ 2480210 w 5385818"/>
              <a:gd name="connsiteY23" fmla="*/ 3551990 h 3827597"/>
              <a:gd name="connsiteX24" fmla="*/ 2396035 w 5385818"/>
              <a:gd name="connsiteY24" fmla="*/ 3582837 h 3827597"/>
              <a:gd name="connsiteX25" fmla="*/ 2194154 w 5385818"/>
              <a:gd name="connsiteY25" fmla="*/ 3514894 h 3827597"/>
              <a:gd name="connsiteX26" fmla="*/ 2038028 w 5385818"/>
              <a:gd name="connsiteY26" fmla="*/ 3532940 h 3827597"/>
              <a:gd name="connsiteX27" fmla="*/ 1970887 w 5385818"/>
              <a:gd name="connsiteY27" fmla="*/ 3576788 h 3827597"/>
              <a:gd name="connsiteX28" fmla="*/ 1786791 w 5385818"/>
              <a:gd name="connsiteY28" fmla="*/ 3575565 h 3827597"/>
              <a:gd name="connsiteX29" fmla="*/ 1682784 w 5385818"/>
              <a:gd name="connsiteY29" fmla="*/ 3497560 h 3827597"/>
              <a:gd name="connsiteX30" fmla="*/ 1557143 w 5385818"/>
              <a:gd name="connsiteY30" fmla="*/ 3588976 h 3827597"/>
              <a:gd name="connsiteX31" fmla="*/ 1451072 w 5385818"/>
              <a:gd name="connsiteY31" fmla="*/ 3681601 h 3827597"/>
              <a:gd name="connsiteX32" fmla="*/ 1370277 w 5385818"/>
              <a:gd name="connsiteY32" fmla="*/ 3685579 h 3827597"/>
              <a:gd name="connsiteX33" fmla="*/ 1336091 w 5385818"/>
              <a:gd name="connsiteY33" fmla="*/ 3627569 h 3827597"/>
              <a:gd name="connsiteX34" fmla="*/ 1227750 w 5385818"/>
              <a:gd name="connsiteY34" fmla="*/ 3627568 h 3827597"/>
              <a:gd name="connsiteX35" fmla="*/ 1149539 w 5385818"/>
              <a:gd name="connsiteY35" fmla="*/ 3590692 h 3827597"/>
              <a:gd name="connsiteX36" fmla="*/ 1054404 w 5385818"/>
              <a:gd name="connsiteY36" fmla="*/ 3631903 h 3827597"/>
              <a:gd name="connsiteX37" fmla="*/ 936020 w 5385818"/>
              <a:gd name="connsiteY37" fmla="*/ 3634144 h 3827597"/>
              <a:gd name="connsiteX38" fmla="*/ 877001 w 5385818"/>
              <a:gd name="connsiteY38" fmla="*/ 3677576 h 3827597"/>
              <a:gd name="connsiteX39" fmla="*/ 808799 w 5385818"/>
              <a:gd name="connsiteY39" fmla="*/ 3634145 h 3827597"/>
              <a:gd name="connsiteX40" fmla="*/ 725047 w 5385818"/>
              <a:gd name="connsiteY40" fmla="*/ 3640570 h 3827597"/>
              <a:gd name="connsiteX41" fmla="*/ 649773 w 5385818"/>
              <a:gd name="connsiteY41" fmla="*/ 3610291 h 3827597"/>
              <a:gd name="connsiteX42" fmla="*/ 581982 w 5385818"/>
              <a:gd name="connsiteY42" fmla="*/ 3550576 h 3827597"/>
              <a:gd name="connsiteX43" fmla="*/ 499697 w 5385818"/>
              <a:gd name="connsiteY43" fmla="*/ 3640570 h 3827597"/>
              <a:gd name="connsiteX44" fmla="*/ 364968 w 5385818"/>
              <a:gd name="connsiteY44" fmla="*/ 3677575 h 3827597"/>
              <a:gd name="connsiteX45" fmla="*/ 252680 w 5385818"/>
              <a:gd name="connsiteY45" fmla="*/ 3653571 h 3827597"/>
              <a:gd name="connsiteX46" fmla="*/ 157616 w 5385818"/>
              <a:gd name="connsiteY46" fmla="*/ 3676870 h 3827597"/>
              <a:gd name="connsiteX47" fmla="*/ 95443 w 5385818"/>
              <a:gd name="connsiteY47" fmla="*/ 3546206 h 3827597"/>
              <a:gd name="connsiteX48" fmla="*/ 485034 w 5385818"/>
              <a:gd name="connsiteY48" fmla="*/ 288627 h 3827597"/>
              <a:gd name="connsiteX0" fmla="*/ 351970 w 5684669"/>
              <a:gd name="connsiteY0" fmla="*/ 376566 h 3675374"/>
              <a:gd name="connsiteX1" fmla="*/ 5316897 w 5684669"/>
              <a:gd name="connsiteY1" fmla="*/ 377653 h 3675374"/>
              <a:gd name="connsiteX2" fmla="*/ 5316898 w 5684669"/>
              <a:gd name="connsiteY2" fmla="*/ 3393983 h 3675374"/>
              <a:gd name="connsiteX3" fmla="*/ 5257827 w 5684669"/>
              <a:gd name="connsiteY3" fmla="*/ 3493512 h 3675374"/>
              <a:gd name="connsiteX4" fmla="*/ 5125981 w 5684669"/>
              <a:gd name="connsiteY4" fmla="*/ 3523938 h 3675374"/>
              <a:gd name="connsiteX5" fmla="*/ 4933465 w 5684669"/>
              <a:gd name="connsiteY5" fmla="*/ 3435760 h 3675374"/>
              <a:gd name="connsiteX6" fmla="*/ 4763520 w 5684669"/>
              <a:gd name="connsiteY6" fmla="*/ 3485838 h 3675374"/>
              <a:gd name="connsiteX7" fmla="*/ 4573321 w 5684669"/>
              <a:gd name="connsiteY7" fmla="*/ 3456916 h 3675374"/>
              <a:gd name="connsiteX8" fmla="*/ 4360851 w 5684669"/>
              <a:gd name="connsiteY8" fmla="*/ 3440786 h 3675374"/>
              <a:gd name="connsiteX9" fmla="*/ 4201013 w 5684669"/>
              <a:gd name="connsiteY9" fmla="*/ 3323668 h 3675374"/>
              <a:gd name="connsiteX10" fmla="*/ 4053668 w 5684669"/>
              <a:gd name="connsiteY10" fmla="*/ 3358337 h 3675374"/>
              <a:gd name="connsiteX11" fmla="*/ 3940066 w 5684669"/>
              <a:gd name="connsiteY11" fmla="*/ 3437265 h 3675374"/>
              <a:gd name="connsiteX12" fmla="*/ 3876360 w 5684669"/>
              <a:gd name="connsiteY12" fmla="*/ 3377747 h 3675374"/>
              <a:gd name="connsiteX13" fmla="*/ 3728645 w 5684669"/>
              <a:gd name="connsiteY13" fmla="*/ 3436343 h 3675374"/>
              <a:gd name="connsiteX14" fmla="*/ 3626735 w 5684669"/>
              <a:gd name="connsiteY14" fmla="*/ 3423082 h 3675374"/>
              <a:gd name="connsiteX15" fmla="*/ 3525301 w 5684669"/>
              <a:gd name="connsiteY15" fmla="*/ 3433232 h 3675374"/>
              <a:gd name="connsiteX16" fmla="*/ 3434473 w 5684669"/>
              <a:gd name="connsiteY16" fmla="*/ 3351796 h 3675374"/>
              <a:gd name="connsiteX17" fmla="*/ 3335191 w 5684669"/>
              <a:gd name="connsiteY17" fmla="*/ 3370244 h 3675374"/>
              <a:gd name="connsiteX18" fmla="*/ 3199939 w 5684669"/>
              <a:gd name="connsiteY18" fmla="*/ 3245662 h 3675374"/>
              <a:gd name="connsiteX19" fmla="*/ 3111013 w 5684669"/>
              <a:gd name="connsiteY19" fmla="*/ 3280436 h 3675374"/>
              <a:gd name="connsiteX20" fmla="*/ 3074239 w 5684669"/>
              <a:gd name="connsiteY20" fmla="*/ 3335364 h 3675374"/>
              <a:gd name="connsiteX21" fmla="*/ 3004926 w 5684669"/>
              <a:gd name="connsiteY21" fmla="*/ 3384338 h 3675374"/>
              <a:gd name="connsiteX22" fmla="*/ 2894122 w 5684669"/>
              <a:gd name="connsiteY22" fmla="*/ 3432932 h 3675374"/>
              <a:gd name="connsiteX23" fmla="*/ 2749275 w 5684669"/>
              <a:gd name="connsiteY23" fmla="*/ 3399767 h 3675374"/>
              <a:gd name="connsiteX24" fmla="*/ 2665100 w 5684669"/>
              <a:gd name="connsiteY24" fmla="*/ 3430614 h 3675374"/>
              <a:gd name="connsiteX25" fmla="*/ 2463219 w 5684669"/>
              <a:gd name="connsiteY25" fmla="*/ 3362671 h 3675374"/>
              <a:gd name="connsiteX26" fmla="*/ 2307093 w 5684669"/>
              <a:gd name="connsiteY26" fmla="*/ 3380717 h 3675374"/>
              <a:gd name="connsiteX27" fmla="*/ 2239952 w 5684669"/>
              <a:gd name="connsiteY27" fmla="*/ 3424565 h 3675374"/>
              <a:gd name="connsiteX28" fmla="*/ 2055856 w 5684669"/>
              <a:gd name="connsiteY28" fmla="*/ 3423342 h 3675374"/>
              <a:gd name="connsiteX29" fmla="*/ 1951849 w 5684669"/>
              <a:gd name="connsiteY29" fmla="*/ 3345337 h 3675374"/>
              <a:gd name="connsiteX30" fmla="*/ 1826208 w 5684669"/>
              <a:gd name="connsiteY30" fmla="*/ 3436753 h 3675374"/>
              <a:gd name="connsiteX31" fmla="*/ 1720137 w 5684669"/>
              <a:gd name="connsiteY31" fmla="*/ 3529378 h 3675374"/>
              <a:gd name="connsiteX32" fmla="*/ 1639342 w 5684669"/>
              <a:gd name="connsiteY32" fmla="*/ 3533356 h 3675374"/>
              <a:gd name="connsiteX33" fmla="*/ 1605156 w 5684669"/>
              <a:gd name="connsiteY33" fmla="*/ 3475346 h 3675374"/>
              <a:gd name="connsiteX34" fmla="*/ 1496815 w 5684669"/>
              <a:gd name="connsiteY34" fmla="*/ 3475345 h 3675374"/>
              <a:gd name="connsiteX35" fmla="*/ 1418604 w 5684669"/>
              <a:gd name="connsiteY35" fmla="*/ 3438469 h 3675374"/>
              <a:gd name="connsiteX36" fmla="*/ 1323469 w 5684669"/>
              <a:gd name="connsiteY36" fmla="*/ 3479680 h 3675374"/>
              <a:gd name="connsiteX37" fmla="*/ 1205085 w 5684669"/>
              <a:gd name="connsiteY37" fmla="*/ 3481921 h 3675374"/>
              <a:gd name="connsiteX38" fmla="*/ 1146066 w 5684669"/>
              <a:gd name="connsiteY38" fmla="*/ 3525353 h 3675374"/>
              <a:gd name="connsiteX39" fmla="*/ 1077864 w 5684669"/>
              <a:gd name="connsiteY39" fmla="*/ 3481922 h 3675374"/>
              <a:gd name="connsiteX40" fmla="*/ 994112 w 5684669"/>
              <a:gd name="connsiteY40" fmla="*/ 3488347 h 3675374"/>
              <a:gd name="connsiteX41" fmla="*/ 918838 w 5684669"/>
              <a:gd name="connsiteY41" fmla="*/ 3458068 h 3675374"/>
              <a:gd name="connsiteX42" fmla="*/ 851047 w 5684669"/>
              <a:gd name="connsiteY42" fmla="*/ 3398353 h 3675374"/>
              <a:gd name="connsiteX43" fmla="*/ 768762 w 5684669"/>
              <a:gd name="connsiteY43" fmla="*/ 3488347 h 3675374"/>
              <a:gd name="connsiteX44" fmla="*/ 634033 w 5684669"/>
              <a:gd name="connsiteY44" fmla="*/ 3525352 h 3675374"/>
              <a:gd name="connsiteX45" fmla="*/ 521745 w 5684669"/>
              <a:gd name="connsiteY45" fmla="*/ 3501348 h 3675374"/>
              <a:gd name="connsiteX46" fmla="*/ 426681 w 5684669"/>
              <a:gd name="connsiteY46" fmla="*/ 3524647 h 3675374"/>
              <a:gd name="connsiteX47" fmla="*/ 364508 w 5684669"/>
              <a:gd name="connsiteY47" fmla="*/ 3393983 h 3675374"/>
              <a:gd name="connsiteX48" fmla="*/ 351970 w 5684669"/>
              <a:gd name="connsiteY48" fmla="*/ 376566 h 3675374"/>
              <a:gd name="connsiteX0" fmla="*/ 351970 w 5684669"/>
              <a:gd name="connsiteY0" fmla="*/ 376566 h 3675374"/>
              <a:gd name="connsiteX1" fmla="*/ 5316897 w 5684669"/>
              <a:gd name="connsiteY1" fmla="*/ 377653 h 3675374"/>
              <a:gd name="connsiteX2" fmla="*/ 5316898 w 5684669"/>
              <a:gd name="connsiteY2" fmla="*/ 3393983 h 3675374"/>
              <a:gd name="connsiteX3" fmla="*/ 5257827 w 5684669"/>
              <a:gd name="connsiteY3" fmla="*/ 3493512 h 3675374"/>
              <a:gd name="connsiteX4" fmla="*/ 5125981 w 5684669"/>
              <a:gd name="connsiteY4" fmla="*/ 3523938 h 3675374"/>
              <a:gd name="connsiteX5" fmla="*/ 4933465 w 5684669"/>
              <a:gd name="connsiteY5" fmla="*/ 3435760 h 3675374"/>
              <a:gd name="connsiteX6" fmla="*/ 4763520 w 5684669"/>
              <a:gd name="connsiteY6" fmla="*/ 3485838 h 3675374"/>
              <a:gd name="connsiteX7" fmla="*/ 4573321 w 5684669"/>
              <a:gd name="connsiteY7" fmla="*/ 3456916 h 3675374"/>
              <a:gd name="connsiteX8" fmla="*/ 4360851 w 5684669"/>
              <a:gd name="connsiteY8" fmla="*/ 3440786 h 3675374"/>
              <a:gd name="connsiteX9" fmla="*/ 4201013 w 5684669"/>
              <a:gd name="connsiteY9" fmla="*/ 3323668 h 3675374"/>
              <a:gd name="connsiteX10" fmla="*/ 4053668 w 5684669"/>
              <a:gd name="connsiteY10" fmla="*/ 3358337 h 3675374"/>
              <a:gd name="connsiteX11" fmla="*/ 3940066 w 5684669"/>
              <a:gd name="connsiteY11" fmla="*/ 3437265 h 3675374"/>
              <a:gd name="connsiteX12" fmla="*/ 3876360 w 5684669"/>
              <a:gd name="connsiteY12" fmla="*/ 3377747 h 3675374"/>
              <a:gd name="connsiteX13" fmla="*/ 3728645 w 5684669"/>
              <a:gd name="connsiteY13" fmla="*/ 3436343 h 3675374"/>
              <a:gd name="connsiteX14" fmla="*/ 3626735 w 5684669"/>
              <a:gd name="connsiteY14" fmla="*/ 3423082 h 3675374"/>
              <a:gd name="connsiteX15" fmla="*/ 3525301 w 5684669"/>
              <a:gd name="connsiteY15" fmla="*/ 3433232 h 3675374"/>
              <a:gd name="connsiteX16" fmla="*/ 3434473 w 5684669"/>
              <a:gd name="connsiteY16" fmla="*/ 3351796 h 3675374"/>
              <a:gd name="connsiteX17" fmla="*/ 3335191 w 5684669"/>
              <a:gd name="connsiteY17" fmla="*/ 3370244 h 3675374"/>
              <a:gd name="connsiteX18" fmla="*/ 3199939 w 5684669"/>
              <a:gd name="connsiteY18" fmla="*/ 3245662 h 3675374"/>
              <a:gd name="connsiteX19" fmla="*/ 3111013 w 5684669"/>
              <a:gd name="connsiteY19" fmla="*/ 3280436 h 3675374"/>
              <a:gd name="connsiteX20" fmla="*/ 3074239 w 5684669"/>
              <a:gd name="connsiteY20" fmla="*/ 3335364 h 3675374"/>
              <a:gd name="connsiteX21" fmla="*/ 3004926 w 5684669"/>
              <a:gd name="connsiteY21" fmla="*/ 3384338 h 3675374"/>
              <a:gd name="connsiteX22" fmla="*/ 2894122 w 5684669"/>
              <a:gd name="connsiteY22" fmla="*/ 3432932 h 3675374"/>
              <a:gd name="connsiteX23" fmla="*/ 2749275 w 5684669"/>
              <a:gd name="connsiteY23" fmla="*/ 3399767 h 3675374"/>
              <a:gd name="connsiteX24" fmla="*/ 2665100 w 5684669"/>
              <a:gd name="connsiteY24" fmla="*/ 3430614 h 3675374"/>
              <a:gd name="connsiteX25" fmla="*/ 2463219 w 5684669"/>
              <a:gd name="connsiteY25" fmla="*/ 3362671 h 3675374"/>
              <a:gd name="connsiteX26" fmla="*/ 2307093 w 5684669"/>
              <a:gd name="connsiteY26" fmla="*/ 3380717 h 3675374"/>
              <a:gd name="connsiteX27" fmla="*/ 2239952 w 5684669"/>
              <a:gd name="connsiteY27" fmla="*/ 3424565 h 3675374"/>
              <a:gd name="connsiteX28" fmla="*/ 2055856 w 5684669"/>
              <a:gd name="connsiteY28" fmla="*/ 3423342 h 3675374"/>
              <a:gd name="connsiteX29" fmla="*/ 1951849 w 5684669"/>
              <a:gd name="connsiteY29" fmla="*/ 3345337 h 3675374"/>
              <a:gd name="connsiteX30" fmla="*/ 1826208 w 5684669"/>
              <a:gd name="connsiteY30" fmla="*/ 3436753 h 3675374"/>
              <a:gd name="connsiteX31" fmla="*/ 1720137 w 5684669"/>
              <a:gd name="connsiteY31" fmla="*/ 3529378 h 3675374"/>
              <a:gd name="connsiteX32" fmla="*/ 1639342 w 5684669"/>
              <a:gd name="connsiteY32" fmla="*/ 3533356 h 3675374"/>
              <a:gd name="connsiteX33" fmla="*/ 1605156 w 5684669"/>
              <a:gd name="connsiteY33" fmla="*/ 3475346 h 3675374"/>
              <a:gd name="connsiteX34" fmla="*/ 1496815 w 5684669"/>
              <a:gd name="connsiteY34" fmla="*/ 3475345 h 3675374"/>
              <a:gd name="connsiteX35" fmla="*/ 1418604 w 5684669"/>
              <a:gd name="connsiteY35" fmla="*/ 3438469 h 3675374"/>
              <a:gd name="connsiteX36" fmla="*/ 1323469 w 5684669"/>
              <a:gd name="connsiteY36" fmla="*/ 3479680 h 3675374"/>
              <a:gd name="connsiteX37" fmla="*/ 1205085 w 5684669"/>
              <a:gd name="connsiteY37" fmla="*/ 3481921 h 3675374"/>
              <a:gd name="connsiteX38" fmla="*/ 1146066 w 5684669"/>
              <a:gd name="connsiteY38" fmla="*/ 3525353 h 3675374"/>
              <a:gd name="connsiteX39" fmla="*/ 1077864 w 5684669"/>
              <a:gd name="connsiteY39" fmla="*/ 3481922 h 3675374"/>
              <a:gd name="connsiteX40" fmla="*/ 994112 w 5684669"/>
              <a:gd name="connsiteY40" fmla="*/ 3488347 h 3675374"/>
              <a:gd name="connsiteX41" fmla="*/ 918838 w 5684669"/>
              <a:gd name="connsiteY41" fmla="*/ 3458068 h 3675374"/>
              <a:gd name="connsiteX42" fmla="*/ 851047 w 5684669"/>
              <a:gd name="connsiteY42" fmla="*/ 3398353 h 3675374"/>
              <a:gd name="connsiteX43" fmla="*/ 768762 w 5684669"/>
              <a:gd name="connsiteY43" fmla="*/ 3488347 h 3675374"/>
              <a:gd name="connsiteX44" fmla="*/ 634033 w 5684669"/>
              <a:gd name="connsiteY44" fmla="*/ 3525352 h 3675374"/>
              <a:gd name="connsiteX45" fmla="*/ 521745 w 5684669"/>
              <a:gd name="connsiteY45" fmla="*/ 3501348 h 3675374"/>
              <a:gd name="connsiteX46" fmla="*/ 426681 w 5684669"/>
              <a:gd name="connsiteY46" fmla="*/ 3524647 h 3675374"/>
              <a:gd name="connsiteX47" fmla="*/ 364508 w 5684669"/>
              <a:gd name="connsiteY47" fmla="*/ 3393983 h 3675374"/>
              <a:gd name="connsiteX48" fmla="*/ 351970 w 5684669"/>
              <a:gd name="connsiteY48" fmla="*/ 376566 h 3675374"/>
              <a:gd name="connsiteX0" fmla="*/ 351970 w 5684669"/>
              <a:gd name="connsiteY0" fmla="*/ 223972 h 3522780"/>
              <a:gd name="connsiteX1" fmla="*/ 5316897 w 5684669"/>
              <a:gd name="connsiteY1" fmla="*/ 225059 h 3522780"/>
              <a:gd name="connsiteX2" fmla="*/ 5316898 w 5684669"/>
              <a:gd name="connsiteY2" fmla="*/ 3241389 h 3522780"/>
              <a:gd name="connsiteX3" fmla="*/ 5257827 w 5684669"/>
              <a:gd name="connsiteY3" fmla="*/ 3340918 h 3522780"/>
              <a:gd name="connsiteX4" fmla="*/ 5125981 w 5684669"/>
              <a:gd name="connsiteY4" fmla="*/ 3371344 h 3522780"/>
              <a:gd name="connsiteX5" fmla="*/ 4933465 w 5684669"/>
              <a:gd name="connsiteY5" fmla="*/ 3283166 h 3522780"/>
              <a:gd name="connsiteX6" fmla="*/ 4763520 w 5684669"/>
              <a:gd name="connsiteY6" fmla="*/ 3333244 h 3522780"/>
              <a:gd name="connsiteX7" fmla="*/ 4573321 w 5684669"/>
              <a:gd name="connsiteY7" fmla="*/ 3304322 h 3522780"/>
              <a:gd name="connsiteX8" fmla="*/ 4360851 w 5684669"/>
              <a:gd name="connsiteY8" fmla="*/ 3288192 h 3522780"/>
              <a:gd name="connsiteX9" fmla="*/ 4201013 w 5684669"/>
              <a:gd name="connsiteY9" fmla="*/ 3171074 h 3522780"/>
              <a:gd name="connsiteX10" fmla="*/ 4053668 w 5684669"/>
              <a:gd name="connsiteY10" fmla="*/ 3205743 h 3522780"/>
              <a:gd name="connsiteX11" fmla="*/ 3940066 w 5684669"/>
              <a:gd name="connsiteY11" fmla="*/ 3284671 h 3522780"/>
              <a:gd name="connsiteX12" fmla="*/ 3876360 w 5684669"/>
              <a:gd name="connsiteY12" fmla="*/ 3225153 h 3522780"/>
              <a:gd name="connsiteX13" fmla="*/ 3728645 w 5684669"/>
              <a:gd name="connsiteY13" fmla="*/ 3283749 h 3522780"/>
              <a:gd name="connsiteX14" fmla="*/ 3626735 w 5684669"/>
              <a:gd name="connsiteY14" fmla="*/ 3270488 h 3522780"/>
              <a:gd name="connsiteX15" fmla="*/ 3525301 w 5684669"/>
              <a:gd name="connsiteY15" fmla="*/ 3280638 h 3522780"/>
              <a:gd name="connsiteX16" fmla="*/ 3434473 w 5684669"/>
              <a:gd name="connsiteY16" fmla="*/ 3199202 h 3522780"/>
              <a:gd name="connsiteX17" fmla="*/ 3335191 w 5684669"/>
              <a:gd name="connsiteY17" fmla="*/ 3217650 h 3522780"/>
              <a:gd name="connsiteX18" fmla="*/ 3199939 w 5684669"/>
              <a:gd name="connsiteY18" fmla="*/ 3093068 h 3522780"/>
              <a:gd name="connsiteX19" fmla="*/ 3111013 w 5684669"/>
              <a:gd name="connsiteY19" fmla="*/ 3127842 h 3522780"/>
              <a:gd name="connsiteX20" fmla="*/ 3074239 w 5684669"/>
              <a:gd name="connsiteY20" fmla="*/ 3182770 h 3522780"/>
              <a:gd name="connsiteX21" fmla="*/ 3004926 w 5684669"/>
              <a:gd name="connsiteY21" fmla="*/ 3231744 h 3522780"/>
              <a:gd name="connsiteX22" fmla="*/ 2894122 w 5684669"/>
              <a:gd name="connsiteY22" fmla="*/ 3280338 h 3522780"/>
              <a:gd name="connsiteX23" fmla="*/ 2749275 w 5684669"/>
              <a:gd name="connsiteY23" fmla="*/ 3247173 h 3522780"/>
              <a:gd name="connsiteX24" fmla="*/ 2665100 w 5684669"/>
              <a:gd name="connsiteY24" fmla="*/ 3278020 h 3522780"/>
              <a:gd name="connsiteX25" fmla="*/ 2463219 w 5684669"/>
              <a:gd name="connsiteY25" fmla="*/ 3210077 h 3522780"/>
              <a:gd name="connsiteX26" fmla="*/ 2307093 w 5684669"/>
              <a:gd name="connsiteY26" fmla="*/ 3228123 h 3522780"/>
              <a:gd name="connsiteX27" fmla="*/ 2239952 w 5684669"/>
              <a:gd name="connsiteY27" fmla="*/ 3271971 h 3522780"/>
              <a:gd name="connsiteX28" fmla="*/ 2055856 w 5684669"/>
              <a:gd name="connsiteY28" fmla="*/ 3270748 h 3522780"/>
              <a:gd name="connsiteX29" fmla="*/ 1951849 w 5684669"/>
              <a:gd name="connsiteY29" fmla="*/ 3192743 h 3522780"/>
              <a:gd name="connsiteX30" fmla="*/ 1826208 w 5684669"/>
              <a:gd name="connsiteY30" fmla="*/ 3284159 h 3522780"/>
              <a:gd name="connsiteX31" fmla="*/ 1720137 w 5684669"/>
              <a:gd name="connsiteY31" fmla="*/ 3376784 h 3522780"/>
              <a:gd name="connsiteX32" fmla="*/ 1639342 w 5684669"/>
              <a:gd name="connsiteY32" fmla="*/ 3380762 h 3522780"/>
              <a:gd name="connsiteX33" fmla="*/ 1605156 w 5684669"/>
              <a:gd name="connsiteY33" fmla="*/ 3322752 h 3522780"/>
              <a:gd name="connsiteX34" fmla="*/ 1496815 w 5684669"/>
              <a:gd name="connsiteY34" fmla="*/ 3322751 h 3522780"/>
              <a:gd name="connsiteX35" fmla="*/ 1418604 w 5684669"/>
              <a:gd name="connsiteY35" fmla="*/ 3285875 h 3522780"/>
              <a:gd name="connsiteX36" fmla="*/ 1323469 w 5684669"/>
              <a:gd name="connsiteY36" fmla="*/ 3327086 h 3522780"/>
              <a:gd name="connsiteX37" fmla="*/ 1205085 w 5684669"/>
              <a:gd name="connsiteY37" fmla="*/ 3329327 h 3522780"/>
              <a:gd name="connsiteX38" fmla="*/ 1146066 w 5684669"/>
              <a:gd name="connsiteY38" fmla="*/ 3372759 h 3522780"/>
              <a:gd name="connsiteX39" fmla="*/ 1077864 w 5684669"/>
              <a:gd name="connsiteY39" fmla="*/ 3329328 h 3522780"/>
              <a:gd name="connsiteX40" fmla="*/ 994112 w 5684669"/>
              <a:gd name="connsiteY40" fmla="*/ 3335753 h 3522780"/>
              <a:gd name="connsiteX41" fmla="*/ 918838 w 5684669"/>
              <a:gd name="connsiteY41" fmla="*/ 3305474 h 3522780"/>
              <a:gd name="connsiteX42" fmla="*/ 851047 w 5684669"/>
              <a:gd name="connsiteY42" fmla="*/ 3245759 h 3522780"/>
              <a:gd name="connsiteX43" fmla="*/ 768762 w 5684669"/>
              <a:gd name="connsiteY43" fmla="*/ 3335753 h 3522780"/>
              <a:gd name="connsiteX44" fmla="*/ 634033 w 5684669"/>
              <a:gd name="connsiteY44" fmla="*/ 3372758 h 3522780"/>
              <a:gd name="connsiteX45" fmla="*/ 521745 w 5684669"/>
              <a:gd name="connsiteY45" fmla="*/ 3348754 h 3522780"/>
              <a:gd name="connsiteX46" fmla="*/ 426681 w 5684669"/>
              <a:gd name="connsiteY46" fmla="*/ 3372053 h 3522780"/>
              <a:gd name="connsiteX47" fmla="*/ 364508 w 5684669"/>
              <a:gd name="connsiteY47" fmla="*/ 3241389 h 3522780"/>
              <a:gd name="connsiteX48" fmla="*/ 351970 w 5684669"/>
              <a:gd name="connsiteY48" fmla="*/ 223972 h 3522780"/>
              <a:gd name="connsiteX0" fmla="*/ 3403 w 5336102"/>
              <a:gd name="connsiteY0" fmla="*/ 223972 h 3522780"/>
              <a:gd name="connsiteX1" fmla="*/ 4968330 w 5336102"/>
              <a:gd name="connsiteY1" fmla="*/ 225059 h 3522780"/>
              <a:gd name="connsiteX2" fmla="*/ 4968331 w 5336102"/>
              <a:gd name="connsiteY2" fmla="*/ 3241389 h 3522780"/>
              <a:gd name="connsiteX3" fmla="*/ 4909260 w 5336102"/>
              <a:gd name="connsiteY3" fmla="*/ 3340918 h 3522780"/>
              <a:gd name="connsiteX4" fmla="*/ 4777414 w 5336102"/>
              <a:gd name="connsiteY4" fmla="*/ 3371344 h 3522780"/>
              <a:gd name="connsiteX5" fmla="*/ 4584898 w 5336102"/>
              <a:gd name="connsiteY5" fmla="*/ 3283166 h 3522780"/>
              <a:gd name="connsiteX6" fmla="*/ 4414953 w 5336102"/>
              <a:gd name="connsiteY6" fmla="*/ 3333244 h 3522780"/>
              <a:gd name="connsiteX7" fmla="*/ 4224754 w 5336102"/>
              <a:gd name="connsiteY7" fmla="*/ 3304322 h 3522780"/>
              <a:gd name="connsiteX8" fmla="*/ 4012284 w 5336102"/>
              <a:gd name="connsiteY8" fmla="*/ 3288192 h 3522780"/>
              <a:gd name="connsiteX9" fmla="*/ 3852446 w 5336102"/>
              <a:gd name="connsiteY9" fmla="*/ 3171074 h 3522780"/>
              <a:gd name="connsiteX10" fmla="*/ 3705101 w 5336102"/>
              <a:gd name="connsiteY10" fmla="*/ 3205743 h 3522780"/>
              <a:gd name="connsiteX11" fmla="*/ 3591499 w 5336102"/>
              <a:gd name="connsiteY11" fmla="*/ 3284671 h 3522780"/>
              <a:gd name="connsiteX12" fmla="*/ 3527793 w 5336102"/>
              <a:gd name="connsiteY12" fmla="*/ 3225153 h 3522780"/>
              <a:gd name="connsiteX13" fmla="*/ 3380078 w 5336102"/>
              <a:gd name="connsiteY13" fmla="*/ 3283749 h 3522780"/>
              <a:gd name="connsiteX14" fmla="*/ 3278168 w 5336102"/>
              <a:gd name="connsiteY14" fmla="*/ 3270488 h 3522780"/>
              <a:gd name="connsiteX15" fmla="*/ 3176734 w 5336102"/>
              <a:gd name="connsiteY15" fmla="*/ 3280638 h 3522780"/>
              <a:gd name="connsiteX16" fmla="*/ 3085906 w 5336102"/>
              <a:gd name="connsiteY16" fmla="*/ 3199202 h 3522780"/>
              <a:gd name="connsiteX17" fmla="*/ 2986624 w 5336102"/>
              <a:gd name="connsiteY17" fmla="*/ 3217650 h 3522780"/>
              <a:gd name="connsiteX18" fmla="*/ 2851372 w 5336102"/>
              <a:gd name="connsiteY18" fmla="*/ 3093068 h 3522780"/>
              <a:gd name="connsiteX19" fmla="*/ 2762446 w 5336102"/>
              <a:gd name="connsiteY19" fmla="*/ 3127842 h 3522780"/>
              <a:gd name="connsiteX20" fmla="*/ 2725672 w 5336102"/>
              <a:gd name="connsiteY20" fmla="*/ 3182770 h 3522780"/>
              <a:gd name="connsiteX21" fmla="*/ 2656359 w 5336102"/>
              <a:gd name="connsiteY21" fmla="*/ 3231744 h 3522780"/>
              <a:gd name="connsiteX22" fmla="*/ 2545555 w 5336102"/>
              <a:gd name="connsiteY22" fmla="*/ 3280338 h 3522780"/>
              <a:gd name="connsiteX23" fmla="*/ 2400708 w 5336102"/>
              <a:gd name="connsiteY23" fmla="*/ 3247173 h 3522780"/>
              <a:gd name="connsiteX24" fmla="*/ 2316533 w 5336102"/>
              <a:gd name="connsiteY24" fmla="*/ 3278020 h 3522780"/>
              <a:gd name="connsiteX25" fmla="*/ 2114652 w 5336102"/>
              <a:gd name="connsiteY25" fmla="*/ 3210077 h 3522780"/>
              <a:gd name="connsiteX26" fmla="*/ 1958526 w 5336102"/>
              <a:gd name="connsiteY26" fmla="*/ 3228123 h 3522780"/>
              <a:gd name="connsiteX27" fmla="*/ 1891385 w 5336102"/>
              <a:gd name="connsiteY27" fmla="*/ 3271971 h 3522780"/>
              <a:gd name="connsiteX28" fmla="*/ 1707289 w 5336102"/>
              <a:gd name="connsiteY28" fmla="*/ 3270748 h 3522780"/>
              <a:gd name="connsiteX29" fmla="*/ 1603282 w 5336102"/>
              <a:gd name="connsiteY29" fmla="*/ 3192743 h 3522780"/>
              <a:gd name="connsiteX30" fmla="*/ 1477641 w 5336102"/>
              <a:gd name="connsiteY30" fmla="*/ 3284159 h 3522780"/>
              <a:gd name="connsiteX31" fmla="*/ 1371570 w 5336102"/>
              <a:gd name="connsiteY31" fmla="*/ 3376784 h 3522780"/>
              <a:gd name="connsiteX32" fmla="*/ 1290775 w 5336102"/>
              <a:gd name="connsiteY32" fmla="*/ 3380762 h 3522780"/>
              <a:gd name="connsiteX33" fmla="*/ 1256589 w 5336102"/>
              <a:gd name="connsiteY33" fmla="*/ 3322752 h 3522780"/>
              <a:gd name="connsiteX34" fmla="*/ 1148248 w 5336102"/>
              <a:gd name="connsiteY34" fmla="*/ 3322751 h 3522780"/>
              <a:gd name="connsiteX35" fmla="*/ 1070037 w 5336102"/>
              <a:gd name="connsiteY35" fmla="*/ 3285875 h 3522780"/>
              <a:gd name="connsiteX36" fmla="*/ 974902 w 5336102"/>
              <a:gd name="connsiteY36" fmla="*/ 3327086 h 3522780"/>
              <a:gd name="connsiteX37" fmla="*/ 856518 w 5336102"/>
              <a:gd name="connsiteY37" fmla="*/ 3329327 h 3522780"/>
              <a:gd name="connsiteX38" fmla="*/ 797499 w 5336102"/>
              <a:gd name="connsiteY38" fmla="*/ 3372759 h 3522780"/>
              <a:gd name="connsiteX39" fmla="*/ 729297 w 5336102"/>
              <a:gd name="connsiteY39" fmla="*/ 3329328 h 3522780"/>
              <a:gd name="connsiteX40" fmla="*/ 645545 w 5336102"/>
              <a:gd name="connsiteY40" fmla="*/ 3335753 h 3522780"/>
              <a:gd name="connsiteX41" fmla="*/ 570271 w 5336102"/>
              <a:gd name="connsiteY41" fmla="*/ 3305474 h 3522780"/>
              <a:gd name="connsiteX42" fmla="*/ 502480 w 5336102"/>
              <a:gd name="connsiteY42" fmla="*/ 3245759 h 3522780"/>
              <a:gd name="connsiteX43" fmla="*/ 420195 w 5336102"/>
              <a:gd name="connsiteY43" fmla="*/ 3335753 h 3522780"/>
              <a:gd name="connsiteX44" fmla="*/ 285466 w 5336102"/>
              <a:gd name="connsiteY44" fmla="*/ 3372758 h 3522780"/>
              <a:gd name="connsiteX45" fmla="*/ 173178 w 5336102"/>
              <a:gd name="connsiteY45" fmla="*/ 3348754 h 3522780"/>
              <a:gd name="connsiteX46" fmla="*/ 78114 w 5336102"/>
              <a:gd name="connsiteY46" fmla="*/ 3372053 h 3522780"/>
              <a:gd name="connsiteX47" fmla="*/ 15941 w 5336102"/>
              <a:gd name="connsiteY47" fmla="*/ 3241389 h 3522780"/>
              <a:gd name="connsiteX48" fmla="*/ 3403 w 5336102"/>
              <a:gd name="connsiteY48" fmla="*/ 223972 h 3522780"/>
              <a:gd name="connsiteX0" fmla="*/ 3403 w 5336102"/>
              <a:gd name="connsiteY0" fmla="*/ 223972 h 3522780"/>
              <a:gd name="connsiteX1" fmla="*/ 4968330 w 5336102"/>
              <a:gd name="connsiteY1" fmla="*/ 225059 h 3522780"/>
              <a:gd name="connsiteX2" fmla="*/ 4968331 w 5336102"/>
              <a:gd name="connsiteY2" fmla="*/ 3241389 h 3522780"/>
              <a:gd name="connsiteX3" fmla="*/ 4909260 w 5336102"/>
              <a:gd name="connsiteY3" fmla="*/ 3340918 h 3522780"/>
              <a:gd name="connsiteX4" fmla="*/ 4777414 w 5336102"/>
              <a:gd name="connsiteY4" fmla="*/ 3371344 h 3522780"/>
              <a:gd name="connsiteX5" fmla="*/ 4584898 w 5336102"/>
              <a:gd name="connsiteY5" fmla="*/ 3283166 h 3522780"/>
              <a:gd name="connsiteX6" fmla="*/ 4414953 w 5336102"/>
              <a:gd name="connsiteY6" fmla="*/ 3333244 h 3522780"/>
              <a:gd name="connsiteX7" fmla="*/ 4224754 w 5336102"/>
              <a:gd name="connsiteY7" fmla="*/ 3304322 h 3522780"/>
              <a:gd name="connsiteX8" fmla="*/ 4012284 w 5336102"/>
              <a:gd name="connsiteY8" fmla="*/ 3288192 h 3522780"/>
              <a:gd name="connsiteX9" fmla="*/ 3852446 w 5336102"/>
              <a:gd name="connsiteY9" fmla="*/ 3171074 h 3522780"/>
              <a:gd name="connsiteX10" fmla="*/ 3705101 w 5336102"/>
              <a:gd name="connsiteY10" fmla="*/ 3205743 h 3522780"/>
              <a:gd name="connsiteX11" fmla="*/ 3591499 w 5336102"/>
              <a:gd name="connsiteY11" fmla="*/ 3284671 h 3522780"/>
              <a:gd name="connsiteX12" fmla="*/ 3527793 w 5336102"/>
              <a:gd name="connsiteY12" fmla="*/ 3225153 h 3522780"/>
              <a:gd name="connsiteX13" fmla="*/ 3380078 w 5336102"/>
              <a:gd name="connsiteY13" fmla="*/ 3283749 h 3522780"/>
              <a:gd name="connsiteX14" fmla="*/ 3278168 w 5336102"/>
              <a:gd name="connsiteY14" fmla="*/ 3270488 h 3522780"/>
              <a:gd name="connsiteX15" fmla="*/ 3176734 w 5336102"/>
              <a:gd name="connsiteY15" fmla="*/ 3280638 h 3522780"/>
              <a:gd name="connsiteX16" fmla="*/ 3085906 w 5336102"/>
              <a:gd name="connsiteY16" fmla="*/ 3199202 h 3522780"/>
              <a:gd name="connsiteX17" fmla="*/ 2986624 w 5336102"/>
              <a:gd name="connsiteY17" fmla="*/ 3217650 h 3522780"/>
              <a:gd name="connsiteX18" fmla="*/ 2851372 w 5336102"/>
              <a:gd name="connsiteY18" fmla="*/ 3093068 h 3522780"/>
              <a:gd name="connsiteX19" fmla="*/ 2762446 w 5336102"/>
              <a:gd name="connsiteY19" fmla="*/ 3127842 h 3522780"/>
              <a:gd name="connsiteX20" fmla="*/ 2725672 w 5336102"/>
              <a:gd name="connsiteY20" fmla="*/ 3182770 h 3522780"/>
              <a:gd name="connsiteX21" fmla="*/ 2656359 w 5336102"/>
              <a:gd name="connsiteY21" fmla="*/ 3231744 h 3522780"/>
              <a:gd name="connsiteX22" fmla="*/ 2545555 w 5336102"/>
              <a:gd name="connsiteY22" fmla="*/ 3280338 h 3522780"/>
              <a:gd name="connsiteX23" fmla="*/ 2400708 w 5336102"/>
              <a:gd name="connsiteY23" fmla="*/ 3247173 h 3522780"/>
              <a:gd name="connsiteX24" fmla="*/ 2316533 w 5336102"/>
              <a:gd name="connsiteY24" fmla="*/ 3278020 h 3522780"/>
              <a:gd name="connsiteX25" fmla="*/ 2114652 w 5336102"/>
              <a:gd name="connsiteY25" fmla="*/ 3210077 h 3522780"/>
              <a:gd name="connsiteX26" fmla="*/ 1958526 w 5336102"/>
              <a:gd name="connsiteY26" fmla="*/ 3228123 h 3522780"/>
              <a:gd name="connsiteX27" fmla="*/ 1891385 w 5336102"/>
              <a:gd name="connsiteY27" fmla="*/ 3271971 h 3522780"/>
              <a:gd name="connsiteX28" fmla="*/ 1707289 w 5336102"/>
              <a:gd name="connsiteY28" fmla="*/ 3270748 h 3522780"/>
              <a:gd name="connsiteX29" fmla="*/ 1603282 w 5336102"/>
              <a:gd name="connsiteY29" fmla="*/ 3192743 h 3522780"/>
              <a:gd name="connsiteX30" fmla="*/ 1477641 w 5336102"/>
              <a:gd name="connsiteY30" fmla="*/ 3284159 h 3522780"/>
              <a:gd name="connsiteX31" fmla="*/ 1371570 w 5336102"/>
              <a:gd name="connsiteY31" fmla="*/ 3376784 h 3522780"/>
              <a:gd name="connsiteX32" fmla="*/ 1290775 w 5336102"/>
              <a:gd name="connsiteY32" fmla="*/ 3380762 h 3522780"/>
              <a:gd name="connsiteX33" fmla="*/ 1256589 w 5336102"/>
              <a:gd name="connsiteY33" fmla="*/ 3322752 h 3522780"/>
              <a:gd name="connsiteX34" fmla="*/ 1148248 w 5336102"/>
              <a:gd name="connsiteY34" fmla="*/ 3322751 h 3522780"/>
              <a:gd name="connsiteX35" fmla="*/ 1070037 w 5336102"/>
              <a:gd name="connsiteY35" fmla="*/ 3285875 h 3522780"/>
              <a:gd name="connsiteX36" fmla="*/ 974902 w 5336102"/>
              <a:gd name="connsiteY36" fmla="*/ 3327086 h 3522780"/>
              <a:gd name="connsiteX37" fmla="*/ 856518 w 5336102"/>
              <a:gd name="connsiteY37" fmla="*/ 3329327 h 3522780"/>
              <a:gd name="connsiteX38" fmla="*/ 797499 w 5336102"/>
              <a:gd name="connsiteY38" fmla="*/ 3372759 h 3522780"/>
              <a:gd name="connsiteX39" fmla="*/ 729297 w 5336102"/>
              <a:gd name="connsiteY39" fmla="*/ 3329328 h 3522780"/>
              <a:gd name="connsiteX40" fmla="*/ 645545 w 5336102"/>
              <a:gd name="connsiteY40" fmla="*/ 3335753 h 3522780"/>
              <a:gd name="connsiteX41" fmla="*/ 570271 w 5336102"/>
              <a:gd name="connsiteY41" fmla="*/ 3305474 h 3522780"/>
              <a:gd name="connsiteX42" fmla="*/ 502480 w 5336102"/>
              <a:gd name="connsiteY42" fmla="*/ 3245759 h 3522780"/>
              <a:gd name="connsiteX43" fmla="*/ 420195 w 5336102"/>
              <a:gd name="connsiteY43" fmla="*/ 3335753 h 3522780"/>
              <a:gd name="connsiteX44" fmla="*/ 285466 w 5336102"/>
              <a:gd name="connsiteY44" fmla="*/ 3372758 h 3522780"/>
              <a:gd name="connsiteX45" fmla="*/ 173178 w 5336102"/>
              <a:gd name="connsiteY45" fmla="*/ 3348754 h 3522780"/>
              <a:gd name="connsiteX46" fmla="*/ 78114 w 5336102"/>
              <a:gd name="connsiteY46" fmla="*/ 3372053 h 3522780"/>
              <a:gd name="connsiteX47" fmla="*/ 15941 w 5336102"/>
              <a:gd name="connsiteY47" fmla="*/ 3241389 h 3522780"/>
              <a:gd name="connsiteX48" fmla="*/ 3403 w 5336102"/>
              <a:gd name="connsiteY48" fmla="*/ 223972 h 3522780"/>
              <a:gd name="connsiteX0" fmla="*/ 3403 w 5336102"/>
              <a:gd name="connsiteY0" fmla="*/ 3791 h 3302599"/>
              <a:gd name="connsiteX1" fmla="*/ 4968330 w 5336102"/>
              <a:gd name="connsiteY1" fmla="*/ 4878 h 3302599"/>
              <a:gd name="connsiteX2" fmla="*/ 4968331 w 5336102"/>
              <a:gd name="connsiteY2" fmla="*/ 3021208 h 3302599"/>
              <a:gd name="connsiteX3" fmla="*/ 4909260 w 5336102"/>
              <a:gd name="connsiteY3" fmla="*/ 3120737 h 3302599"/>
              <a:gd name="connsiteX4" fmla="*/ 4777414 w 5336102"/>
              <a:gd name="connsiteY4" fmla="*/ 3151163 h 3302599"/>
              <a:gd name="connsiteX5" fmla="*/ 4584898 w 5336102"/>
              <a:gd name="connsiteY5" fmla="*/ 3062985 h 3302599"/>
              <a:gd name="connsiteX6" fmla="*/ 4414953 w 5336102"/>
              <a:gd name="connsiteY6" fmla="*/ 3113063 h 3302599"/>
              <a:gd name="connsiteX7" fmla="*/ 4224754 w 5336102"/>
              <a:gd name="connsiteY7" fmla="*/ 3084141 h 3302599"/>
              <a:gd name="connsiteX8" fmla="*/ 4012284 w 5336102"/>
              <a:gd name="connsiteY8" fmla="*/ 3068011 h 3302599"/>
              <a:gd name="connsiteX9" fmla="*/ 3852446 w 5336102"/>
              <a:gd name="connsiteY9" fmla="*/ 2950893 h 3302599"/>
              <a:gd name="connsiteX10" fmla="*/ 3705101 w 5336102"/>
              <a:gd name="connsiteY10" fmla="*/ 2985562 h 3302599"/>
              <a:gd name="connsiteX11" fmla="*/ 3591499 w 5336102"/>
              <a:gd name="connsiteY11" fmla="*/ 3064490 h 3302599"/>
              <a:gd name="connsiteX12" fmla="*/ 3527793 w 5336102"/>
              <a:gd name="connsiteY12" fmla="*/ 3004972 h 3302599"/>
              <a:gd name="connsiteX13" fmla="*/ 3380078 w 5336102"/>
              <a:gd name="connsiteY13" fmla="*/ 3063568 h 3302599"/>
              <a:gd name="connsiteX14" fmla="*/ 3278168 w 5336102"/>
              <a:gd name="connsiteY14" fmla="*/ 3050307 h 3302599"/>
              <a:gd name="connsiteX15" fmla="*/ 3176734 w 5336102"/>
              <a:gd name="connsiteY15" fmla="*/ 3060457 h 3302599"/>
              <a:gd name="connsiteX16" fmla="*/ 3085906 w 5336102"/>
              <a:gd name="connsiteY16" fmla="*/ 2979021 h 3302599"/>
              <a:gd name="connsiteX17" fmla="*/ 2986624 w 5336102"/>
              <a:gd name="connsiteY17" fmla="*/ 2997469 h 3302599"/>
              <a:gd name="connsiteX18" fmla="*/ 2851372 w 5336102"/>
              <a:gd name="connsiteY18" fmla="*/ 2872887 h 3302599"/>
              <a:gd name="connsiteX19" fmla="*/ 2762446 w 5336102"/>
              <a:gd name="connsiteY19" fmla="*/ 2907661 h 3302599"/>
              <a:gd name="connsiteX20" fmla="*/ 2725672 w 5336102"/>
              <a:gd name="connsiteY20" fmla="*/ 2962589 h 3302599"/>
              <a:gd name="connsiteX21" fmla="*/ 2656359 w 5336102"/>
              <a:gd name="connsiteY21" fmla="*/ 3011563 h 3302599"/>
              <a:gd name="connsiteX22" fmla="*/ 2545555 w 5336102"/>
              <a:gd name="connsiteY22" fmla="*/ 3060157 h 3302599"/>
              <a:gd name="connsiteX23" fmla="*/ 2400708 w 5336102"/>
              <a:gd name="connsiteY23" fmla="*/ 3026992 h 3302599"/>
              <a:gd name="connsiteX24" fmla="*/ 2316533 w 5336102"/>
              <a:gd name="connsiteY24" fmla="*/ 3057839 h 3302599"/>
              <a:gd name="connsiteX25" fmla="*/ 2114652 w 5336102"/>
              <a:gd name="connsiteY25" fmla="*/ 2989896 h 3302599"/>
              <a:gd name="connsiteX26" fmla="*/ 1958526 w 5336102"/>
              <a:gd name="connsiteY26" fmla="*/ 3007942 h 3302599"/>
              <a:gd name="connsiteX27" fmla="*/ 1891385 w 5336102"/>
              <a:gd name="connsiteY27" fmla="*/ 3051790 h 3302599"/>
              <a:gd name="connsiteX28" fmla="*/ 1707289 w 5336102"/>
              <a:gd name="connsiteY28" fmla="*/ 3050567 h 3302599"/>
              <a:gd name="connsiteX29" fmla="*/ 1603282 w 5336102"/>
              <a:gd name="connsiteY29" fmla="*/ 2972562 h 3302599"/>
              <a:gd name="connsiteX30" fmla="*/ 1477641 w 5336102"/>
              <a:gd name="connsiteY30" fmla="*/ 3063978 h 3302599"/>
              <a:gd name="connsiteX31" fmla="*/ 1371570 w 5336102"/>
              <a:gd name="connsiteY31" fmla="*/ 3156603 h 3302599"/>
              <a:gd name="connsiteX32" fmla="*/ 1290775 w 5336102"/>
              <a:gd name="connsiteY32" fmla="*/ 3160581 h 3302599"/>
              <a:gd name="connsiteX33" fmla="*/ 1256589 w 5336102"/>
              <a:gd name="connsiteY33" fmla="*/ 3102571 h 3302599"/>
              <a:gd name="connsiteX34" fmla="*/ 1148248 w 5336102"/>
              <a:gd name="connsiteY34" fmla="*/ 3102570 h 3302599"/>
              <a:gd name="connsiteX35" fmla="*/ 1070037 w 5336102"/>
              <a:gd name="connsiteY35" fmla="*/ 3065694 h 3302599"/>
              <a:gd name="connsiteX36" fmla="*/ 974902 w 5336102"/>
              <a:gd name="connsiteY36" fmla="*/ 3106905 h 3302599"/>
              <a:gd name="connsiteX37" fmla="*/ 856518 w 5336102"/>
              <a:gd name="connsiteY37" fmla="*/ 3109146 h 3302599"/>
              <a:gd name="connsiteX38" fmla="*/ 797499 w 5336102"/>
              <a:gd name="connsiteY38" fmla="*/ 3152578 h 3302599"/>
              <a:gd name="connsiteX39" fmla="*/ 729297 w 5336102"/>
              <a:gd name="connsiteY39" fmla="*/ 3109147 h 3302599"/>
              <a:gd name="connsiteX40" fmla="*/ 645545 w 5336102"/>
              <a:gd name="connsiteY40" fmla="*/ 3115572 h 3302599"/>
              <a:gd name="connsiteX41" fmla="*/ 570271 w 5336102"/>
              <a:gd name="connsiteY41" fmla="*/ 3085293 h 3302599"/>
              <a:gd name="connsiteX42" fmla="*/ 502480 w 5336102"/>
              <a:gd name="connsiteY42" fmla="*/ 3025578 h 3302599"/>
              <a:gd name="connsiteX43" fmla="*/ 420195 w 5336102"/>
              <a:gd name="connsiteY43" fmla="*/ 3115572 h 3302599"/>
              <a:gd name="connsiteX44" fmla="*/ 285466 w 5336102"/>
              <a:gd name="connsiteY44" fmla="*/ 3152577 h 3302599"/>
              <a:gd name="connsiteX45" fmla="*/ 173178 w 5336102"/>
              <a:gd name="connsiteY45" fmla="*/ 3128573 h 3302599"/>
              <a:gd name="connsiteX46" fmla="*/ 78114 w 5336102"/>
              <a:gd name="connsiteY46" fmla="*/ 3151872 h 3302599"/>
              <a:gd name="connsiteX47" fmla="*/ 15941 w 5336102"/>
              <a:gd name="connsiteY47" fmla="*/ 3021208 h 3302599"/>
              <a:gd name="connsiteX48" fmla="*/ 3403 w 5336102"/>
              <a:gd name="connsiteY48" fmla="*/ 3791 h 3302599"/>
              <a:gd name="connsiteX0" fmla="*/ 3403 w 4969076"/>
              <a:gd name="connsiteY0" fmla="*/ 3791 h 3302599"/>
              <a:gd name="connsiteX1" fmla="*/ 4968330 w 4969076"/>
              <a:gd name="connsiteY1" fmla="*/ 4878 h 3302599"/>
              <a:gd name="connsiteX2" fmla="*/ 4968331 w 4969076"/>
              <a:gd name="connsiteY2" fmla="*/ 3021208 h 3302599"/>
              <a:gd name="connsiteX3" fmla="*/ 4909260 w 4969076"/>
              <a:gd name="connsiteY3" fmla="*/ 3120737 h 3302599"/>
              <a:gd name="connsiteX4" fmla="*/ 4777414 w 4969076"/>
              <a:gd name="connsiteY4" fmla="*/ 3151163 h 3302599"/>
              <a:gd name="connsiteX5" fmla="*/ 4584898 w 4969076"/>
              <a:gd name="connsiteY5" fmla="*/ 3062985 h 3302599"/>
              <a:gd name="connsiteX6" fmla="*/ 4414953 w 4969076"/>
              <a:gd name="connsiteY6" fmla="*/ 3113063 h 3302599"/>
              <a:gd name="connsiteX7" fmla="*/ 4224754 w 4969076"/>
              <a:gd name="connsiteY7" fmla="*/ 3084141 h 3302599"/>
              <a:gd name="connsiteX8" fmla="*/ 4012284 w 4969076"/>
              <a:gd name="connsiteY8" fmla="*/ 3068011 h 3302599"/>
              <a:gd name="connsiteX9" fmla="*/ 3852446 w 4969076"/>
              <a:gd name="connsiteY9" fmla="*/ 2950893 h 3302599"/>
              <a:gd name="connsiteX10" fmla="*/ 3705101 w 4969076"/>
              <a:gd name="connsiteY10" fmla="*/ 2985562 h 3302599"/>
              <a:gd name="connsiteX11" fmla="*/ 3591499 w 4969076"/>
              <a:gd name="connsiteY11" fmla="*/ 3064490 h 3302599"/>
              <a:gd name="connsiteX12" fmla="*/ 3527793 w 4969076"/>
              <a:gd name="connsiteY12" fmla="*/ 3004972 h 3302599"/>
              <a:gd name="connsiteX13" fmla="*/ 3380078 w 4969076"/>
              <a:gd name="connsiteY13" fmla="*/ 3063568 h 3302599"/>
              <a:gd name="connsiteX14" fmla="*/ 3278168 w 4969076"/>
              <a:gd name="connsiteY14" fmla="*/ 3050307 h 3302599"/>
              <a:gd name="connsiteX15" fmla="*/ 3176734 w 4969076"/>
              <a:gd name="connsiteY15" fmla="*/ 3060457 h 3302599"/>
              <a:gd name="connsiteX16" fmla="*/ 3085906 w 4969076"/>
              <a:gd name="connsiteY16" fmla="*/ 2979021 h 3302599"/>
              <a:gd name="connsiteX17" fmla="*/ 2986624 w 4969076"/>
              <a:gd name="connsiteY17" fmla="*/ 2997469 h 3302599"/>
              <a:gd name="connsiteX18" fmla="*/ 2851372 w 4969076"/>
              <a:gd name="connsiteY18" fmla="*/ 2872887 h 3302599"/>
              <a:gd name="connsiteX19" fmla="*/ 2762446 w 4969076"/>
              <a:gd name="connsiteY19" fmla="*/ 2907661 h 3302599"/>
              <a:gd name="connsiteX20" fmla="*/ 2725672 w 4969076"/>
              <a:gd name="connsiteY20" fmla="*/ 2962589 h 3302599"/>
              <a:gd name="connsiteX21" fmla="*/ 2656359 w 4969076"/>
              <a:gd name="connsiteY21" fmla="*/ 3011563 h 3302599"/>
              <a:gd name="connsiteX22" fmla="*/ 2545555 w 4969076"/>
              <a:gd name="connsiteY22" fmla="*/ 3060157 h 3302599"/>
              <a:gd name="connsiteX23" fmla="*/ 2400708 w 4969076"/>
              <a:gd name="connsiteY23" fmla="*/ 3026992 h 3302599"/>
              <a:gd name="connsiteX24" fmla="*/ 2316533 w 4969076"/>
              <a:gd name="connsiteY24" fmla="*/ 3057839 h 3302599"/>
              <a:gd name="connsiteX25" fmla="*/ 2114652 w 4969076"/>
              <a:gd name="connsiteY25" fmla="*/ 2989896 h 3302599"/>
              <a:gd name="connsiteX26" fmla="*/ 1958526 w 4969076"/>
              <a:gd name="connsiteY26" fmla="*/ 3007942 h 3302599"/>
              <a:gd name="connsiteX27" fmla="*/ 1891385 w 4969076"/>
              <a:gd name="connsiteY27" fmla="*/ 3051790 h 3302599"/>
              <a:gd name="connsiteX28" fmla="*/ 1707289 w 4969076"/>
              <a:gd name="connsiteY28" fmla="*/ 3050567 h 3302599"/>
              <a:gd name="connsiteX29" fmla="*/ 1603282 w 4969076"/>
              <a:gd name="connsiteY29" fmla="*/ 2972562 h 3302599"/>
              <a:gd name="connsiteX30" fmla="*/ 1477641 w 4969076"/>
              <a:gd name="connsiteY30" fmla="*/ 3063978 h 3302599"/>
              <a:gd name="connsiteX31" fmla="*/ 1371570 w 4969076"/>
              <a:gd name="connsiteY31" fmla="*/ 3156603 h 3302599"/>
              <a:gd name="connsiteX32" fmla="*/ 1290775 w 4969076"/>
              <a:gd name="connsiteY32" fmla="*/ 3160581 h 3302599"/>
              <a:gd name="connsiteX33" fmla="*/ 1256589 w 4969076"/>
              <a:gd name="connsiteY33" fmla="*/ 3102571 h 3302599"/>
              <a:gd name="connsiteX34" fmla="*/ 1148248 w 4969076"/>
              <a:gd name="connsiteY34" fmla="*/ 3102570 h 3302599"/>
              <a:gd name="connsiteX35" fmla="*/ 1070037 w 4969076"/>
              <a:gd name="connsiteY35" fmla="*/ 3065694 h 3302599"/>
              <a:gd name="connsiteX36" fmla="*/ 974902 w 4969076"/>
              <a:gd name="connsiteY36" fmla="*/ 3106905 h 3302599"/>
              <a:gd name="connsiteX37" fmla="*/ 856518 w 4969076"/>
              <a:gd name="connsiteY37" fmla="*/ 3109146 h 3302599"/>
              <a:gd name="connsiteX38" fmla="*/ 797499 w 4969076"/>
              <a:gd name="connsiteY38" fmla="*/ 3152578 h 3302599"/>
              <a:gd name="connsiteX39" fmla="*/ 729297 w 4969076"/>
              <a:gd name="connsiteY39" fmla="*/ 3109147 h 3302599"/>
              <a:gd name="connsiteX40" fmla="*/ 645545 w 4969076"/>
              <a:gd name="connsiteY40" fmla="*/ 3115572 h 3302599"/>
              <a:gd name="connsiteX41" fmla="*/ 570271 w 4969076"/>
              <a:gd name="connsiteY41" fmla="*/ 3085293 h 3302599"/>
              <a:gd name="connsiteX42" fmla="*/ 502480 w 4969076"/>
              <a:gd name="connsiteY42" fmla="*/ 3025578 h 3302599"/>
              <a:gd name="connsiteX43" fmla="*/ 420195 w 4969076"/>
              <a:gd name="connsiteY43" fmla="*/ 3115572 h 3302599"/>
              <a:gd name="connsiteX44" fmla="*/ 285466 w 4969076"/>
              <a:gd name="connsiteY44" fmla="*/ 3152577 h 3302599"/>
              <a:gd name="connsiteX45" fmla="*/ 173178 w 4969076"/>
              <a:gd name="connsiteY45" fmla="*/ 3128573 h 3302599"/>
              <a:gd name="connsiteX46" fmla="*/ 78114 w 4969076"/>
              <a:gd name="connsiteY46" fmla="*/ 3151872 h 3302599"/>
              <a:gd name="connsiteX47" fmla="*/ 15941 w 4969076"/>
              <a:gd name="connsiteY47" fmla="*/ 3021208 h 3302599"/>
              <a:gd name="connsiteX48" fmla="*/ 3403 w 4969076"/>
              <a:gd name="connsiteY48" fmla="*/ 3791 h 3302599"/>
              <a:gd name="connsiteX0" fmla="*/ 3403 w 4969076"/>
              <a:gd name="connsiteY0" fmla="*/ 3791 h 3302599"/>
              <a:gd name="connsiteX1" fmla="*/ 4968330 w 4969076"/>
              <a:gd name="connsiteY1" fmla="*/ 4878 h 3302599"/>
              <a:gd name="connsiteX2" fmla="*/ 4968331 w 4969076"/>
              <a:gd name="connsiteY2" fmla="*/ 3021208 h 3302599"/>
              <a:gd name="connsiteX3" fmla="*/ 4909260 w 4969076"/>
              <a:gd name="connsiteY3" fmla="*/ 3120737 h 3302599"/>
              <a:gd name="connsiteX4" fmla="*/ 4777414 w 4969076"/>
              <a:gd name="connsiteY4" fmla="*/ 3151163 h 3302599"/>
              <a:gd name="connsiteX5" fmla="*/ 4584898 w 4969076"/>
              <a:gd name="connsiteY5" fmla="*/ 3062985 h 3302599"/>
              <a:gd name="connsiteX6" fmla="*/ 4414953 w 4969076"/>
              <a:gd name="connsiteY6" fmla="*/ 3113063 h 3302599"/>
              <a:gd name="connsiteX7" fmla="*/ 4224754 w 4969076"/>
              <a:gd name="connsiteY7" fmla="*/ 3084141 h 3302599"/>
              <a:gd name="connsiteX8" fmla="*/ 4012284 w 4969076"/>
              <a:gd name="connsiteY8" fmla="*/ 3068011 h 3302599"/>
              <a:gd name="connsiteX9" fmla="*/ 3852446 w 4969076"/>
              <a:gd name="connsiteY9" fmla="*/ 2950893 h 3302599"/>
              <a:gd name="connsiteX10" fmla="*/ 3705101 w 4969076"/>
              <a:gd name="connsiteY10" fmla="*/ 2985562 h 3302599"/>
              <a:gd name="connsiteX11" fmla="*/ 3591499 w 4969076"/>
              <a:gd name="connsiteY11" fmla="*/ 3064490 h 3302599"/>
              <a:gd name="connsiteX12" fmla="*/ 3527793 w 4969076"/>
              <a:gd name="connsiteY12" fmla="*/ 3004972 h 3302599"/>
              <a:gd name="connsiteX13" fmla="*/ 3380078 w 4969076"/>
              <a:gd name="connsiteY13" fmla="*/ 3063568 h 3302599"/>
              <a:gd name="connsiteX14" fmla="*/ 3278168 w 4969076"/>
              <a:gd name="connsiteY14" fmla="*/ 3050307 h 3302599"/>
              <a:gd name="connsiteX15" fmla="*/ 3176734 w 4969076"/>
              <a:gd name="connsiteY15" fmla="*/ 3060457 h 3302599"/>
              <a:gd name="connsiteX16" fmla="*/ 3085906 w 4969076"/>
              <a:gd name="connsiteY16" fmla="*/ 2979021 h 3302599"/>
              <a:gd name="connsiteX17" fmla="*/ 2986624 w 4969076"/>
              <a:gd name="connsiteY17" fmla="*/ 2997469 h 3302599"/>
              <a:gd name="connsiteX18" fmla="*/ 2851372 w 4969076"/>
              <a:gd name="connsiteY18" fmla="*/ 2872887 h 3302599"/>
              <a:gd name="connsiteX19" fmla="*/ 2762446 w 4969076"/>
              <a:gd name="connsiteY19" fmla="*/ 2907661 h 3302599"/>
              <a:gd name="connsiteX20" fmla="*/ 2725672 w 4969076"/>
              <a:gd name="connsiteY20" fmla="*/ 2962589 h 3302599"/>
              <a:gd name="connsiteX21" fmla="*/ 2656359 w 4969076"/>
              <a:gd name="connsiteY21" fmla="*/ 3011563 h 3302599"/>
              <a:gd name="connsiteX22" fmla="*/ 2545555 w 4969076"/>
              <a:gd name="connsiteY22" fmla="*/ 3060157 h 3302599"/>
              <a:gd name="connsiteX23" fmla="*/ 2400708 w 4969076"/>
              <a:gd name="connsiteY23" fmla="*/ 3026992 h 3302599"/>
              <a:gd name="connsiteX24" fmla="*/ 2316533 w 4969076"/>
              <a:gd name="connsiteY24" fmla="*/ 3057839 h 3302599"/>
              <a:gd name="connsiteX25" fmla="*/ 2114652 w 4969076"/>
              <a:gd name="connsiteY25" fmla="*/ 2989896 h 3302599"/>
              <a:gd name="connsiteX26" fmla="*/ 1958526 w 4969076"/>
              <a:gd name="connsiteY26" fmla="*/ 3007942 h 3302599"/>
              <a:gd name="connsiteX27" fmla="*/ 1891385 w 4969076"/>
              <a:gd name="connsiteY27" fmla="*/ 3051790 h 3302599"/>
              <a:gd name="connsiteX28" fmla="*/ 1707289 w 4969076"/>
              <a:gd name="connsiteY28" fmla="*/ 3050567 h 3302599"/>
              <a:gd name="connsiteX29" fmla="*/ 1603282 w 4969076"/>
              <a:gd name="connsiteY29" fmla="*/ 2972562 h 3302599"/>
              <a:gd name="connsiteX30" fmla="*/ 1477641 w 4969076"/>
              <a:gd name="connsiteY30" fmla="*/ 3063978 h 3302599"/>
              <a:gd name="connsiteX31" fmla="*/ 1371570 w 4969076"/>
              <a:gd name="connsiteY31" fmla="*/ 3156603 h 3302599"/>
              <a:gd name="connsiteX32" fmla="*/ 1290775 w 4969076"/>
              <a:gd name="connsiteY32" fmla="*/ 3160581 h 3302599"/>
              <a:gd name="connsiteX33" fmla="*/ 1256589 w 4969076"/>
              <a:gd name="connsiteY33" fmla="*/ 3102571 h 3302599"/>
              <a:gd name="connsiteX34" fmla="*/ 1148248 w 4969076"/>
              <a:gd name="connsiteY34" fmla="*/ 3102570 h 3302599"/>
              <a:gd name="connsiteX35" fmla="*/ 1070037 w 4969076"/>
              <a:gd name="connsiteY35" fmla="*/ 3065694 h 3302599"/>
              <a:gd name="connsiteX36" fmla="*/ 974902 w 4969076"/>
              <a:gd name="connsiteY36" fmla="*/ 3106905 h 3302599"/>
              <a:gd name="connsiteX37" fmla="*/ 856518 w 4969076"/>
              <a:gd name="connsiteY37" fmla="*/ 3109146 h 3302599"/>
              <a:gd name="connsiteX38" fmla="*/ 797499 w 4969076"/>
              <a:gd name="connsiteY38" fmla="*/ 3152578 h 3302599"/>
              <a:gd name="connsiteX39" fmla="*/ 729297 w 4969076"/>
              <a:gd name="connsiteY39" fmla="*/ 3109147 h 3302599"/>
              <a:gd name="connsiteX40" fmla="*/ 645545 w 4969076"/>
              <a:gd name="connsiteY40" fmla="*/ 3115572 h 3302599"/>
              <a:gd name="connsiteX41" fmla="*/ 570271 w 4969076"/>
              <a:gd name="connsiteY41" fmla="*/ 3085293 h 3302599"/>
              <a:gd name="connsiteX42" fmla="*/ 502480 w 4969076"/>
              <a:gd name="connsiteY42" fmla="*/ 3025578 h 3302599"/>
              <a:gd name="connsiteX43" fmla="*/ 420195 w 4969076"/>
              <a:gd name="connsiteY43" fmla="*/ 3115572 h 3302599"/>
              <a:gd name="connsiteX44" fmla="*/ 285466 w 4969076"/>
              <a:gd name="connsiteY44" fmla="*/ 3152577 h 3302599"/>
              <a:gd name="connsiteX45" fmla="*/ 173178 w 4969076"/>
              <a:gd name="connsiteY45" fmla="*/ 3128573 h 3302599"/>
              <a:gd name="connsiteX46" fmla="*/ 78114 w 4969076"/>
              <a:gd name="connsiteY46" fmla="*/ 3151872 h 3302599"/>
              <a:gd name="connsiteX47" fmla="*/ 15941 w 4969076"/>
              <a:gd name="connsiteY47" fmla="*/ 3021208 h 3302599"/>
              <a:gd name="connsiteX48" fmla="*/ 3403 w 4969076"/>
              <a:gd name="connsiteY48" fmla="*/ 3791 h 3302599"/>
              <a:gd name="connsiteX0" fmla="*/ 8339 w 4974012"/>
              <a:gd name="connsiteY0" fmla="*/ 3791 h 3302597"/>
              <a:gd name="connsiteX1" fmla="*/ 4973266 w 4974012"/>
              <a:gd name="connsiteY1" fmla="*/ 4878 h 3302597"/>
              <a:gd name="connsiteX2" fmla="*/ 4973267 w 4974012"/>
              <a:gd name="connsiteY2" fmla="*/ 3021208 h 3302597"/>
              <a:gd name="connsiteX3" fmla="*/ 4914196 w 4974012"/>
              <a:gd name="connsiteY3" fmla="*/ 3120737 h 3302597"/>
              <a:gd name="connsiteX4" fmla="*/ 4782350 w 4974012"/>
              <a:gd name="connsiteY4" fmla="*/ 3151163 h 3302597"/>
              <a:gd name="connsiteX5" fmla="*/ 4589834 w 4974012"/>
              <a:gd name="connsiteY5" fmla="*/ 3062985 h 3302597"/>
              <a:gd name="connsiteX6" fmla="*/ 4419889 w 4974012"/>
              <a:gd name="connsiteY6" fmla="*/ 3113063 h 3302597"/>
              <a:gd name="connsiteX7" fmla="*/ 4229690 w 4974012"/>
              <a:gd name="connsiteY7" fmla="*/ 3084141 h 3302597"/>
              <a:gd name="connsiteX8" fmla="*/ 4017220 w 4974012"/>
              <a:gd name="connsiteY8" fmla="*/ 3068011 h 3302597"/>
              <a:gd name="connsiteX9" fmla="*/ 3857382 w 4974012"/>
              <a:gd name="connsiteY9" fmla="*/ 2950893 h 3302597"/>
              <a:gd name="connsiteX10" fmla="*/ 3710037 w 4974012"/>
              <a:gd name="connsiteY10" fmla="*/ 2985562 h 3302597"/>
              <a:gd name="connsiteX11" fmla="*/ 3596435 w 4974012"/>
              <a:gd name="connsiteY11" fmla="*/ 3064490 h 3302597"/>
              <a:gd name="connsiteX12" fmla="*/ 3532729 w 4974012"/>
              <a:gd name="connsiteY12" fmla="*/ 3004972 h 3302597"/>
              <a:gd name="connsiteX13" fmla="*/ 3385014 w 4974012"/>
              <a:gd name="connsiteY13" fmla="*/ 3063568 h 3302597"/>
              <a:gd name="connsiteX14" fmla="*/ 3283104 w 4974012"/>
              <a:gd name="connsiteY14" fmla="*/ 3050307 h 3302597"/>
              <a:gd name="connsiteX15" fmla="*/ 3181670 w 4974012"/>
              <a:gd name="connsiteY15" fmla="*/ 3060457 h 3302597"/>
              <a:gd name="connsiteX16" fmla="*/ 3090842 w 4974012"/>
              <a:gd name="connsiteY16" fmla="*/ 2979021 h 3302597"/>
              <a:gd name="connsiteX17" fmla="*/ 2991560 w 4974012"/>
              <a:gd name="connsiteY17" fmla="*/ 2997469 h 3302597"/>
              <a:gd name="connsiteX18" fmla="*/ 2856308 w 4974012"/>
              <a:gd name="connsiteY18" fmla="*/ 2872887 h 3302597"/>
              <a:gd name="connsiteX19" fmla="*/ 2767382 w 4974012"/>
              <a:gd name="connsiteY19" fmla="*/ 2907661 h 3302597"/>
              <a:gd name="connsiteX20" fmla="*/ 2730608 w 4974012"/>
              <a:gd name="connsiteY20" fmla="*/ 2962589 h 3302597"/>
              <a:gd name="connsiteX21" fmla="*/ 2661295 w 4974012"/>
              <a:gd name="connsiteY21" fmla="*/ 3011563 h 3302597"/>
              <a:gd name="connsiteX22" fmla="*/ 2550491 w 4974012"/>
              <a:gd name="connsiteY22" fmla="*/ 3060157 h 3302597"/>
              <a:gd name="connsiteX23" fmla="*/ 2405644 w 4974012"/>
              <a:gd name="connsiteY23" fmla="*/ 3026992 h 3302597"/>
              <a:gd name="connsiteX24" fmla="*/ 2321469 w 4974012"/>
              <a:gd name="connsiteY24" fmla="*/ 3057839 h 3302597"/>
              <a:gd name="connsiteX25" fmla="*/ 2119588 w 4974012"/>
              <a:gd name="connsiteY25" fmla="*/ 2989896 h 3302597"/>
              <a:gd name="connsiteX26" fmla="*/ 1963462 w 4974012"/>
              <a:gd name="connsiteY26" fmla="*/ 3007942 h 3302597"/>
              <a:gd name="connsiteX27" fmla="*/ 1896321 w 4974012"/>
              <a:gd name="connsiteY27" fmla="*/ 3051790 h 3302597"/>
              <a:gd name="connsiteX28" fmla="*/ 1712225 w 4974012"/>
              <a:gd name="connsiteY28" fmla="*/ 3050567 h 3302597"/>
              <a:gd name="connsiteX29" fmla="*/ 1608218 w 4974012"/>
              <a:gd name="connsiteY29" fmla="*/ 2972562 h 3302597"/>
              <a:gd name="connsiteX30" fmla="*/ 1482577 w 4974012"/>
              <a:gd name="connsiteY30" fmla="*/ 3063978 h 3302597"/>
              <a:gd name="connsiteX31" fmla="*/ 1376506 w 4974012"/>
              <a:gd name="connsiteY31" fmla="*/ 3156603 h 3302597"/>
              <a:gd name="connsiteX32" fmla="*/ 1295711 w 4974012"/>
              <a:gd name="connsiteY32" fmla="*/ 3160581 h 3302597"/>
              <a:gd name="connsiteX33" fmla="*/ 1261525 w 4974012"/>
              <a:gd name="connsiteY33" fmla="*/ 3102571 h 3302597"/>
              <a:gd name="connsiteX34" fmla="*/ 1153184 w 4974012"/>
              <a:gd name="connsiteY34" fmla="*/ 3102570 h 3302597"/>
              <a:gd name="connsiteX35" fmla="*/ 1074973 w 4974012"/>
              <a:gd name="connsiteY35" fmla="*/ 3065694 h 3302597"/>
              <a:gd name="connsiteX36" fmla="*/ 979838 w 4974012"/>
              <a:gd name="connsiteY36" fmla="*/ 3106905 h 3302597"/>
              <a:gd name="connsiteX37" fmla="*/ 861454 w 4974012"/>
              <a:gd name="connsiteY37" fmla="*/ 3109146 h 3302597"/>
              <a:gd name="connsiteX38" fmla="*/ 802435 w 4974012"/>
              <a:gd name="connsiteY38" fmla="*/ 3152578 h 3302597"/>
              <a:gd name="connsiteX39" fmla="*/ 734233 w 4974012"/>
              <a:gd name="connsiteY39" fmla="*/ 3109147 h 3302597"/>
              <a:gd name="connsiteX40" fmla="*/ 650481 w 4974012"/>
              <a:gd name="connsiteY40" fmla="*/ 3115572 h 3302597"/>
              <a:gd name="connsiteX41" fmla="*/ 575207 w 4974012"/>
              <a:gd name="connsiteY41" fmla="*/ 3085293 h 3302597"/>
              <a:gd name="connsiteX42" fmla="*/ 507416 w 4974012"/>
              <a:gd name="connsiteY42" fmla="*/ 3025578 h 3302597"/>
              <a:gd name="connsiteX43" fmla="*/ 425131 w 4974012"/>
              <a:gd name="connsiteY43" fmla="*/ 3115572 h 3302597"/>
              <a:gd name="connsiteX44" fmla="*/ 290402 w 4974012"/>
              <a:gd name="connsiteY44" fmla="*/ 3152577 h 3302597"/>
              <a:gd name="connsiteX45" fmla="*/ 178114 w 4974012"/>
              <a:gd name="connsiteY45" fmla="*/ 3128573 h 3302597"/>
              <a:gd name="connsiteX46" fmla="*/ 83050 w 4974012"/>
              <a:gd name="connsiteY46" fmla="*/ 3151872 h 3302597"/>
              <a:gd name="connsiteX47" fmla="*/ 15291 w 4974012"/>
              <a:gd name="connsiteY47" fmla="*/ 3021207 h 3302597"/>
              <a:gd name="connsiteX48" fmla="*/ 8339 w 4974012"/>
              <a:gd name="connsiteY48" fmla="*/ 3791 h 3302597"/>
              <a:gd name="connsiteX0" fmla="*/ 92 w 4965765"/>
              <a:gd name="connsiteY0" fmla="*/ 3791 h 3224561"/>
              <a:gd name="connsiteX1" fmla="*/ 4965019 w 4965765"/>
              <a:gd name="connsiteY1" fmla="*/ 4878 h 3224561"/>
              <a:gd name="connsiteX2" fmla="*/ 4965020 w 4965765"/>
              <a:gd name="connsiteY2" fmla="*/ 3021208 h 3224561"/>
              <a:gd name="connsiteX3" fmla="*/ 4905949 w 4965765"/>
              <a:gd name="connsiteY3" fmla="*/ 3120737 h 3224561"/>
              <a:gd name="connsiteX4" fmla="*/ 4774103 w 4965765"/>
              <a:gd name="connsiteY4" fmla="*/ 3151163 h 3224561"/>
              <a:gd name="connsiteX5" fmla="*/ 4581587 w 4965765"/>
              <a:gd name="connsiteY5" fmla="*/ 3062985 h 3224561"/>
              <a:gd name="connsiteX6" fmla="*/ 4411642 w 4965765"/>
              <a:gd name="connsiteY6" fmla="*/ 3113063 h 3224561"/>
              <a:gd name="connsiteX7" fmla="*/ 4221443 w 4965765"/>
              <a:gd name="connsiteY7" fmla="*/ 3084141 h 3224561"/>
              <a:gd name="connsiteX8" fmla="*/ 4008973 w 4965765"/>
              <a:gd name="connsiteY8" fmla="*/ 3068011 h 3224561"/>
              <a:gd name="connsiteX9" fmla="*/ 3849135 w 4965765"/>
              <a:gd name="connsiteY9" fmla="*/ 2950893 h 3224561"/>
              <a:gd name="connsiteX10" fmla="*/ 3701790 w 4965765"/>
              <a:gd name="connsiteY10" fmla="*/ 2985562 h 3224561"/>
              <a:gd name="connsiteX11" fmla="*/ 3588188 w 4965765"/>
              <a:gd name="connsiteY11" fmla="*/ 3064490 h 3224561"/>
              <a:gd name="connsiteX12" fmla="*/ 3524482 w 4965765"/>
              <a:gd name="connsiteY12" fmla="*/ 3004972 h 3224561"/>
              <a:gd name="connsiteX13" fmla="*/ 3376767 w 4965765"/>
              <a:gd name="connsiteY13" fmla="*/ 3063568 h 3224561"/>
              <a:gd name="connsiteX14" fmla="*/ 3274857 w 4965765"/>
              <a:gd name="connsiteY14" fmla="*/ 3050307 h 3224561"/>
              <a:gd name="connsiteX15" fmla="*/ 3173423 w 4965765"/>
              <a:gd name="connsiteY15" fmla="*/ 3060457 h 3224561"/>
              <a:gd name="connsiteX16" fmla="*/ 3082595 w 4965765"/>
              <a:gd name="connsiteY16" fmla="*/ 2979021 h 3224561"/>
              <a:gd name="connsiteX17" fmla="*/ 2983313 w 4965765"/>
              <a:gd name="connsiteY17" fmla="*/ 2997469 h 3224561"/>
              <a:gd name="connsiteX18" fmla="*/ 2848061 w 4965765"/>
              <a:gd name="connsiteY18" fmla="*/ 2872887 h 3224561"/>
              <a:gd name="connsiteX19" fmla="*/ 2759135 w 4965765"/>
              <a:gd name="connsiteY19" fmla="*/ 2907661 h 3224561"/>
              <a:gd name="connsiteX20" fmla="*/ 2722361 w 4965765"/>
              <a:gd name="connsiteY20" fmla="*/ 2962589 h 3224561"/>
              <a:gd name="connsiteX21" fmla="*/ 2653048 w 4965765"/>
              <a:gd name="connsiteY21" fmla="*/ 3011563 h 3224561"/>
              <a:gd name="connsiteX22" fmla="*/ 2542244 w 4965765"/>
              <a:gd name="connsiteY22" fmla="*/ 3060157 h 3224561"/>
              <a:gd name="connsiteX23" fmla="*/ 2397397 w 4965765"/>
              <a:gd name="connsiteY23" fmla="*/ 3026992 h 3224561"/>
              <a:gd name="connsiteX24" fmla="*/ 2313222 w 4965765"/>
              <a:gd name="connsiteY24" fmla="*/ 3057839 h 3224561"/>
              <a:gd name="connsiteX25" fmla="*/ 2111341 w 4965765"/>
              <a:gd name="connsiteY25" fmla="*/ 2989896 h 3224561"/>
              <a:gd name="connsiteX26" fmla="*/ 1955215 w 4965765"/>
              <a:gd name="connsiteY26" fmla="*/ 3007942 h 3224561"/>
              <a:gd name="connsiteX27" fmla="*/ 1888074 w 4965765"/>
              <a:gd name="connsiteY27" fmla="*/ 3051790 h 3224561"/>
              <a:gd name="connsiteX28" fmla="*/ 1703978 w 4965765"/>
              <a:gd name="connsiteY28" fmla="*/ 3050567 h 3224561"/>
              <a:gd name="connsiteX29" fmla="*/ 1599971 w 4965765"/>
              <a:gd name="connsiteY29" fmla="*/ 2972562 h 3224561"/>
              <a:gd name="connsiteX30" fmla="*/ 1474330 w 4965765"/>
              <a:gd name="connsiteY30" fmla="*/ 3063978 h 3224561"/>
              <a:gd name="connsiteX31" fmla="*/ 1368259 w 4965765"/>
              <a:gd name="connsiteY31" fmla="*/ 3156603 h 3224561"/>
              <a:gd name="connsiteX32" fmla="*/ 1287464 w 4965765"/>
              <a:gd name="connsiteY32" fmla="*/ 3160581 h 3224561"/>
              <a:gd name="connsiteX33" fmla="*/ 1253278 w 4965765"/>
              <a:gd name="connsiteY33" fmla="*/ 3102571 h 3224561"/>
              <a:gd name="connsiteX34" fmla="*/ 1144937 w 4965765"/>
              <a:gd name="connsiteY34" fmla="*/ 3102570 h 3224561"/>
              <a:gd name="connsiteX35" fmla="*/ 1066726 w 4965765"/>
              <a:gd name="connsiteY35" fmla="*/ 3065694 h 3224561"/>
              <a:gd name="connsiteX36" fmla="*/ 971591 w 4965765"/>
              <a:gd name="connsiteY36" fmla="*/ 3106905 h 3224561"/>
              <a:gd name="connsiteX37" fmla="*/ 853207 w 4965765"/>
              <a:gd name="connsiteY37" fmla="*/ 3109146 h 3224561"/>
              <a:gd name="connsiteX38" fmla="*/ 794188 w 4965765"/>
              <a:gd name="connsiteY38" fmla="*/ 3152578 h 3224561"/>
              <a:gd name="connsiteX39" fmla="*/ 725986 w 4965765"/>
              <a:gd name="connsiteY39" fmla="*/ 3109147 h 3224561"/>
              <a:gd name="connsiteX40" fmla="*/ 642234 w 4965765"/>
              <a:gd name="connsiteY40" fmla="*/ 3115572 h 3224561"/>
              <a:gd name="connsiteX41" fmla="*/ 566960 w 4965765"/>
              <a:gd name="connsiteY41" fmla="*/ 3085293 h 3224561"/>
              <a:gd name="connsiteX42" fmla="*/ 499169 w 4965765"/>
              <a:gd name="connsiteY42" fmla="*/ 3025578 h 3224561"/>
              <a:gd name="connsiteX43" fmla="*/ 416884 w 4965765"/>
              <a:gd name="connsiteY43" fmla="*/ 3115572 h 3224561"/>
              <a:gd name="connsiteX44" fmla="*/ 282155 w 4965765"/>
              <a:gd name="connsiteY44" fmla="*/ 3152577 h 3224561"/>
              <a:gd name="connsiteX45" fmla="*/ 169867 w 4965765"/>
              <a:gd name="connsiteY45" fmla="*/ 3128573 h 3224561"/>
              <a:gd name="connsiteX46" fmla="*/ 74803 w 4965765"/>
              <a:gd name="connsiteY46" fmla="*/ 3151872 h 3224561"/>
              <a:gd name="connsiteX47" fmla="*/ 141087 w 4965765"/>
              <a:gd name="connsiteY47" fmla="*/ 2892749 h 3224561"/>
              <a:gd name="connsiteX48" fmla="*/ 92 w 4965765"/>
              <a:gd name="connsiteY48" fmla="*/ 3791 h 3224561"/>
              <a:gd name="connsiteX0" fmla="*/ 18357 w 4984030"/>
              <a:gd name="connsiteY0" fmla="*/ 3791 h 3291551"/>
              <a:gd name="connsiteX1" fmla="*/ 4983284 w 4984030"/>
              <a:gd name="connsiteY1" fmla="*/ 4878 h 3291551"/>
              <a:gd name="connsiteX2" fmla="*/ 4983285 w 4984030"/>
              <a:gd name="connsiteY2" fmla="*/ 3021208 h 3291551"/>
              <a:gd name="connsiteX3" fmla="*/ 4924214 w 4984030"/>
              <a:gd name="connsiteY3" fmla="*/ 3120737 h 3291551"/>
              <a:gd name="connsiteX4" fmla="*/ 4792368 w 4984030"/>
              <a:gd name="connsiteY4" fmla="*/ 3151163 h 3291551"/>
              <a:gd name="connsiteX5" fmla="*/ 4599852 w 4984030"/>
              <a:gd name="connsiteY5" fmla="*/ 3062985 h 3291551"/>
              <a:gd name="connsiteX6" fmla="*/ 4429907 w 4984030"/>
              <a:gd name="connsiteY6" fmla="*/ 3113063 h 3291551"/>
              <a:gd name="connsiteX7" fmla="*/ 4239708 w 4984030"/>
              <a:gd name="connsiteY7" fmla="*/ 3084141 h 3291551"/>
              <a:gd name="connsiteX8" fmla="*/ 4027238 w 4984030"/>
              <a:gd name="connsiteY8" fmla="*/ 3068011 h 3291551"/>
              <a:gd name="connsiteX9" fmla="*/ 3867400 w 4984030"/>
              <a:gd name="connsiteY9" fmla="*/ 2950893 h 3291551"/>
              <a:gd name="connsiteX10" fmla="*/ 3720055 w 4984030"/>
              <a:gd name="connsiteY10" fmla="*/ 2985562 h 3291551"/>
              <a:gd name="connsiteX11" fmla="*/ 3606453 w 4984030"/>
              <a:gd name="connsiteY11" fmla="*/ 3064490 h 3291551"/>
              <a:gd name="connsiteX12" fmla="*/ 3542747 w 4984030"/>
              <a:gd name="connsiteY12" fmla="*/ 3004972 h 3291551"/>
              <a:gd name="connsiteX13" fmla="*/ 3395032 w 4984030"/>
              <a:gd name="connsiteY13" fmla="*/ 3063568 h 3291551"/>
              <a:gd name="connsiteX14" fmla="*/ 3293122 w 4984030"/>
              <a:gd name="connsiteY14" fmla="*/ 3050307 h 3291551"/>
              <a:gd name="connsiteX15" fmla="*/ 3191688 w 4984030"/>
              <a:gd name="connsiteY15" fmla="*/ 3060457 h 3291551"/>
              <a:gd name="connsiteX16" fmla="*/ 3100860 w 4984030"/>
              <a:gd name="connsiteY16" fmla="*/ 2979021 h 3291551"/>
              <a:gd name="connsiteX17" fmla="*/ 3001578 w 4984030"/>
              <a:gd name="connsiteY17" fmla="*/ 2997469 h 3291551"/>
              <a:gd name="connsiteX18" fmla="*/ 2866326 w 4984030"/>
              <a:gd name="connsiteY18" fmla="*/ 2872887 h 3291551"/>
              <a:gd name="connsiteX19" fmla="*/ 2777400 w 4984030"/>
              <a:gd name="connsiteY19" fmla="*/ 2907661 h 3291551"/>
              <a:gd name="connsiteX20" fmla="*/ 2740626 w 4984030"/>
              <a:gd name="connsiteY20" fmla="*/ 2962589 h 3291551"/>
              <a:gd name="connsiteX21" fmla="*/ 2671313 w 4984030"/>
              <a:gd name="connsiteY21" fmla="*/ 3011563 h 3291551"/>
              <a:gd name="connsiteX22" fmla="*/ 2560509 w 4984030"/>
              <a:gd name="connsiteY22" fmla="*/ 3060157 h 3291551"/>
              <a:gd name="connsiteX23" fmla="*/ 2415662 w 4984030"/>
              <a:gd name="connsiteY23" fmla="*/ 3026992 h 3291551"/>
              <a:gd name="connsiteX24" fmla="*/ 2331487 w 4984030"/>
              <a:gd name="connsiteY24" fmla="*/ 3057839 h 3291551"/>
              <a:gd name="connsiteX25" fmla="*/ 2129606 w 4984030"/>
              <a:gd name="connsiteY25" fmla="*/ 2989896 h 3291551"/>
              <a:gd name="connsiteX26" fmla="*/ 1973480 w 4984030"/>
              <a:gd name="connsiteY26" fmla="*/ 3007942 h 3291551"/>
              <a:gd name="connsiteX27" fmla="*/ 1906339 w 4984030"/>
              <a:gd name="connsiteY27" fmla="*/ 3051790 h 3291551"/>
              <a:gd name="connsiteX28" fmla="*/ 1722243 w 4984030"/>
              <a:gd name="connsiteY28" fmla="*/ 3050567 h 3291551"/>
              <a:gd name="connsiteX29" fmla="*/ 1618236 w 4984030"/>
              <a:gd name="connsiteY29" fmla="*/ 2972562 h 3291551"/>
              <a:gd name="connsiteX30" fmla="*/ 1492595 w 4984030"/>
              <a:gd name="connsiteY30" fmla="*/ 3063978 h 3291551"/>
              <a:gd name="connsiteX31" fmla="*/ 1386524 w 4984030"/>
              <a:gd name="connsiteY31" fmla="*/ 3156603 h 3291551"/>
              <a:gd name="connsiteX32" fmla="*/ 1305729 w 4984030"/>
              <a:gd name="connsiteY32" fmla="*/ 3160581 h 3291551"/>
              <a:gd name="connsiteX33" fmla="*/ 1271543 w 4984030"/>
              <a:gd name="connsiteY33" fmla="*/ 3102571 h 3291551"/>
              <a:gd name="connsiteX34" fmla="*/ 1163202 w 4984030"/>
              <a:gd name="connsiteY34" fmla="*/ 3102570 h 3291551"/>
              <a:gd name="connsiteX35" fmla="*/ 1084991 w 4984030"/>
              <a:gd name="connsiteY35" fmla="*/ 3065694 h 3291551"/>
              <a:gd name="connsiteX36" fmla="*/ 989856 w 4984030"/>
              <a:gd name="connsiteY36" fmla="*/ 3106905 h 3291551"/>
              <a:gd name="connsiteX37" fmla="*/ 871472 w 4984030"/>
              <a:gd name="connsiteY37" fmla="*/ 3109146 h 3291551"/>
              <a:gd name="connsiteX38" fmla="*/ 812453 w 4984030"/>
              <a:gd name="connsiteY38" fmla="*/ 3152578 h 3291551"/>
              <a:gd name="connsiteX39" fmla="*/ 744251 w 4984030"/>
              <a:gd name="connsiteY39" fmla="*/ 3109147 h 3291551"/>
              <a:gd name="connsiteX40" fmla="*/ 660499 w 4984030"/>
              <a:gd name="connsiteY40" fmla="*/ 3115572 h 3291551"/>
              <a:gd name="connsiteX41" fmla="*/ 585225 w 4984030"/>
              <a:gd name="connsiteY41" fmla="*/ 3085293 h 3291551"/>
              <a:gd name="connsiteX42" fmla="*/ 517434 w 4984030"/>
              <a:gd name="connsiteY42" fmla="*/ 3025578 h 3291551"/>
              <a:gd name="connsiteX43" fmla="*/ 435149 w 4984030"/>
              <a:gd name="connsiteY43" fmla="*/ 3115572 h 3291551"/>
              <a:gd name="connsiteX44" fmla="*/ 300420 w 4984030"/>
              <a:gd name="connsiteY44" fmla="*/ 3152577 h 3291551"/>
              <a:gd name="connsiteX45" fmla="*/ 188132 w 4984030"/>
              <a:gd name="connsiteY45" fmla="*/ 3128573 h 3291551"/>
              <a:gd name="connsiteX46" fmla="*/ 93068 w 4984030"/>
              <a:gd name="connsiteY46" fmla="*/ 3151872 h 3291551"/>
              <a:gd name="connsiteX47" fmla="*/ 14139 w 4984030"/>
              <a:gd name="connsiteY47" fmla="*/ 3004452 h 3291551"/>
              <a:gd name="connsiteX48" fmla="*/ 18357 w 4984030"/>
              <a:gd name="connsiteY48" fmla="*/ 3791 h 3291551"/>
              <a:gd name="connsiteX0" fmla="*/ 4271 w 4969944"/>
              <a:gd name="connsiteY0" fmla="*/ 3791 h 3164049"/>
              <a:gd name="connsiteX1" fmla="*/ 4969198 w 4969944"/>
              <a:gd name="connsiteY1" fmla="*/ 4878 h 3164049"/>
              <a:gd name="connsiteX2" fmla="*/ 4969199 w 4969944"/>
              <a:gd name="connsiteY2" fmla="*/ 3021208 h 3164049"/>
              <a:gd name="connsiteX3" fmla="*/ 4910128 w 4969944"/>
              <a:gd name="connsiteY3" fmla="*/ 3120737 h 3164049"/>
              <a:gd name="connsiteX4" fmla="*/ 4778282 w 4969944"/>
              <a:gd name="connsiteY4" fmla="*/ 3151163 h 3164049"/>
              <a:gd name="connsiteX5" fmla="*/ 4585766 w 4969944"/>
              <a:gd name="connsiteY5" fmla="*/ 3062985 h 3164049"/>
              <a:gd name="connsiteX6" fmla="*/ 4415821 w 4969944"/>
              <a:gd name="connsiteY6" fmla="*/ 3113063 h 3164049"/>
              <a:gd name="connsiteX7" fmla="*/ 4225622 w 4969944"/>
              <a:gd name="connsiteY7" fmla="*/ 3084141 h 3164049"/>
              <a:gd name="connsiteX8" fmla="*/ 4013152 w 4969944"/>
              <a:gd name="connsiteY8" fmla="*/ 3068011 h 3164049"/>
              <a:gd name="connsiteX9" fmla="*/ 3853314 w 4969944"/>
              <a:gd name="connsiteY9" fmla="*/ 2950893 h 3164049"/>
              <a:gd name="connsiteX10" fmla="*/ 3705969 w 4969944"/>
              <a:gd name="connsiteY10" fmla="*/ 2985562 h 3164049"/>
              <a:gd name="connsiteX11" fmla="*/ 3592367 w 4969944"/>
              <a:gd name="connsiteY11" fmla="*/ 3064490 h 3164049"/>
              <a:gd name="connsiteX12" fmla="*/ 3528661 w 4969944"/>
              <a:gd name="connsiteY12" fmla="*/ 3004972 h 3164049"/>
              <a:gd name="connsiteX13" fmla="*/ 3380946 w 4969944"/>
              <a:gd name="connsiteY13" fmla="*/ 3063568 h 3164049"/>
              <a:gd name="connsiteX14" fmla="*/ 3279036 w 4969944"/>
              <a:gd name="connsiteY14" fmla="*/ 3050307 h 3164049"/>
              <a:gd name="connsiteX15" fmla="*/ 3177602 w 4969944"/>
              <a:gd name="connsiteY15" fmla="*/ 3060457 h 3164049"/>
              <a:gd name="connsiteX16" fmla="*/ 3086774 w 4969944"/>
              <a:gd name="connsiteY16" fmla="*/ 2979021 h 3164049"/>
              <a:gd name="connsiteX17" fmla="*/ 2987492 w 4969944"/>
              <a:gd name="connsiteY17" fmla="*/ 2997469 h 3164049"/>
              <a:gd name="connsiteX18" fmla="*/ 2852240 w 4969944"/>
              <a:gd name="connsiteY18" fmla="*/ 2872887 h 3164049"/>
              <a:gd name="connsiteX19" fmla="*/ 2763314 w 4969944"/>
              <a:gd name="connsiteY19" fmla="*/ 2907661 h 3164049"/>
              <a:gd name="connsiteX20" fmla="*/ 2726540 w 4969944"/>
              <a:gd name="connsiteY20" fmla="*/ 2962589 h 3164049"/>
              <a:gd name="connsiteX21" fmla="*/ 2657227 w 4969944"/>
              <a:gd name="connsiteY21" fmla="*/ 3011563 h 3164049"/>
              <a:gd name="connsiteX22" fmla="*/ 2546423 w 4969944"/>
              <a:gd name="connsiteY22" fmla="*/ 3060157 h 3164049"/>
              <a:gd name="connsiteX23" fmla="*/ 2401576 w 4969944"/>
              <a:gd name="connsiteY23" fmla="*/ 3026992 h 3164049"/>
              <a:gd name="connsiteX24" fmla="*/ 2317401 w 4969944"/>
              <a:gd name="connsiteY24" fmla="*/ 3057839 h 3164049"/>
              <a:gd name="connsiteX25" fmla="*/ 2115520 w 4969944"/>
              <a:gd name="connsiteY25" fmla="*/ 2989896 h 3164049"/>
              <a:gd name="connsiteX26" fmla="*/ 1959394 w 4969944"/>
              <a:gd name="connsiteY26" fmla="*/ 3007942 h 3164049"/>
              <a:gd name="connsiteX27" fmla="*/ 1892253 w 4969944"/>
              <a:gd name="connsiteY27" fmla="*/ 3051790 h 3164049"/>
              <a:gd name="connsiteX28" fmla="*/ 1708157 w 4969944"/>
              <a:gd name="connsiteY28" fmla="*/ 3050567 h 3164049"/>
              <a:gd name="connsiteX29" fmla="*/ 1604150 w 4969944"/>
              <a:gd name="connsiteY29" fmla="*/ 2972562 h 3164049"/>
              <a:gd name="connsiteX30" fmla="*/ 1478509 w 4969944"/>
              <a:gd name="connsiteY30" fmla="*/ 3063978 h 3164049"/>
              <a:gd name="connsiteX31" fmla="*/ 1372438 w 4969944"/>
              <a:gd name="connsiteY31" fmla="*/ 3156603 h 3164049"/>
              <a:gd name="connsiteX32" fmla="*/ 1291643 w 4969944"/>
              <a:gd name="connsiteY32" fmla="*/ 3160581 h 3164049"/>
              <a:gd name="connsiteX33" fmla="*/ 1257457 w 4969944"/>
              <a:gd name="connsiteY33" fmla="*/ 3102571 h 3164049"/>
              <a:gd name="connsiteX34" fmla="*/ 1149116 w 4969944"/>
              <a:gd name="connsiteY34" fmla="*/ 3102570 h 3164049"/>
              <a:gd name="connsiteX35" fmla="*/ 1070905 w 4969944"/>
              <a:gd name="connsiteY35" fmla="*/ 3065694 h 3164049"/>
              <a:gd name="connsiteX36" fmla="*/ 975770 w 4969944"/>
              <a:gd name="connsiteY36" fmla="*/ 3106905 h 3164049"/>
              <a:gd name="connsiteX37" fmla="*/ 857386 w 4969944"/>
              <a:gd name="connsiteY37" fmla="*/ 3109146 h 3164049"/>
              <a:gd name="connsiteX38" fmla="*/ 798367 w 4969944"/>
              <a:gd name="connsiteY38" fmla="*/ 3152578 h 3164049"/>
              <a:gd name="connsiteX39" fmla="*/ 730165 w 4969944"/>
              <a:gd name="connsiteY39" fmla="*/ 3109147 h 3164049"/>
              <a:gd name="connsiteX40" fmla="*/ 646413 w 4969944"/>
              <a:gd name="connsiteY40" fmla="*/ 3115572 h 3164049"/>
              <a:gd name="connsiteX41" fmla="*/ 571139 w 4969944"/>
              <a:gd name="connsiteY41" fmla="*/ 3085293 h 3164049"/>
              <a:gd name="connsiteX42" fmla="*/ 503348 w 4969944"/>
              <a:gd name="connsiteY42" fmla="*/ 3025578 h 3164049"/>
              <a:gd name="connsiteX43" fmla="*/ 421063 w 4969944"/>
              <a:gd name="connsiteY43" fmla="*/ 3115572 h 3164049"/>
              <a:gd name="connsiteX44" fmla="*/ 286334 w 4969944"/>
              <a:gd name="connsiteY44" fmla="*/ 3152577 h 3164049"/>
              <a:gd name="connsiteX45" fmla="*/ 174046 w 4969944"/>
              <a:gd name="connsiteY45" fmla="*/ 3128573 h 3164049"/>
              <a:gd name="connsiteX46" fmla="*/ 78982 w 4969944"/>
              <a:gd name="connsiteY46" fmla="*/ 3151872 h 3164049"/>
              <a:gd name="connsiteX47" fmla="*/ 53 w 4969944"/>
              <a:gd name="connsiteY47" fmla="*/ 3004452 h 3164049"/>
              <a:gd name="connsiteX48" fmla="*/ 4271 w 4969944"/>
              <a:gd name="connsiteY48" fmla="*/ 3791 h 316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69944" h="3164049">
                <a:moveTo>
                  <a:pt x="4271" y="3791"/>
                </a:moveTo>
                <a:cubicBezTo>
                  <a:pt x="3068" y="-1854"/>
                  <a:pt x="4973897" y="-947"/>
                  <a:pt x="4969198" y="4878"/>
                </a:cubicBezTo>
                <a:cubicBezTo>
                  <a:pt x="4970085" y="5119"/>
                  <a:pt x="4969199" y="2198212"/>
                  <a:pt x="4969199" y="3021208"/>
                </a:cubicBezTo>
                <a:cubicBezTo>
                  <a:pt x="4977116" y="3020819"/>
                  <a:pt x="4919546" y="3112459"/>
                  <a:pt x="4910128" y="3120737"/>
                </a:cubicBezTo>
                <a:cubicBezTo>
                  <a:pt x="4918183" y="3122954"/>
                  <a:pt x="4826565" y="3096943"/>
                  <a:pt x="4778282" y="3151163"/>
                </a:cubicBezTo>
                <a:cubicBezTo>
                  <a:pt x="4731715" y="3151163"/>
                  <a:pt x="4632333" y="3062985"/>
                  <a:pt x="4585766" y="3062985"/>
                </a:cubicBezTo>
                <a:cubicBezTo>
                  <a:pt x="4509566" y="3058752"/>
                  <a:pt x="4492021" y="3043624"/>
                  <a:pt x="4415821" y="3113063"/>
                </a:cubicBezTo>
                <a:cubicBezTo>
                  <a:pt x="4352321" y="3108830"/>
                  <a:pt x="4315124" y="3053704"/>
                  <a:pt x="4225622" y="3084141"/>
                </a:cubicBezTo>
                <a:cubicBezTo>
                  <a:pt x="4174822" y="3082024"/>
                  <a:pt x="4102954" y="3044126"/>
                  <a:pt x="4013152" y="3068011"/>
                </a:cubicBezTo>
                <a:cubicBezTo>
                  <a:pt x="3959873" y="3028972"/>
                  <a:pt x="3915260" y="3024601"/>
                  <a:pt x="3853314" y="2950893"/>
                </a:cubicBezTo>
                <a:lnTo>
                  <a:pt x="3705969" y="2985562"/>
                </a:lnTo>
                <a:lnTo>
                  <a:pt x="3592367" y="3064490"/>
                </a:lnTo>
                <a:cubicBezTo>
                  <a:pt x="3585458" y="3064490"/>
                  <a:pt x="3535570" y="3004972"/>
                  <a:pt x="3528661" y="3004972"/>
                </a:cubicBezTo>
                <a:cubicBezTo>
                  <a:pt x="3520565" y="3004143"/>
                  <a:pt x="3437740" y="3058813"/>
                  <a:pt x="3380946" y="3063568"/>
                </a:cubicBezTo>
                <a:cubicBezTo>
                  <a:pt x="3340561" y="3070514"/>
                  <a:pt x="3312927" y="3050826"/>
                  <a:pt x="3279036" y="3050307"/>
                </a:cubicBezTo>
                <a:cubicBezTo>
                  <a:pt x="3270748" y="3049788"/>
                  <a:pt x="3208426" y="3074776"/>
                  <a:pt x="3177602" y="3060457"/>
                </a:cubicBezTo>
                <a:cubicBezTo>
                  <a:pt x="3122569" y="3056224"/>
                  <a:pt x="3105231" y="2983254"/>
                  <a:pt x="3086774" y="2979021"/>
                </a:cubicBezTo>
                <a:cubicBezTo>
                  <a:pt x="3050791" y="2981138"/>
                  <a:pt x="3023475" y="2995352"/>
                  <a:pt x="2987492" y="2997469"/>
                </a:cubicBezTo>
                <a:cubicBezTo>
                  <a:pt x="2971210" y="2994901"/>
                  <a:pt x="2862628" y="2876533"/>
                  <a:pt x="2852240" y="2872887"/>
                </a:cubicBezTo>
                <a:cubicBezTo>
                  <a:pt x="2847796" y="2860967"/>
                  <a:pt x="2784264" y="2892711"/>
                  <a:pt x="2763314" y="2907661"/>
                </a:cubicBezTo>
                <a:cubicBezTo>
                  <a:pt x="2742364" y="2922611"/>
                  <a:pt x="2747879" y="2948320"/>
                  <a:pt x="2726540" y="2962589"/>
                </a:cubicBezTo>
                <a:cubicBezTo>
                  <a:pt x="2705201" y="2976858"/>
                  <a:pt x="2700248" y="2994580"/>
                  <a:pt x="2657227" y="3011563"/>
                </a:cubicBezTo>
                <a:cubicBezTo>
                  <a:pt x="2614207" y="3028547"/>
                  <a:pt x="2599865" y="3063364"/>
                  <a:pt x="2546423" y="3060157"/>
                </a:cubicBezTo>
                <a:cubicBezTo>
                  <a:pt x="2495623" y="3055924"/>
                  <a:pt x="2452376" y="3031225"/>
                  <a:pt x="2401576" y="3026992"/>
                </a:cubicBezTo>
                <a:cubicBezTo>
                  <a:pt x="2352893" y="3026992"/>
                  <a:pt x="2366084" y="3057839"/>
                  <a:pt x="2317401" y="3057839"/>
                </a:cubicBezTo>
                <a:cubicBezTo>
                  <a:pt x="2260336" y="3055268"/>
                  <a:pt x="2198301" y="3002546"/>
                  <a:pt x="2115520" y="2989896"/>
                </a:cubicBezTo>
                <a:cubicBezTo>
                  <a:pt x="2032739" y="2977246"/>
                  <a:pt x="2029830" y="3001238"/>
                  <a:pt x="1959394" y="3007942"/>
                </a:cubicBezTo>
                <a:cubicBezTo>
                  <a:pt x="1921294" y="3012175"/>
                  <a:pt x="1930353" y="3047557"/>
                  <a:pt x="1892253" y="3051790"/>
                </a:cubicBezTo>
                <a:cubicBezTo>
                  <a:pt x="1848936" y="3056727"/>
                  <a:pt x="1797338" y="3060092"/>
                  <a:pt x="1708157" y="3050567"/>
                </a:cubicBezTo>
                <a:cubicBezTo>
                  <a:pt x="1655084" y="3046752"/>
                  <a:pt x="1633388" y="2981883"/>
                  <a:pt x="1604150" y="2972562"/>
                </a:cubicBezTo>
                <a:cubicBezTo>
                  <a:pt x="1582228" y="2963241"/>
                  <a:pt x="1527624" y="3045921"/>
                  <a:pt x="1478509" y="3063978"/>
                </a:cubicBezTo>
                <a:cubicBezTo>
                  <a:pt x="1429394" y="3082035"/>
                  <a:pt x="1422295" y="3152284"/>
                  <a:pt x="1372438" y="3156603"/>
                </a:cubicBezTo>
                <a:cubicBezTo>
                  <a:pt x="1322581" y="3160922"/>
                  <a:pt x="1324868" y="3168526"/>
                  <a:pt x="1291643" y="3160581"/>
                </a:cubicBezTo>
                <a:cubicBezTo>
                  <a:pt x="1258418" y="3152636"/>
                  <a:pt x="1281278" y="3122848"/>
                  <a:pt x="1257457" y="3102571"/>
                </a:cubicBezTo>
                <a:cubicBezTo>
                  <a:pt x="1233636" y="3082294"/>
                  <a:pt x="1191764" y="3117384"/>
                  <a:pt x="1149116" y="3102570"/>
                </a:cubicBezTo>
                <a:cubicBezTo>
                  <a:pt x="1106468" y="3087756"/>
                  <a:pt x="1112075" y="3070028"/>
                  <a:pt x="1070905" y="3065694"/>
                </a:cubicBezTo>
                <a:cubicBezTo>
                  <a:pt x="1029735" y="3061360"/>
                  <a:pt x="1008043" y="3097013"/>
                  <a:pt x="975770" y="3106905"/>
                </a:cubicBezTo>
                <a:cubicBezTo>
                  <a:pt x="943497" y="3116797"/>
                  <a:pt x="886953" y="3101534"/>
                  <a:pt x="857386" y="3109146"/>
                </a:cubicBezTo>
                <a:cubicBezTo>
                  <a:pt x="827819" y="3116758"/>
                  <a:pt x="822884" y="3155228"/>
                  <a:pt x="798367" y="3152578"/>
                </a:cubicBezTo>
                <a:cubicBezTo>
                  <a:pt x="773850" y="3149928"/>
                  <a:pt x="715735" y="3103388"/>
                  <a:pt x="730165" y="3109147"/>
                </a:cubicBezTo>
                <a:cubicBezTo>
                  <a:pt x="704839" y="3102979"/>
                  <a:pt x="671592" y="3124186"/>
                  <a:pt x="646413" y="3115572"/>
                </a:cubicBezTo>
                <a:cubicBezTo>
                  <a:pt x="621234" y="3106958"/>
                  <a:pt x="594983" y="3100292"/>
                  <a:pt x="571139" y="3085293"/>
                </a:cubicBezTo>
                <a:cubicBezTo>
                  <a:pt x="547295" y="3070294"/>
                  <a:pt x="528360" y="3016556"/>
                  <a:pt x="503348" y="3025578"/>
                </a:cubicBezTo>
                <a:cubicBezTo>
                  <a:pt x="497773" y="3027387"/>
                  <a:pt x="457232" y="3094405"/>
                  <a:pt x="421063" y="3115572"/>
                </a:cubicBezTo>
                <a:cubicBezTo>
                  <a:pt x="384894" y="3136739"/>
                  <a:pt x="293817" y="3151900"/>
                  <a:pt x="286334" y="3152577"/>
                </a:cubicBezTo>
                <a:cubicBezTo>
                  <a:pt x="267878" y="3153254"/>
                  <a:pt x="168370" y="3131129"/>
                  <a:pt x="174046" y="3128573"/>
                </a:cubicBezTo>
                <a:cubicBezTo>
                  <a:pt x="161433" y="3126017"/>
                  <a:pt x="102299" y="3171933"/>
                  <a:pt x="78982" y="3151872"/>
                </a:cubicBezTo>
                <a:cubicBezTo>
                  <a:pt x="55665" y="3131811"/>
                  <a:pt x="-1979" y="2992577"/>
                  <a:pt x="53" y="3004452"/>
                </a:cubicBezTo>
                <a:cubicBezTo>
                  <a:pt x="9943" y="3015014"/>
                  <a:pt x="-111" y="-7319"/>
                  <a:pt x="4271" y="3791"/>
                </a:cubicBezTo>
                <a:close/>
              </a:path>
            </a:pathLst>
          </a:custGeom>
          <a:solidFill>
            <a:srgbClr val="F9F9F9"/>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274320" rIns="91440" rtlCol="0" anchor="t"/>
          <a:lstStyle/>
          <a:p>
            <a:pPr>
              <a:spcBef>
                <a:spcPts val="600"/>
              </a:spcBef>
            </a:pPr>
            <a:r>
              <a:rPr lang="en-US" sz="1200" i="1" dirty="0">
                <a:solidFill>
                  <a:schemeClr val="bg2"/>
                </a:solidFill>
              </a:rPr>
              <a:t>“I think there’s a lot of confidence in the market. Stock markets are trading at all-time highs. There’s been a rotation back to focusing on growth, which obviously is great for tech. There was a ton of uncertainty around valuations which isn’t conducive to either IPOs or M&amp;A. I think now people know what their valuations are. They’ve got more clarity around that. We’ll start to see momentum in the beginning of the year, and really accelerate, as the year goes on.”</a:t>
            </a:r>
            <a:r>
              <a:rPr lang="en-IN" sz="1200" b="1" dirty="0">
                <a:solidFill>
                  <a:schemeClr val="bg2"/>
                </a:solidFill>
              </a:rPr>
              <a:t>	 </a:t>
            </a:r>
          </a:p>
          <a:p>
            <a:pPr>
              <a:spcBef>
                <a:spcPts val="600"/>
              </a:spcBef>
            </a:pPr>
            <a:endParaRPr lang="en-IN" sz="1200" b="1" dirty="0">
              <a:solidFill>
                <a:schemeClr val="bg2"/>
              </a:solidFill>
            </a:endParaRPr>
          </a:p>
          <a:p>
            <a:pPr algn="r"/>
            <a:r>
              <a:rPr lang="en-IN" sz="1200" b="1" dirty="0">
                <a:solidFill>
                  <a:schemeClr val="tx2"/>
                </a:solidFill>
              </a:rPr>
              <a:t>- Ran Ben-Tzur,</a:t>
            </a:r>
          </a:p>
          <a:p>
            <a:pPr algn="r"/>
            <a:r>
              <a:rPr lang="en-IN" sz="1200" b="1" dirty="0">
                <a:solidFill>
                  <a:schemeClr val="bg2"/>
                </a:solidFill>
              </a:rPr>
              <a:t>		</a:t>
            </a:r>
            <a:r>
              <a:rPr lang="en-IN" sz="1200" i="1" dirty="0">
                <a:solidFill>
                  <a:schemeClr val="bg2"/>
                </a:solidFill>
              </a:rPr>
              <a:t>Partner, Fenwick &amp; West</a:t>
            </a:r>
          </a:p>
        </p:txBody>
      </p:sp>
      <p:sp>
        <p:nvSpPr>
          <p:cNvPr id="15" name="Freeform 3">
            <a:extLst>
              <a:ext uri="{FF2B5EF4-FFF2-40B4-BE49-F238E27FC236}">
                <a16:creationId xmlns:a16="http://schemas.microsoft.com/office/drawing/2014/main" id="{0DF3C22F-ED87-4BBA-990A-D0D20A3901CB}"/>
              </a:ext>
            </a:extLst>
          </p:cNvPr>
          <p:cNvSpPr/>
          <p:nvPr/>
        </p:nvSpPr>
        <p:spPr>
          <a:xfrm flipH="1">
            <a:off x="6040586" y="3636885"/>
            <a:ext cx="5252888" cy="2743200"/>
          </a:xfrm>
          <a:custGeom>
            <a:avLst/>
            <a:gdLst>
              <a:gd name="connsiteX0" fmla="*/ 0 w 4959705"/>
              <a:gd name="connsiteY0" fmla="*/ 0 h 3884371"/>
              <a:gd name="connsiteX1" fmla="*/ 4959705 w 4959705"/>
              <a:gd name="connsiteY1" fmla="*/ 0 h 3884371"/>
              <a:gd name="connsiteX2" fmla="*/ 4959705 w 4959705"/>
              <a:gd name="connsiteY2" fmla="*/ 3884371 h 3884371"/>
              <a:gd name="connsiteX3" fmla="*/ 7315 w 4959705"/>
              <a:gd name="connsiteY3" fmla="*/ 3884371 h 3884371"/>
              <a:gd name="connsiteX4" fmla="*/ 0 w 4959705"/>
              <a:gd name="connsiteY4" fmla="*/ 0 h 3884371"/>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7315 w 4959705"/>
              <a:gd name="connsiteY4" fmla="*/ 3884371 h 4022903"/>
              <a:gd name="connsiteX5" fmla="*/ 0 w 4959705"/>
              <a:gd name="connsiteY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7315 w 4959705"/>
              <a:gd name="connsiteY5" fmla="*/ 3884371 h 4022903"/>
              <a:gd name="connsiteX6" fmla="*/ 0 w 4959705"/>
              <a:gd name="connsiteY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7315 w 4959705"/>
              <a:gd name="connsiteY6" fmla="*/ 3884371 h 4022903"/>
              <a:gd name="connsiteX7" fmla="*/ 0 w 4959705"/>
              <a:gd name="connsiteY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7315 w 4959705"/>
              <a:gd name="connsiteY7" fmla="*/ 3884371 h 4022903"/>
              <a:gd name="connsiteX8" fmla="*/ 0 w 4959705"/>
              <a:gd name="connsiteY8"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7315 w 4959705"/>
              <a:gd name="connsiteY8" fmla="*/ 3884371 h 4022903"/>
              <a:gd name="connsiteX9" fmla="*/ 0 w 4959705"/>
              <a:gd name="connsiteY9"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7315 w 4959705"/>
              <a:gd name="connsiteY9" fmla="*/ 3884371 h 4022903"/>
              <a:gd name="connsiteX10" fmla="*/ 0 w 4959705"/>
              <a:gd name="connsiteY10"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7315 w 4959705"/>
              <a:gd name="connsiteY10" fmla="*/ 3884371 h 4022903"/>
              <a:gd name="connsiteX11" fmla="*/ 0 w 4959705"/>
              <a:gd name="connsiteY11"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7315 w 4959705"/>
              <a:gd name="connsiteY11" fmla="*/ 3884371 h 4022903"/>
              <a:gd name="connsiteX12" fmla="*/ 0 w 4959705"/>
              <a:gd name="connsiteY12"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7315 w 4959705"/>
              <a:gd name="connsiteY12" fmla="*/ 3884371 h 4022903"/>
              <a:gd name="connsiteX13" fmla="*/ 0 w 4959705"/>
              <a:gd name="connsiteY13"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7315 w 4959705"/>
              <a:gd name="connsiteY13" fmla="*/ 3884371 h 4022903"/>
              <a:gd name="connsiteX14" fmla="*/ 0 w 4959705"/>
              <a:gd name="connsiteY14"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7315 w 4959705"/>
              <a:gd name="connsiteY14" fmla="*/ 3884371 h 4022903"/>
              <a:gd name="connsiteX15" fmla="*/ 0 w 4959705"/>
              <a:gd name="connsiteY1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7315 w 4959705"/>
              <a:gd name="connsiteY15" fmla="*/ 3884371 h 4022903"/>
              <a:gd name="connsiteX16" fmla="*/ 0 w 4959705"/>
              <a:gd name="connsiteY1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7315 w 4959705"/>
              <a:gd name="connsiteY16" fmla="*/ 3884371 h 4022903"/>
              <a:gd name="connsiteX17" fmla="*/ 0 w 4959705"/>
              <a:gd name="connsiteY1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7315 w 4959705"/>
              <a:gd name="connsiteY17" fmla="*/ 3884371 h 4022903"/>
              <a:gd name="connsiteX18" fmla="*/ 0 w 4959705"/>
              <a:gd name="connsiteY18"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7315 w 4959705"/>
              <a:gd name="connsiteY18" fmla="*/ 3884371 h 4022903"/>
              <a:gd name="connsiteX19" fmla="*/ 0 w 4959705"/>
              <a:gd name="connsiteY19"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7315 w 4959705"/>
              <a:gd name="connsiteY19" fmla="*/ 3884371 h 4022903"/>
              <a:gd name="connsiteX20" fmla="*/ 0 w 4959705"/>
              <a:gd name="connsiteY20"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7315 w 4959705"/>
              <a:gd name="connsiteY20" fmla="*/ 3884371 h 4022903"/>
              <a:gd name="connsiteX21" fmla="*/ 0 w 4959705"/>
              <a:gd name="connsiteY21"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7315 w 4959705"/>
              <a:gd name="connsiteY21" fmla="*/ 3884371 h 4022903"/>
              <a:gd name="connsiteX22" fmla="*/ 0 w 4959705"/>
              <a:gd name="connsiteY22"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7315 w 4959705"/>
              <a:gd name="connsiteY22" fmla="*/ 3884371 h 4022903"/>
              <a:gd name="connsiteX23" fmla="*/ 0 w 4959705"/>
              <a:gd name="connsiteY23"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315 w 4959705"/>
              <a:gd name="connsiteY23" fmla="*/ 3884371 h 4022903"/>
              <a:gd name="connsiteX24" fmla="*/ 0 w 4959705"/>
              <a:gd name="connsiteY24"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7315 w 4959705"/>
              <a:gd name="connsiteY24" fmla="*/ 3884371 h 4022903"/>
              <a:gd name="connsiteX25" fmla="*/ 0 w 4959705"/>
              <a:gd name="connsiteY25"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7315 w 4959705"/>
              <a:gd name="connsiteY25" fmla="*/ 3884371 h 4022903"/>
              <a:gd name="connsiteX26" fmla="*/ 0 w 4959705"/>
              <a:gd name="connsiteY26"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268173 w 4959705"/>
              <a:gd name="connsiteY25" fmla="*/ 3959403 h 4022903"/>
              <a:gd name="connsiteX26" fmla="*/ 7315 w 4959705"/>
              <a:gd name="connsiteY26" fmla="*/ 3884371 h 4022903"/>
              <a:gd name="connsiteX27" fmla="*/ 0 w 4959705"/>
              <a:gd name="connsiteY27" fmla="*/ 0 h 4022903"/>
              <a:gd name="connsiteX0" fmla="*/ 0 w 4959705"/>
              <a:gd name="connsiteY0" fmla="*/ 0 h 4022903"/>
              <a:gd name="connsiteX1" fmla="*/ 4959705 w 4959705"/>
              <a:gd name="connsiteY1" fmla="*/ 0 h 4022903"/>
              <a:gd name="connsiteX2" fmla="*/ 4959705 w 4959705"/>
              <a:gd name="connsiteY2" fmla="*/ 3884371 h 4022903"/>
              <a:gd name="connsiteX3" fmla="*/ 4757623 w 4959705"/>
              <a:gd name="connsiteY3" fmla="*/ 4022903 h 4022903"/>
              <a:gd name="connsiteX4" fmla="*/ 4560773 w 4959705"/>
              <a:gd name="connsiteY4" fmla="*/ 3927653 h 4022903"/>
              <a:gd name="connsiteX5" fmla="*/ 4363923 w 4959705"/>
              <a:gd name="connsiteY5" fmla="*/ 3991153 h 4022903"/>
              <a:gd name="connsiteX6" fmla="*/ 4128973 w 4959705"/>
              <a:gd name="connsiteY6" fmla="*/ 3889553 h 4022903"/>
              <a:gd name="connsiteX7" fmla="*/ 3925773 w 4959705"/>
              <a:gd name="connsiteY7" fmla="*/ 3921303 h 4022903"/>
              <a:gd name="connsiteX8" fmla="*/ 3747973 w 4959705"/>
              <a:gd name="connsiteY8" fmla="*/ 3870503 h 4022903"/>
              <a:gd name="connsiteX9" fmla="*/ 3582873 w 4959705"/>
              <a:gd name="connsiteY9" fmla="*/ 3927653 h 4022903"/>
              <a:gd name="connsiteX10" fmla="*/ 3322523 w 4959705"/>
              <a:gd name="connsiteY10" fmla="*/ 3838753 h 4022903"/>
              <a:gd name="connsiteX11" fmla="*/ 3163773 w 4959705"/>
              <a:gd name="connsiteY11" fmla="*/ 3914953 h 4022903"/>
              <a:gd name="connsiteX12" fmla="*/ 2973273 w 4959705"/>
              <a:gd name="connsiteY12" fmla="*/ 3876853 h 4022903"/>
              <a:gd name="connsiteX13" fmla="*/ 2865323 w 4959705"/>
              <a:gd name="connsiteY13" fmla="*/ 3921303 h 4022903"/>
              <a:gd name="connsiteX14" fmla="*/ 2630373 w 4959705"/>
              <a:gd name="connsiteY14" fmla="*/ 3838753 h 4022903"/>
              <a:gd name="connsiteX15" fmla="*/ 2458923 w 4959705"/>
              <a:gd name="connsiteY15" fmla="*/ 3927653 h 4022903"/>
              <a:gd name="connsiteX16" fmla="*/ 2262073 w 4959705"/>
              <a:gd name="connsiteY16" fmla="*/ 3864153 h 4022903"/>
              <a:gd name="connsiteX17" fmla="*/ 2065223 w 4959705"/>
              <a:gd name="connsiteY17" fmla="*/ 3934003 h 4022903"/>
              <a:gd name="connsiteX18" fmla="*/ 1811223 w 4959705"/>
              <a:gd name="connsiteY18" fmla="*/ 3845103 h 4022903"/>
              <a:gd name="connsiteX19" fmla="*/ 1627073 w 4959705"/>
              <a:gd name="connsiteY19" fmla="*/ 3914953 h 4022903"/>
              <a:gd name="connsiteX20" fmla="*/ 1347673 w 4959705"/>
              <a:gd name="connsiteY20" fmla="*/ 3857803 h 4022903"/>
              <a:gd name="connsiteX21" fmla="*/ 1169873 w 4959705"/>
              <a:gd name="connsiteY21" fmla="*/ 3953053 h 4022903"/>
              <a:gd name="connsiteX22" fmla="*/ 992073 w 4959705"/>
              <a:gd name="connsiteY22" fmla="*/ 3876853 h 4022903"/>
              <a:gd name="connsiteX23" fmla="*/ 788873 w 4959705"/>
              <a:gd name="connsiteY23" fmla="*/ 3959403 h 4022903"/>
              <a:gd name="connsiteX24" fmla="*/ 528523 w 4959705"/>
              <a:gd name="connsiteY24" fmla="*/ 3832403 h 4022903"/>
              <a:gd name="connsiteX25" fmla="*/ 268173 w 4959705"/>
              <a:gd name="connsiteY25" fmla="*/ 3959403 h 4022903"/>
              <a:gd name="connsiteX26" fmla="*/ 7315 w 4959705"/>
              <a:gd name="connsiteY26" fmla="*/ 3884371 h 4022903"/>
              <a:gd name="connsiteX27" fmla="*/ 0 w 4959705"/>
              <a:gd name="connsiteY27" fmla="*/ 0 h 4022903"/>
              <a:gd name="connsiteX0" fmla="*/ 0 w 4959705"/>
              <a:gd name="connsiteY0" fmla="*/ 0 h 4022941"/>
              <a:gd name="connsiteX1" fmla="*/ 4959705 w 4959705"/>
              <a:gd name="connsiteY1" fmla="*/ 0 h 4022941"/>
              <a:gd name="connsiteX2" fmla="*/ 4959705 w 4959705"/>
              <a:gd name="connsiteY2" fmla="*/ 3884371 h 4022941"/>
              <a:gd name="connsiteX3" fmla="*/ 4757623 w 4959705"/>
              <a:gd name="connsiteY3" fmla="*/ 4022903 h 4022941"/>
              <a:gd name="connsiteX4" fmla="*/ 4560773 w 4959705"/>
              <a:gd name="connsiteY4" fmla="*/ 3927653 h 4022941"/>
              <a:gd name="connsiteX5" fmla="*/ 4363923 w 4959705"/>
              <a:gd name="connsiteY5" fmla="*/ 3991153 h 4022941"/>
              <a:gd name="connsiteX6" fmla="*/ 4128973 w 4959705"/>
              <a:gd name="connsiteY6" fmla="*/ 3889553 h 4022941"/>
              <a:gd name="connsiteX7" fmla="*/ 3925773 w 4959705"/>
              <a:gd name="connsiteY7" fmla="*/ 3921303 h 4022941"/>
              <a:gd name="connsiteX8" fmla="*/ 3747973 w 4959705"/>
              <a:gd name="connsiteY8" fmla="*/ 3870503 h 4022941"/>
              <a:gd name="connsiteX9" fmla="*/ 3582873 w 4959705"/>
              <a:gd name="connsiteY9" fmla="*/ 3927653 h 4022941"/>
              <a:gd name="connsiteX10" fmla="*/ 3322523 w 4959705"/>
              <a:gd name="connsiteY10" fmla="*/ 3838753 h 4022941"/>
              <a:gd name="connsiteX11" fmla="*/ 3163773 w 4959705"/>
              <a:gd name="connsiteY11" fmla="*/ 3914953 h 4022941"/>
              <a:gd name="connsiteX12" fmla="*/ 2973273 w 4959705"/>
              <a:gd name="connsiteY12" fmla="*/ 3876853 h 4022941"/>
              <a:gd name="connsiteX13" fmla="*/ 2865323 w 4959705"/>
              <a:gd name="connsiteY13" fmla="*/ 3921303 h 4022941"/>
              <a:gd name="connsiteX14" fmla="*/ 2630373 w 4959705"/>
              <a:gd name="connsiteY14" fmla="*/ 3838753 h 4022941"/>
              <a:gd name="connsiteX15" fmla="*/ 2458923 w 4959705"/>
              <a:gd name="connsiteY15" fmla="*/ 3927653 h 4022941"/>
              <a:gd name="connsiteX16" fmla="*/ 2262073 w 4959705"/>
              <a:gd name="connsiteY16" fmla="*/ 3864153 h 4022941"/>
              <a:gd name="connsiteX17" fmla="*/ 2065223 w 4959705"/>
              <a:gd name="connsiteY17" fmla="*/ 3934003 h 4022941"/>
              <a:gd name="connsiteX18" fmla="*/ 1811223 w 4959705"/>
              <a:gd name="connsiteY18" fmla="*/ 3845103 h 4022941"/>
              <a:gd name="connsiteX19" fmla="*/ 1627073 w 4959705"/>
              <a:gd name="connsiteY19" fmla="*/ 3914953 h 4022941"/>
              <a:gd name="connsiteX20" fmla="*/ 1347673 w 4959705"/>
              <a:gd name="connsiteY20" fmla="*/ 3857803 h 4022941"/>
              <a:gd name="connsiteX21" fmla="*/ 1169873 w 4959705"/>
              <a:gd name="connsiteY21" fmla="*/ 3953053 h 4022941"/>
              <a:gd name="connsiteX22" fmla="*/ 992073 w 4959705"/>
              <a:gd name="connsiteY22" fmla="*/ 3876853 h 4022941"/>
              <a:gd name="connsiteX23" fmla="*/ 788873 w 4959705"/>
              <a:gd name="connsiteY23" fmla="*/ 3959403 h 4022941"/>
              <a:gd name="connsiteX24" fmla="*/ 528523 w 4959705"/>
              <a:gd name="connsiteY24" fmla="*/ 3832403 h 4022941"/>
              <a:gd name="connsiteX25" fmla="*/ 268173 w 4959705"/>
              <a:gd name="connsiteY25" fmla="*/ 3959403 h 4022941"/>
              <a:gd name="connsiteX26" fmla="*/ 7315 w 4959705"/>
              <a:gd name="connsiteY26" fmla="*/ 3884371 h 4022941"/>
              <a:gd name="connsiteX27" fmla="*/ 0 w 4959705"/>
              <a:gd name="connsiteY27" fmla="*/ 0 h 4022941"/>
              <a:gd name="connsiteX0" fmla="*/ 0 w 4959705"/>
              <a:gd name="connsiteY0" fmla="*/ 0 h 4022941"/>
              <a:gd name="connsiteX1" fmla="*/ 4959705 w 4959705"/>
              <a:gd name="connsiteY1" fmla="*/ 0 h 4022941"/>
              <a:gd name="connsiteX2" fmla="*/ 4959705 w 4959705"/>
              <a:gd name="connsiteY2" fmla="*/ 3884371 h 4022941"/>
              <a:gd name="connsiteX3" fmla="*/ 4757623 w 4959705"/>
              <a:gd name="connsiteY3" fmla="*/ 4022903 h 4022941"/>
              <a:gd name="connsiteX4" fmla="*/ 4560773 w 4959705"/>
              <a:gd name="connsiteY4" fmla="*/ 3927653 h 4022941"/>
              <a:gd name="connsiteX5" fmla="*/ 4363923 w 4959705"/>
              <a:gd name="connsiteY5" fmla="*/ 3991153 h 4022941"/>
              <a:gd name="connsiteX6" fmla="*/ 4128973 w 4959705"/>
              <a:gd name="connsiteY6" fmla="*/ 3889553 h 4022941"/>
              <a:gd name="connsiteX7" fmla="*/ 3925773 w 4959705"/>
              <a:gd name="connsiteY7" fmla="*/ 3921303 h 4022941"/>
              <a:gd name="connsiteX8" fmla="*/ 3747973 w 4959705"/>
              <a:gd name="connsiteY8" fmla="*/ 3870503 h 4022941"/>
              <a:gd name="connsiteX9" fmla="*/ 3582873 w 4959705"/>
              <a:gd name="connsiteY9" fmla="*/ 3927653 h 4022941"/>
              <a:gd name="connsiteX10" fmla="*/ 3322523 w 4959705"/>
              <a:gd name="connsiteY10" fmla="*/ 3838753 h 4022941"/>
              <a:gd name="connsiteX11" fmla="*/ 3163773 w 4959705"/>
              <a:gd name="connsiteY11" fmla="*/ 3914953 h 4022941"/>
              <a:gd name="connsiteX12" fmla="*/ 2973273 w 4959705"/>
              <a:gd name="connsiteY12" fmla="*/ 3876853 h 4022941"/>
              <a:gd name="connsiteX13" fmla="*/ 2865323 w 4959705"/>
              <a:gd name="connsiteY13" fmla="*/ 3921303 h 4022941"/>
              <a:gd name="connsiteX14" fmla="*/ 2630373 w 4959705"/>
              <a:gd name="connsiteY14" fmla="*/ 3838753 h 4022941"/>
              <a:gd name="connsiteX15" fmla="*/ 2458923 w 4959705"/>
              <a:gd name="connsiteY15" fmla="*/ 3927653 h 4022941"/>
              <a:gd name="connsiteX16" fmla="*/ 2262073 w 4959705"/>
              <a:gd name="connsiteY16" fmla="*/ 3864153 h 4022941"/>
              <a:gd name="connsiteX17" fmla="*/ 2065223 w 4959705"/>
              <a:gd name="connsiteY17" fmla="*/ 3934003 h 4022941"/>
              <a:gd name="connsiteX18" fmla="*/ 1811223 w 4959705"/>
              <a:gd name="connsiteY18" fmla="*/ 3845103 h 4022941"/>
              <a:gd name="connsiteX19" fmla="*/ 1627073 w 4959705"/>
              <a:gd name="connsiteY19" fmla="*/ 3914953 h 4022941"/>
              <a:gd name="connsiteX20" fmla="*/ 1347673 w 4959705"/>
              <a:gd name="connsiteY20" fmla="*/ 3857803 h 4022941"/>
              <a:gd name="connsiteX21" fmla="*/ 1169873 w 4959705"/>
              <a:gd name="connsiteY21" fmla="*/ 3953053 h 4022941"/>
              <a:gd name="connsiteX22" fmla="*/ 992073 w 4959705"/>
              <a:gd name="connsiteY22" fmla="*/ 3876853 h 4022941"/>
              <a:gd name="connsiteX23" fmla="*/ 788873 w 4959705"/>
              <a:gd name="connsiteY23" fmla="*/ 3959403 h 4022941"/>
              <a:gd name="connsiteX24" fmla="*/ 528523 w 4959705"/>
              <a:gd name="connsiteY24" fmla="*/ 3832403 h 4022941"/>
              <a:gd name="connsiteX25" fmla="*/ 268173 w 4959705"/>
              <a:gd name="connsiteY25" fmla="*/ 3959403 h 4022941"/>
              <a:gd name="connsiteX26" fmla="*/ 7315 w 4959705"/>
              <a:gd name="connsiteY26" fmla="*/ 3884371 h 4022941"/>
              <a:gd name="connsiteX27" fmla="*/ 0 w 4959705"/>
              <a:gd name="connsiteY27" fmla="*/ 0 h 4022941"/>
              <a:gd name="connsiteX0" fmla="*/ 0 w 4959933"/>
              <a:gd name="connsiteY0" fmla="*/ 0 h 4022941"/>
              <a:gd name="connsiteX1" fmla="*/ 4959705 w 4959933"/>
              <a:gd name="connsiteY1" fmla="*/ 0 h 4022941"/>
              <a:gd name="connsiteX2" fmla="*/ 4959705 w 4959933"/>
              <a:gd name="connsiteY2" fmla="*/ 3884371 h 4022941"/>
              <a:gd name="connsiteX3" fmla="*/ 4757623 w 4959933"/>
              <a:gd name="connsiteY3" fmla="*/ 4022903 h 4022941"/>
              <a:gd name="connsiteX4" fmla="*/ 4560773 w 4959933"/>
              <a:gd name="connsiteY4" fmla="*/ 3927653 h 4022941"/>
              <a:gd name="connsiteX5" fmla="*/ 4363923 w 4959933"/>
              <a:gd name="connsiteY5" fmla="*/ 3991153 h 4022941"/>
              <a:gd name="connsiteX6" fmla="*/ 4128973 w 4959933"/>
              <a:gd name="connsiteY6" fmla="*/ 3889553 h 4022941"/>
              <a:gd name="connsiteX7" fmla="*/ 3925773 w 4959933"/>
              <a:gd name="connsiteY7" fmla="*/ 3921303 h 4022941"/>
              <a:gd name="connsiteX8" fmla="*/ 3747973 w 4959933"/>
              <a:gd name="connsiteY8" fmla="*/ 3870503 h 4022941"/>
              <a:gd name="connsiteX9" fmla="*/ 3582873 w 4959933"/>
              <a:gd name="connsiteY9" fmla="*/ 3927653 h 4022941"/>
              <a:gd name="connsiteX10" fmla="*/ 3322523 w 4959933"/>
              <a:gd name="connsiteY10" fmla="*/ 3838753 h 4022941"/>
              <a:gd name="connsiteX11" fmla="*/ 3163773 w 4959933"/>
              <a:gd name="connsiteY11" fmla="*/ 3914953 h 4022941"/>
              <a:gd name="connsiteX12" fmla="*/ 2973273 w 4959933"/>
              <a:gd name="connsiteY12" fmla="*/ 3876853 h 4022941"/>
              <a:gd name="connsiteX13" fmla="*/ 2865323 w 4959933"/>
              <a:gd name="connsiteY13" fmla="*/ 3921303 h 4022941"/>
              <a:gd name="connsiteX14" fmla="*/ 2630373 w 4959933"/>
              <a:gd name="connsiteY14" fmla="*/ 3838753 h 4022941"/>
              <a:gd name="connsiteX15" fmla="*/ 2458923 w 4959933"/>
              <a:gd name="connsiteY15" fmla="*/ 3927653 h 4022941"/>
              <a:gd name="connsiteX16" fmla="*/ 2262073 w 4959933"/>
              <a:gd name="connsiteY16" fmla="*/ 3864153 h 4022941"/>
              <a:gd name="connsiteX17" fmla="*/ 2065223 w 4959933"/>
              <a:gd name="connsiteY17" fmla="*/ 3934003 h 4022941"/>
              <a:gd name="connsiteX18" fmla="*/ 1811223 w 4959933"/>
              <a:gd name="connsiteY18" fmla="*/ 3845103 h 4022941"/>
              <a:gd name="connsiteX19" fmla="*/ 1627073 w 4959933"/>
              <a:gd name="connsiteY19" fmla="*/ 3914953 h 4022941"/>
              <a:gd name="connsiteX20" fmla="*/ 1347673 w 4959933"/>
              <a:gd name="connsiteY20" fmla="*/ 3857803 h 4022941"/>
              <a:gd name="connsiteX21" fmla="*/ 1169873 w 4959933"/>
              <a:gd name="connsiteY21" fmla="*/ 3953053 h 4022941"/>
              <a:gd name="connsiteX22" fmla="*/ 992073 w 4959933"/>
              <a:gd name="connsiteY22" fmla="*/ 3876853 h 4022941"/>
              <a:gd name="connsiteX23" fmla="*/ 788873 w 4959933"/>
              <a:gd name="connsiteY23" fmla="*/ 3959403 h 4022941"/>
              <a:gd name="connsiteX24" fmla="*/ 528523 w 4959933"/>
              <a:gd name="connsiteY24" fmla="*/ 3832403 h 4022941"/>
              <a:gd name="connsiteX25" fmla="*/ 268173 w 4959933"/>
              <a:gd name="connsiteY25" fmla="*/ 3959403 h 4022941"/>
              <a:gd name="connsiteX26" fmla="*/ 7315 w 4959933"/>
              <a:gd name="connsiteY26" fmla="*/ 3884371 h 4022941"/>
              <a:gd name="connsiteX27" fmla="*/ 0 w 4959933"/>
              <a:gd name="connsiteY27" fmla="*/ 0 h 4022941"/>
              <a:gd name="connsiteX0" fmla="*/ 0 w 4960450"/>
              <a:gd name="connsiteY0" fmla="*/ 0 h 3991153"/>
              <a:gd name="connsiteX1" fmla="*/ 4959705 w 4960450"/>
              <a:gd name="connsiteY1" fmla="*/ 0 h 3991153"/>
              <a:gd name="connsiteX2" fmla="*/ 4959705 w 4960450"/>
              <a:gd name="connsiteY2" fmla="*/ 3884371 h 3991153"/>
              <a:gd name="connsiteX3" fmla="*/ 4900634 w 4960450"/>
              <a:gd name="connsiteY3" fmla="*/ 3983900 h 3991153"/>
              <a:gd name="connsiteX4" fmla="*/ 4560773 w 4960450"/>
              <a:gd name="connsiteY4" fmla="*/ 3927653 h 3991153"/>
              <a:gd name="connsiteX5" fmla="*/ 4363923 w 4960450"/>
              <a:gd name="connsiteY5" fmla="*/ 3991153 h 3991153"/>
              <a:gd name="connsiteX6" fmla="*/ 4128973 w 4960450"/>
              <a:gd name="connsiteY6" fmla="*/ 3889553 h 3991153"/>
              <a:gd name="connsiteX7" fmla="*/ 3925773 w 4960450"/>
              <a:gd name="connsiteY7" fmla="*/ 3921303 h 3991153"/>
              <a:gd name="connsiteX8" fmla="*/ 3747973 w 4960450"/>
              <a:gd name="connsiteY8" fmla="*/ 3870503 h 3991153"/>
              <a:gd name="connsiteX9" fmla="*/ 3582873 w 4960450"/>
              <a:gd name="connsiteY9" fmla="*/ 3927653 h 3991153"/>
              <a:gd name="connsiteX10" fmla="*/ 3322523 w 4960450"/>
              <a:gd name="connsiteY10" fmla="*/ 3838753 h 3991153"/>
              <a:gd name="connsiteX11" fmla="*/ 3163773 w 4960450"/>
              <a:gd name="connsiteY11" fmla="*/ 3914953 h 3991153"/>
              <a:gd name="connsiteX12" fmla="*/ 2973273 w 4960450"/>
              <a:gd name="connsiteY12" fmla="*/ 3876853 h 3991153"/>
              <a:gd name="connsiteX13" fmla="*/ 2865323 w 4960450"/>
              <a:gd name="connsiteY13" fmla="*/ 3921303 h 3991153"/>
              <a:gd name="connsiteX14" fmla="*/ 2630373 w 4960450"/>
              <a:gd name="connsiteY14" fmla="*/ 3838753 h 3991153"/>
              <a:gd name="connsiteX15" fmla="*/ 2458923 w 4960450"/>
              <a:gd name="connsiteY15" fmla="*/ 3927653 h 3991153"/>
              <a:gd name="connsiteX16" fmla="*/ 2262073 w 4960450"/>
              <a:gd name="connsiteY16" fmla="*/ 3864153 h 3991153"/>
              <a:gd name="connsiteX17" fmla="*/ 2065223 w 4960450"/>
              <a:gd name="connsiteY17" fmla="*/ 3934003 h 3991153"/>
              <a:gd name="connsiteX18" fmla="*/ 1811223 w 4960450"/>
              <a:gd name="connsiteY18" fmla="*/ 3845103 h 3991153"/>
              <a:gd name="connsiteX19" fmla="*/ 1627073 w 4960450"/>
              <a:gd name="connsiteY19" fmla="*/ 3914953 h 3991153"/>
              <a:gd name="connsiteX20" fmla="*/ 1347673 w 4960450"/>
              <a:gd name="connsiteY20" fmla="*/ 3857803 h 3991153"/>
              <a:gd name="connsiteX21" fmla="*/ 1169873 w 4960450"/>
              <a:gd name="connsiteY21" fmla="*/ 3953053 h 3991153"/>
              <a:gd name="connsiteX22" fmla="*/ 992073 w 4960450"/>
              <a:gd name="connsiteY22" fmla="*/ 3876853 h 3991153"/>
              <a:gd name="connsiteX23" fmla="*/ 788873 w 4960450"/>
              <a:gd name="connsiteY23" fmla="*/ 3959403 h 3991153"/>
              <a:gd name="connsiteX24" fmla="*/ 528523 w 4960450"/>
              <a:gd name="connsiteY24" fmla="*/ 3832403 h 3991153"/>
              <a:gd name="connsiteX25" fmla="*/ 268173 w 4960450"/>
              <a:gd name="connsiteY25" fmla="*/ 3959403 h 3991153"/>
              <a:gd name="connsiteX26" fmla="*/ 7315 w 4960450"/>
              <a:gd name="connsiteY26" fmla="*/ 3884371 h 3991153"/>
              <a:gd name="connsiteX27" fmla="*/ 0 w 4960450"/>
              <a:gd name="connsiteY27" fmla="*/ 0 h 3991153"/>
              <a:gd name="connsiteX0" fmla="*/ 0 w 4960450"/>
              <a:gd name="connsiteY0" fmla="*/ 0 h 4014431"/>
              <a:gd name="connsiteX1" fmla="*/ 4959705 w 4960450"/>
              <a:gd name="connsiteY1" fmla="*/ 0 h 4014431"/>
              <a:gd name="connsiteX2" fmla="*/ 4959705 w 4960450"/>
              <a:gd name="connsiteY2" fmla="*/ 3884371 h 4014431"/>
              <a:gd name="connsiteX3" fmla="*/ 4900634 w 4960450"/>
              <a:gd name="connsiteY3" fmla="*/ 3983900 h 4014431"/>
              <a:gd name="connsiteX4" fmla="*/ 4768788 w 4960450"/>
              <a:gd name="connsiteY4" fmla="*/ 4014326 h 4014431"/>
              <a:gd name="connsiteX5" fmla="*/ 4363923 w 4960450"/>
              <a:gd name="connsiteY5" fmla="*/ 3991153 h 4014431"/>
              <a:gd name="connsiteX6" fmla="*/ 4128973 w 4960450"/>
              <a:gd name="connsiteY6" fmla="*/ 3889553 h 4014431"/>
              <a:gd name="connsiteX7" fmla="*/ 3925773 w 4960450"/>
              <a:gd name="connsiteY7" fmla="*/ 3921303 h 4014431"/>
              <a:gd name="connsiteX8" fmla="*/ 3747973 w 4960450"/>
              <a:gd name="connsiteY8" fmla="*/ 3870503 h 4014431"/>
              <a:gd name="connsiteX9" fmla="*/ 3582873 w 4960450"/>
              <a:gd name="connsiteY9" fmla="*/ 3927653 h 4014431"/>
              <a:gd name="connsiteX10" fmla="*/ 3322523 w 4960450"/>
              <a:gd name="connsiteY10" fmla="*/ 3838753 h 4014431"/>
              <a:gd name="connsiteX11" fmla="*/ 3163773 w 4960450"/>
              <a:gd name="connsiteY11" fmla="*/ 3914953 h 4014431"/>
              <a:gd name="connsiteX12" fmla="*/ 2973273 w 4960450"/>
              <a:gd name="connsiteY12" fmla="*/ 3876853 h 4014431"/>
              <a:gd name="connsiteX13" fmla="*/ 2865323 w 4960450"/>
              <a:gd name="connsiteY13" fmla="*/ 3921303 h 4014431"/>
              <a:gd name="connsiteX14" fmla="*/ 2630373 w 4960450"/>
              <a:gd name="connsiteY14" fmla="*/ 3838753 h 4014431"/>
              <a:gd name="connsiteX15" fmla="*/ 2458923 w 4960450"/>
              <a:gd name="connsiteY15" fmla="*/ 3927653 h 4014431"/>
              <a:gd name="connsiteX16" fmla="*/ 2262073 w 4960450"/>
              <a:gd name="connsiteY16" fmla="*/ 3864153 h 4014431"/>
              <a:gd name="connsiteX17" fmla="*/ 2065223 w 4960450"/>
              <a:gd name="connsiteY17" fmla="*/ 3934003 h 4014431"/>
              <a:gd name="connsiteX18" fmla="*/ 1811223 w 4960450"/>
              <a:gd name="connsiteY18" fmla="*/ 3845103 h 4014431"/>
              <a:gd name="connsiteX19" fmla="*/ 1627073 w 4960450"/>
              <a:gd name="connsiteY19" fmla="*/ 3914953 h 4014431"/>
              <a:gd name="connsiteX20" fmla="*/ 1347673 w 4960450"/>
              <a:gd name="connsiteY20" fmla="*/ 3857803 h 4014431"/>
              <a:gd name="connsiteX21" fmla="*/ 1169873 w 4960450"/>
              <a:gd name="connsiteY21" fmla="*/ 3953053 h 4014431"/>
              <a:gd name="connsiteX22" fmla="*/ 992073 w 4960450"/>
              <a:gd name="connsiteY22" fmla="*/ 3876853 h 4014431"/>
              <a:gd name="connsiteX23" fmla="*/ 788873 w 4960450"/>
              <a:gd name="connsiteY23" fmla="*/ 3959403 h 4014431"/>
              <a:gd name="connsiteX24" fmla="*/ 528523 w 4960450"/>
              <a:gd name="connsiteY24" fmla="*/ 3832403 h 4014431"/>
              <a:gd name="connsiteX25" fmla="*/ 268173 w 4960450"/>
              <a:gd name="connsiteY25" fmla="*/ 3959403 h 4014431"/>
              <a:gd name="connsiteX26" fmla="*/ 7315 w 4960450"/>
              <a:gd name="connsiteY26" fmla="*/ 3884371 h 4014431"/>
              <a:gd name="connsiteX27" fmla="*/ 0 w 4960450"/>
              <a:gd name="connsiteY27" fmla="*/ 0 h 4014431"/>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363923 w 4960450"/>
              <a:gd name="connsiteY5" fmla="*/ 3991153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128973 w 4960450"/>
              <a:gd name="connsiteY6" fmla="*/ 3889553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3925773 w 4960450"/>
              <a:gd name="connsiteY7" fmla="*/ 3921303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90422"/>
              <a:gd name="connsiteX1" fmla="*/ 4959705 w 4960450"/>
              <a:gd name="connsiteY1" fmla="*/ 0 h 4090422"/>
              <a:gd name="connsiteX2" fmla="*/ 4959705 w 4960450"/>
              <a:gd name="connsiteY2" fmla="*/ 3884371 h 4090422"/>
              <a:gd name="connsiteX3" fmla="*/ 4900634 w 4960450"/>
              <a:gd name="connsiteY3" fmla="*/ 3983900 h 4090422"/>
              <a:gd name="connsiteX4" fmla="*/ 4768788 w 4960450"/>
              <a:gd name="connsiteY4" fmla="*/ 4014326 h 4090422"/>
              <a:gd name="connsiteX5" fmla="*/ 4576272 w 4960450"/>
              <a:gd name="connsiteY5" fmla="*/ 3926148 h 4090422"/>
              <a:gd name="connsiteX6" fmla="*/ 4406327 w 4960450"/>
              <a:gd name="connsiteY6" fmla="*/ 3976226 h 4090422"/>
              <a:gd name="connsiteX7" fmla="*/ 4081785 w 4960450"/>
              <a:gd name="connsiteY7" fmla="*/ 4090315 h 4090422"/>
              <a:gd name="connsiteX8" fmla="*/ 3747973 w 4960450"/>
              <a:gd name="connsiteY8" fmla="*/ 3870503 h 4090422"/>
              <a:gd name="connsiteX9" fmla="*/ 3582873 w 4960450"/>
              <a:gd name="connsiteY9" fmla="*/ 3927653 h 4090422"/>
              <a:gd name="connsiteX10" fmla="*/ 3322523 w 4960450"/>
              <a:gd name="connsiteY10" fmla="*/ 3838753 h 4090422"/>
              <a:gd name="connsiteX11" fmla="*/ 3163773 w 4960450"/>
              <a:gd name="connsiteY11" fmla="*/ 3914953 h 4090422"/>
              <a:gd name="connsiteX12" fmla="*/ 2973273 w 4960450"/>
              <a:gd name="connsiteY12" fmla="*/ 3876853 h 4090422"/>
              <a:gd name="connsiteX13" fmla="*/ 2865323 w 4960450"/>
              <a:gd name="connsiteY13" fmla="*/ 3921303 h 4090422"/>
              <a:gd name="connsiteX14" fmla="*/ 2630373 w 4960450"/>
              <a:gd name="connsiteY14" fmla="*/ 3838753 h 4090422"/>
              <a:gd name="connsiteX15" fmla="*/ 2458923 w 4960450"/>
              <a:gd name="connsiteY15" fmla="*/ 3927653 h 4090422"/>
              <a:gd name="connsiteX16" fmla="*/ 2262073 w 4960450"/>
              <a:gd name="connsiteY16" fmla="*/ 3864153 h 4090422"/>
              <a:gd name="connsiteX17" fmla="*/ 2065223 w 4960450"/>
              <a:gd name="connsiteY17" fmla="*/ 3934003 h 4090422"/>
              <a:gd name="connsiteX18" fmla="*/ 1811223 w 4960450"/>
              <a:gd name="connsiteY18" fmla="*/ 3845103 h 4090422"/>
              <a:gd name="connsiteX19" fmla="*/ 1627073 w 4960450"/>
              <a:gd name="connsiteY19" fmla="*/ 3914953 h 4090422"/>
              <a:gd name="connsiteX20" fmla="*/ 1347673 w 4960450"/>
              <a:gd name="connsiteY20" fmla="*/ 3857803 h 4090422"/>
              <a:gd name="connsiteX21" fmla="*/ 1169873 w 4960450"/>
              <a:gd name="connsiteY21" fmla="*/ 3953053 h 4090422"/>
              <a:gd name="connsiteX22" fmla="*/ 992073 w 4960450"/>
              <a:gd name="connsiteY22" fmla="*/ 3876853 h 4090422"/>
              <a:gd name="connsiteX23" fmla="*/ 788873 w 4960450"/>
              <a:gd name="connsiteY23" fmla="*/ 3959403 h 4090422"/>
              <a:gd name="connsiteX24" fmla="*/ 528523 w 4960450"/>
              <a:gd name="connsiteY24" fmla="*/ 3832403 h 4090422"/>
              <a:gd name="connsiteX25" fmla="*/ 268173 w 4960450"/>
              <a:gd name="connsiteY25" fmla="*/ 3959403 h 4090422"/>
              <a:gd name="connsiteX26" fmla="*/ 7315 w 4960450"/>
              <a:gd name="connsiteY26" fmla="*/ 3884371 h 4090422"/>
              <a:gd name="connsiteX27" fmla="*/ 0 w 4960450"/>
              <a:gd name="connsiteY27" fmla="*/ 0 h 4090422"/>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3747973 w 4960450"/>
              <a:gd name="connsiteY8" fmla="*/ 3870503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582873 w 4960450"/>
              <a:gd name="connsiteY9" fmla="*/ 3927653 h 4014326"/>
              <a:gd name="connsiteX10" fmla="*/ 3322523 w 4960450"/>
              <a:gd name="connsiteY10" fmla="*/ 3838753 h 4014326"/>
              <a:gd name="connsiteX11" fmla="*/ 3163773 w 4960450"/>
              <a:gd name="connsiteY11" fmla="*/ 3914953 h 4014326"/>
              <a:gd name="connsiteX12" fmla="*/ 2973273 w 4960450"/>
              <a:gd name="connsiteY12" fmla="*/ 3876853 h 4014326"/>
              <a:gd name="connsiteX13" fmla="*/ 2865323 w 4960450"/>
              <a:gd name="connsiteY13" fmla="*/ 3921303 h 4014326"/>
              <a:gd name="connsiteX14" fmla="*/ 2630373 w 4960450"/>
              <a:gd name="connsiteY14" fmla="*/ 3838753 h 4014326"/>
              <a:gd name="connsiteX15" fmla="*/ 2458923 w 4960450"/>
              <a:gd name="connsiteY15" fmla="*/ 3927653 h 4014326"/>
              <a:gd name="connsiteX16" fmla="*/ 2262073 w 4960450"/>
              <a:gd name="connsiteY16" fmla="*/ 3864153 h 4014326"/>
              <a:gd name="connsiteX17" fmla="*/ 2065223 w 4960450"/>
              <a:gd name="connsiteY17" fmla="*/ 3934003 h 4014326"/>
              <a:gd name="connsiteX18" fmla="*/ 1811223 w 4960450"/>
              <a:gd name="connsiteY18" fmla="*/ 3845103 h 4014326"/>
              <a:gd name="connsiteX19" fmla="*/ 1627073 w 4960450"/>
              <a:gd name="connsiteY19" fmla="*/ 3914953 h 4014326"/>
              <a:gd name="connsiteX20" fmla="*/ 1347673 w 4960450"/>
              <a:gd name="connsiteY20" fmla="*/ 3857803 h 4014326"/>
              <a:gd name="connsiteX21" fmla="*/ 1169873 w 4960450"/>
              <a:gd name="connsiteY21" fmla="*/ 3953053 h 4014326"/>
              <a:gd name="connsiteX22" fmla="*/ 992073 w 4960450"/>
              <a:gd name="connsiteY22" fmla="*/ 3876853 h 4014326"/>
              <a:gd name="connsiteX23" fmla="*/ 788873 w 4960450"/>
              <a:gd name="connsiteY23" fmla="*/ 3959403 h 4014326"/>
              <a:gd name="connsiteX24" fmla="*/ 528523 w 4960450"/>
              <a:gd name="connsiteY24" fmla="*/ 3832403 h 4014326"/>
              <a:gd name="connsiteX25" fmla="*/ 268173 w 4960450"/>
              <a:gd name="connsiteY25" fmla="*/ 3959403 h 4014326"/>
              <a:gd name="connsiteX26" fmla="*/ 7315 w 4960450"/>
              <a:gd name="connsiteY26" fmla="*/ 3884371 h 4014326"/>
              <a:gd name="connsiteX27" fmla="*/ 0 w 4960450"/>
              <a:gd name="connsiteY27"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739812 w 4960450"/>
              <a:gd name="connsiteY9" fmla="*/ 3922397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582873 w 4960450"/>
              <a:gd name="connsiteY10" fmla="*/ 3927653 h 4014326"/>
              <a:gd name="connsiteX11" fmla="*/ 3322523 w 4960450"/>
              <a:gd name="connsiteY11" fmla="*/ 3838753 h 4014326"/>
              <a:gd name="connsiteX12" fmla="*/ 3163773 w 4960450"/>
              <a:gd name="connsiteY12" fmla="*/ 3914953 h 4014326"/>
              <a:gd name="connsiteX13" fmla="*/ 2973273 w 4960450"/>
              <a:gd name="connsiteY13" fmla="*/ 3876853 h 4014326"/>
              <a:gd name="connsiteX14" fmla="*/ 2865323 w 4960450"/>
              <a:gd name="connsiteY14" fmla="*/ 3921303 h 4014326"/>
              <a:gd name="connsiteX15" fmla="*/ 2630373 w 4960450"/>
              <a:gd name="connsiteY15" fmla="*/ 3838753 h 4014326"/>
              <a:gd name="connsiteX16" fmla="*/ 2458923 w 4960450"/>
              <a:gd name="connsiteY16" fmla="*/ 3927653 h 4014326"/>
              <a:gd name="connsiteX17" fmla="*/ 2262073 w 4960450"/>
              <a:gd name="connsiteY17" fmla="*/ 3864153 h 4014326"/>
              <a:gd name="connsiteX18" fmla="*/ 2065223 w 4960450"/>
              <a:gd name="connsiteY18" fmla="*/ 3934003 h 4014326"/>
              <a:gd name="connsiteX19" fmla="*/ 1811223 w 4960450"/>
              <a:gd name="connsiteY19" fmla="*/ 3845103 h 4014326"/>
              <a:gd name="connsiteX20" fmla="*/ 1627073 w 4960450"/>
              <a:gd name="connsiteY20" fmla="*/ 3914953 h 4014326"/>
              <a:gd name="connsiteX21" fmla="*/ 1347673 w 4960450"/>
              <a:gd name="connsiteY21" fmla="*/ 3857803 h 4014326"/>
              <a:gd name="connsiteX22" fmla="*/ 1169873 w 4960450"/>
              <a:gd name="connsiteY22" fmla="*/ 3953053 h 4014326"/>
              <a:gd name="connsiteX23" fmla="*/ 992073 w 4960450"/>
              <a:gd name="connsiteY23" fmla="*/ 3876853 h 4014326"/>
              <a:gd name="connsiteX24" fmla="*/ 788873 w 4960450"/>
              <a:gd name="connsiteY24" fmla="*/ 3959403 h 4014326"/>
              <a:gd name="connsiteX25" fmla="*/ 528523 w 4960450"/>
              <a:gd name="connsiteY25" fmla="*/ 3832403 h 4014326"/>
              <a:gd name="connsiteX26" fmla="*/ 268173 w 4960450"/>
              <a:gd name="connsiteY26" fmla="*/ 3959403 h 4014326"/>
              <a:gd name="connsiteX27" fmla="*/ 7315 w 4960450"/>
              <a:gd name="connsiteY27" fmla="*/ 3884371 h 4014326"/>
              <a:gd name="connsiteX28" fmla="*/ 0 w 4960450"/>
              <a:gd name="connsiteY28"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74807 w 4960450"/>
              <a:gd name="connsiteY10" fmla="*/ 3887728 h 4014326"/>
              <a:gd name="connsiteX11" fmla="*/ 3582873 w 4960450"/>
              <a:gd name="connsiteY11" fmla="*/ 3927653 h 4014326"/>
              <a:gd name="connsiteX12" fmla="*/ 3322523 w 4960450"/>
              <a:gd name="connsiteY12" fmla="*/ 383875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322523 w 4960450"/>
              <a:gd name="connsiteY12" fmla="*/ 383875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163773 w 4960450"/>
              <a:gd name="connsiteY13" fmla="*/ 3914953 h 4014326"/>
              <a:gd name="connsiteX14" fmla="*/ 2973273 w 4960450"/>
              <a:gd name="connsiteY14" fmla="*/ 3876853 h 4014326"/>
              <a:gd name="connsiteX15" fmla="*/ 2865323 w 4960450"/>
              <a:gd name="connsiteY15" fmla="*/ 3921303 h 4014326"/>
              <a:gd name="connsiteX16" fmla="*/ 2630373 w 4960450"/>
              <a:gd name="connsiteY16" fmla="*/ 3838753 h 4014326"/>
              <a:gd name="connsiteX17" fmla="*/ 2458923 w 4960450"/>
              <a:gd name="connsiteY17" fmla="*/ 3927653 h 4014326"/>
              <a:gd name="connsiteX18" fmla="*/ 2262073 w 4960450"/>
              <a:gd name="connsiteY18" fmla="*/ 3864153 h 4014326"/>
              <a:gd name="connsiteX19" fmla="*/ 2065223 w 4960450"/>
              <a:gd name="connsiteY19" fmla="*/ 3934003 h 4014326"/>
              <a:gd name="connsiteX20" fmla="*/ 1811223 w 4960450"/>
              <a:gd name="connsiteY20" fmla="*/ 3845103 h 4014326"/>
              <a:gd name="connsiteX21" fmla="*/ 1627073 w 4960450"/>
              <a:gd name="connsiteY21" fmla="*/ 3914953 h 4014326"/>
              <a:gd name="connsiteX22" fmla="*/ 1347673 w 4960450"/>
              <a:gd name="connsiteY22" fmla="*/ 3857803 h 4014326"/>
              <a:gd name="connsiteX23" fmla="*/ 1169873 w 4960450"/>
              <a:gd name="connsiteY23" fmla="*/ 3953053 h 4014326"/>
              <a:gd name="connsiteX24" fmla="*/ 992073 w 4960450"/>
              <a:gd name="connsiteY24" fmla="*/ 3876853 h 4014326"/>
              <a:gd name="connsiteX25" fmla="*/ 788873 w 4960450"/>
              <a:gd name="connsiteY25" fmla="*/ 3959403 h 4014326"/>
              <a:gd name="connsiteX26" fmla="*/ 528523 w 4960450"/>
              <a:gd name="connsiteY26" fmla="*/ 3832403 h 4014326"/>
              <a:gd name="connsiteX27" fmla="*/ 268173 w 4960450"/>
              <a:gd name="connsiteY27" fmla="*/ 3959403 h 4014326"/>
              <a:gd name="connsiteX28" fmla="*/ 7315 w 4960450"/>
              <a:gd name="connsiteY28" fmla="*/ 3884371 h 4014326"/>
              <a:gd name="connsiteX29" fmla="*/ 0 w 4960450"/>
              <a:gd name="connsiteY29"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36783 w 4960450"/>
              <a:gd name="connsiteY13" fmla="*/ 3900729 h 4014326"/>
              <a:gd name="connsiteX14" fmla="*/ 3163773 w 4960450"/>
              <a:gd name="connsiteY14" fmla="*/ 3914953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3773 w 4960450"/>
              <a:gd name="connsiteY14" fmla="*/ 3914953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98443 w 4960450"/>
              <a:gd name="connsiteY14" fmla="*/ 4005960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2973273 w 4960450"/>
              <a:gd name="connsiteY15" fmla="*/ 3876853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865323 w 4960450"/>
              <a:gd name="connsiteY16" fmla="*/ 3921303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630373 w 4960450"/>
              <a:gd name="connsiteY17" fmla="*/ 3838753 h 4014326"/>
              <a:gd name="connsiteX18" fmla="*/ 2458923 w 4960450"/>
              <a:gd name="connsiteY18" fmla="*/ 3927653 h 4014326"/>
              <a:gd name="connsiteX19" fmla="*/ 2262073 w 4960450"/>
              <a:gd name="connsiteY19" fmla="*/ 3864153 h 4014326"/>
              <a:gd name="connsiteX20" fmla="*/ 2065223 w 4960450"/>
              <a:gd name="connsiteY20" fmla="*/ 3934003 h 4014326"/>
              <a:gd name="connsiteX21" fmla="*/ 1811223 w 4960450"/>
              <a:gd name="connsiteY21" fmla="*/ 3845103 h 4014326"/>
              <a:gd name="connsiteX22" fmla="*/ 1627073 w 4960450"/>
              <a:gd name="connsiteY22" fmla="*/ 3914953 h 4014326"/>
              <a:gd name="connsiteX23" fmla="*/ 1347673 w 4960450"/>
              <a:gd name="connsiteY23" fmla="*/ 3857803 h 4014326"/>
              <a:gd name="connsiteX24" fmla="*/ 1169873 w 4960450"/>
              <a:gd name="connsiteY24" fmla="*/ 3953053 h 4014326"/>
              <a:gd name="connsiteX25" fmla="*/ 992073 w 4960450"/>
              <a:gd name="connsiteY25" fmla="*/ 3876853 h 4014326"/>
              <a:gd name="connsiteX26" fmla="*/ 788873 w 4960450"/>
              <a:gd name="connsiteY26" fmla="*/ 3959403 h 4014326"/>
              <a:gd name="connsiteX27" fmla="*/ 528523 w 4960450"/>
              <a:gd name="connsiteY27" fmla="*/ 3832403 h 4014326"/>
              <a:gd name="connsiteX28" fmla="*/ 268173 w 4960450"/>
              <a:gd name="connsiteY28" fmla="*/ 3959403 h 4014326"/>
              <a:gd name="connsiteX29" fmla="*/ 7315 w 4960450"/>
              <a:gd name="connsiteY29" fmla="*/ 3884371 h 4014326"/>
              <a:gd name="connsiteX30" fmla="*/ 0 w 4960450"/>
              <a:gd name="connsiteY30"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782075 w 4960450"/>
              <a:gd name="connsiteY17" fmla="*/ 3848725 h 4014326"/>
              <a:gd name="connsiteX18" fmla="*/ 2630373 w 4960450"/>
              <a:gd name="connsiteY18" fmla="*/ 3838753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630373 w 4960450"/>
              <a:gd name="connsiteY18" fmla="*/ 3838753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458923 w 4960450"/>
              <a:gd name="connsiteY19" fmla="*/ 3927653 h 4014326"/>
              <a:gd name="connsiteX20" fmla="*/ 2262073 w 4960450"/>
              <a:gd name="connsiteY20" fmla="*/ 3864153 h 4014326"/>
              <a:gd name="connsiteX21" fmla="*/ 2065223 w 4960450"/>
              <a:gd name="connsiteY21" fmla="*/ 3934003 h 4014326"/>
              <a:gd name="connsiteX22" fmla="*/ 1811223 w 4960450"/>
              <a:gd name="connsiteY22" fmla="*/ 3845103 h 4014326"/>
              <a:gd name="connsiteX23" fmla="*/ 1627073 w 4960450"/>
              <a:gd name="connsiteY23" fmla="*/ 3914953 h 4014326"/>
              <a:gd name="connsiteX24" fmla="*/ 1347673 w 4960450"/>
              <a:gd name="connsiteY24" fmla="*/ 3857803 h 4014326"/>
              <a:gd name="connsiteX25" fmla="*/ 1169873 w 4960450"/>
              <a:gd name="connsiteY25" fmla="*/ 3953053 h 4014326"/>
              <a:gd name="connsiteX26" fmla="*/ 992073 w 4960450"/>
              <a:gd name="connsiteY26" fmla="*/ 3876853 h 4014326"/>
              <a:gd name="connsiteX27" fmla="*/ 788873 w 4960450"/>
              <a:gd name="connsiteY27" fmla="*/ 3959403 h 4014326"/>
              <a:gd name="connsiteX28" fmla="*/ 528523 w 4960450"/>
              <a:gd name="connsiteY28" fmla="*/ 3832403 h 4014326"/>
              <a:gd name="connsiteX29" fmla="*/ 268173 w 4960450"/>
              <a:gd name="connsiteY29" fmla="*/ 3959403 h 4014326"/>
              <a:gd name="connsiteX30" fmla="*/ 7315 w 4960450"/>
              <a:gd name="connsiteY30" fmla="*/ 3884371 h 4014326"/>
              <a:gd name="connsiteX31" fmla="*/ 0 w 4960450"/>
              <a:gd name="connsiteY31"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582728 w 4960450"/>
              <a:gd name="connsiteY19" fmla="*/ 3883394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65067 w 4960450"/>
              <a:gd name="connsiteY19" fmla="*/ 3974400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458923 w 4960450"/>
              <a:gd name="connsiteY20" fmla="*/ 3927653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262073 w 4960450"/>
              <a:gd name="connsiteY21" fmla="*/ 3864153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87748 w 4960450"/>
              <a:gd name="connsiteY21" fmla="*/ 3998496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065223 w 4960450"/>
              <a:gd name="connsiteY22" fmla="*/ 393400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251570 w 4960450"/>
              <a:gd name="connsiteY22" fmla="*/ 3981673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1811223 w 4960450"/>
              <a:gd name="connsiteY23" fmla="*/ 3845103 h 4014326"/>
              <a:gd name="connsiteX24" fmla="*/ 1627073 w 4960450"/>
              <a:gd name="connsiteY24" fmla="*/ 3914953 h 4014326"/>
              <a:gd name="connsiteX25" fmla="*/ 1347673 w 4960450"/>
              <a:gd name="connsiteY25" fmla="*/ 3857803 h 4014326"/>
              <a:gd name="connsiteX26" fmla="*/ 1169873 w 4960450"/>
              <a:gd name="connsiteY26" fmla="*/ 3953053 h 4014326"/>
              <a:gd name="connsiteX27" fmla="*/ 992073 w 4960450"/>
              <a:gd name="connsiteY27" fmla="*/ 3876853 h 4014326"/>
              <a:gd name="connsiteX28" fmla="*/ 788873 w 4960450"/>
              <a:gd name="connsiteY28" fmla="*/ 3959403 h 4014326"/>
              <a:gd name="connsiteX29" fmla="*/ 528523 w 4960450"/>
              <a:gd name="connsiteY29" fmla="*/ 3832403 h 4014326"/>
              <a:gd name="connsiteX30" fmla="*/ 268173 w 4960450"/>
              <a:gd name="connsiteY30" fmla="*/ 3959403 h 4014326"/>
              <a:gd name="connsiteX31" fmla="*/ 7315 w 4960450"/>
              <a:gd name="connsiteY31" fmla="*/ 3884371 h 4014326"/>
              <a:gd name="connsiteX32" fmla="*/ 0 w 4960450"/>
              <a:gd name="connsiteY32"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049689 w 4960450"/>
              <a:gd name="connsiteY23" fmla="*/ 3874727 h 4014326"/>
              <a:gd name="connsiteX24" fmla="*/ 1811223 w 4960450"/>
              <a:gd name="connsiteY24" fmla="*/ 3845103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811223 w 4960450"/>
              <a:gd name="connsiteY24" fmla="*/ 3845103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627073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347673 w 4960450"/>
              <a:gd name="connsiteY26" fmla="*/ 3857803 h 4014326"/>
              <a:gd name="connsiteX27" fmla="*/ 1169873 w 4960450"/>
              <a:gd name="connsiteY27" fmla="*/ 3953053 h 4014326"/>
              <a:gd name="connsiteX28" fmla="*/ 992073 w 4960450"/>
              <a:gd name="connsiteY28" fmla="*/ 3876853 h 4014326"/>
              <a:gd name="connsiteX29" fmla="*/ 788873 w 4960450"/>
              <a:gd name="connsiteY29" fmla="*/ 3959403 h 4014326"/>
              <a:gd name="connsiteX30" fmla="*/ 528523 w 4960450"/>
              <a:gd name="connsiteY30" fmla="*/ 3832403 h 4014326"/>
              <a:gd name="connsiteX31" fmla="*/ 268173 w 4960450"/>
              <a:gd name="connsiteY31" fmla="*/ 3959403 h 4014326"/>
              <a:gd name="connsiteX32" fmla="*/ 7315 w 4960450"/>
              <a:gd name="connsiteY32" fmla="*/ 3884371 h 4014326"/>
              <a:gd name="connsiteX33" fmla="*/ 0 w 4960450"/>
              <a:gd name="connsiteY33"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89996 w 4960450"/>
              <a:gd name="connsiteY26" fmla="*/ 3900729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737666 w 4960450"/>
              <a:gd name="connsiteY26" fmla="*/ 3987402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347673 w 4960450"/>
              <a:gd name="connsiteY27" fmla="*/ 3857803 h 4014326"/>
              <a:gd name="connsiteX28" fmla="*/ 1169873 w 4960450"/>
              <a:gd name="connsiteY28" fmla="*/ 3953053 h 4014326"/>
              <a:gd name="connsiteX29" fmla="*/ 992073 w 4960450"/>
              <a:gd name="connsiteY29" fmla="*/ 3876853 h 4014326"/>
              <a:gd name="connsiteX30" fmla="*/ 788873 w 4960450"/>
              <a:gd name="connsiteY30" fmla="*/ 3959403 h 4014326"/>
              <a:gd name="connsiteX31" fmla="*/ 528523 w 4960450"/>
              <a:gd name="connsiteY31" fmla="*/ 3832403 h 4014326"/>
              <a:gd name="connsiteX32" fmla="*/ 268173 w 4960450"/>
              <a:gd name="connsiteY32" fmla="*/ 3959403 h 4014326"/>
              <a:gd name="connsiteX33" fmla="*/ 7315 w 4960450"/>
              <a:gd name="connsiteY33" fmla="*/ 3884371 h 4014326"/>
              <a:gd name="connsiteX34" fmla="*/ 0 w 4960450"/>
              <a:gd name="connsiteY34"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64320 w 4960450"/>
              <a:gd name="connsiteY27" fmla="*/ 3892062 h 4014326"/>
              <a:gd name="connsiteX28" fmla="*/ 1347673 w 4960450"/>
              <a:gd name="connsiteY28" fmla="*/ 3857803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347673 w 4960450"/>
              <a:gd name="connsiteY28" fmla="*/ 3857803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469015 w 4960450"/>
              <a:gd name="connsiteY28" fmla="*/ 3927141 h 4014326"/>
              <a:gd name="connsiteX29" fmla="*/ 1169873 w 4960450"/>
              <a:gd name="connsiteY29" fmla="*/ 3953053 h 4014326"/>
              <a:gd name="connsiteX30" fmla="*/ 992073 w 4960450"/>
              <a:gd name="connsiteY30" fmla="*/ 3876853 h 4014326"/>
              <a:gd name="connsiteX31" fmla="*/ 788873 w 4960450"/>
              <a:gd name="connsiteY31" fmla="*/ 3959403 h 4014326"/>
              <a:gd name="connsiteX32" fmla="*/ 528523 w 4960450"/>
              <a:gd name="connsiteY32" fmla="*/ 3832403 h 4014326"/>
              <a:gd name="connsiteX33" fmla="*/ 268173 w 4960450"/>
              <a:gd name="connsiteY33" fmla="*/ 3959403 h 4014326"/>
              <a:gd name="connsiteX34" fmla="*/ 7315 w 4960450"/>
              <a:gd name="connsiteY34" fmla="*/ 3884371 h 4014326"/>
              <a:gd name="connsiteX35" fmla="*/ 0 w 4960450"/>
              <a:gd name="connsiteY35" fmla="*/ 0 h 4014326"/>
              <a:gd name="connsiteX0" fmla="*/ 0 w 4960450"/>
              <a:gd name="connsiteY0" fmla="*/ 0 h 4014326"/>
              <a:gd name="connsiteX1" fmla="*/ 4959705 w 4960450"/>
              <a:gd name="connsiteY1" fmla="*/ 0 h 4014326"/>
              <a:gd name="connsiteX2" fmla="*/ 4959705 w 4960450"/>
              <a:gd name="connsiteY2" fmla="*/ 3884371 h 4014326"/>
              <a:gd name="connsiteX3" fmla="*/ 4900634 w 4960450"/>
              <a:gd name="connsiteY3" fmla="*/ 3983900 h 4014326"/>
              <a:gd name="connsiteX4" fmla="*/ 4768788 w 4960450"/>
              <a:gd name="connsiteY4" fmla="*/ 4014326 h 4014326"/>
              <a:gd name="connsiteX5" fmla="*/ 4576272 w 4960450"/>
              <a:gd name="connsiteY5" fmla="*/ 3926148 h 4014326"/>
              <a:gd name="connsiteX6" fmla="*/ 4406327 w 4960450"/>
              <a:gd name="connsiteY6" fmla="*/ 3976226 h 4014326"/>
              <a:gd name="connsiteX7" fmla="*/ 4216128 w 4960450"/>
              <a:gd name="connsiteY7" fmla="*/ 3947304 h 4014326"/>
              <a:gd name="connsiteX8" fmla="*/ 4003658 w 4960450"/>
              <a:gd name="connsiteY8" fmla="*/ 3931174 h 4014326"/>
              <a:gd name="connsiteX9" fmla="*/ 3843820 w 4960450"/>
              <a:gd name="connsiteY9" fmla="*/ 3814056 h 4014326"/>
              <a:gd name="connsiteX10" fmla="*/ 3696475 w 4960450"/>
              <a:gd name="connsiteY10" fmla="*/ 3848725 h 4014326"/>
              <a:gd name="connsiteX11" fmla="*/ 3582873 w 4960450"/>
              <a:gd name="connsiteY11" fmla="*/ 3927653 h 4014326"/>
              <a:gd name="connsiteX12" fmla="*/ 3504537 w 4960450"/>
              <a:gd name="connsiteY12" fmla="*/ 3886423 h 4014326"/>
              <a:gd name="connsiteX13" fmla="*/ 3371452 w 4960450"/>
              <a:gd name="connsiteY13" fmla="*/ 3926731 h 4014326"/>
              <a:gd name="connsiteX14" fmla="*/ 3168108 w 4960450"/>
              <a:gd name="connsiteY14" fmla="*/ 3923620 h 4014326"/>
              <a:gd name="connsiteX15" fmla="*/ 3077280 w 4960450"/>
              <a:gd name="connsiteY15" fmla="*/ 3842184 h 4014326"/>
              <a:gd name="connsiteX16" fmla="*/ 2977998 w 4960450"/>
              <a:gd name="connsiteY16" fmla="*/ 3860632 h 4014326"/>
              <a:gd name="connsiteX17" fmla="*/ 2842746 w 4960450"/>
              <a:gd name="connsiteY17" fmla="*/ 3736050 h 4014326"/>
              <a:gd name="connsiteX18" fmla="*/ 2717046 w 4960450"/>
              <a:gd name="connsiteY18" fmla="*/ 3825752 h 4014326"/>
              <a:gd name="connsiteX19" fmla="*/ 2647733 w 4960450"/>
              <a:gd name="connsiteY19" fmla="*/ 3874726 h 4014326"/>
              <a:gd name="connsiteX20" fmla="*/ 2536929 w 4960450"/>
              <a:gd name="connsiteY20" fmla="*/ 3923320 h 4014326"/>
              <a:gd name="connsiteX21" fmla="*/ 2392082 w 4960450"/>
              <a:gd name="connsiteY21" fmla="*/ 3890155 h 4014326"/>
              <a:gd name="connsiteX22" fmla="*/ 2307907 w 4960450"/>
              <a:gd name="connsiteY22" fmla="*/ 3921002 h 4014326"/>
              <a:gd name="connsiteX23" fmla="*/ 2106026 w 4960450"/>
              <a:gd name="connsiteY23" fmla="*/ 3853059 h 4014326"/>
              <a:gd name="connsiteX24" fmla="*/ 1949900 w 4960450"/>
              <a:gd name="connsiteY24" fmla="*/ 3871105 h 4014326"/>
              <a:gd name="connsiteX25" fmla="*/ 1882759 w 4960450"/>
              <a:gd name="connsiteY25" fmla="*/ 3914953 h 4014326"/>
              <a:gd name="connsiteX26" fmla="*/ 1698663 w 4960450"/>
              <a:gd name="connsiteY26" fmla="*/ 3913730 h 4014326"/>
              <a:gd name="connsiteX27" fmla="*/ 1594656 w 4960450"/>
              <a:gd name="connsiteY27" fmla="*/ 3835725 h 4014326"/>
              <a:gd name="connsiteX28" fmla="*/ 1469015 w 4960450"/>
              <a:gd name="connsiteY28" fmla="*/ 3927141 h 4014326"/>
              <a:gd name="connsiteX29" fmla="*/ 1299967 w 4960450"/>
              <a:gd name="connsiteY29" fmla="*/ 3944066 h 4014326"/>
              <a:gd name="connsiteX30" fmla="*/ 1169873 w 4960450"/>
              <a:gd name="connsiteY30" fmla="*/ 3953053 h 4014326"/>
              <a:gd name="connsiteX31" fmla="*/ 992073 w 4960450"/>
              <a:gd name="connsiteY31" fmla="*/ 3876853 h 4014326"/>
              <a:gd name="connsiteX32" fmla="*/ 788873 w 4960450"/>
              <a:gd name="connsiteY32" fmla="*/ 3959403 h 4014326"/>
              <a:gd name="connsiteX33" fmla="*/ 528523 w 4960450"/>
              <a:gd name="connsiteY33" fmla="*/ 3832403 h 4014326"/>
              <a:gd name="connsiteX34" fmla="*/ 268173 w 4960450"/>
              <a:gd name="connsiteY34" fmla="*/ 3959403 h 4014326"/>
              <a:gd name="connsiteX35" fmla="*/ 7315 w 4960450"/>
              <a:gd name="connsiteY35" fmla="*/ 3884371 h 4014326"/>
              <a:gd name="connsiteX36" fmla="*/ 0 w 4960450"/>
              <a:gd name="connsiteY36" fmla="*/ 0 h 4014326"/>
              <a:gd name="connsiteX0" fmla="*/ 0 w 4960450"/>
              <a:gd name="connsiteY0" fmla="*/ 0 h 4030928"/>
              <a:gd name="connsiteX1" fmla="*/ 4959705 w 4960450"/>
              <a:gd name="connsiteY1" fmla="*/ 0 h 4030928"/>
              <a:gd name="connsiteX2" fmla="*/ 4959705 w 4960450"/>
              <a:gd name="connsiteY2" fmla="*/ 3884371 h 4030928"/>
              <a:gd name="connsiteX3" fmla="*/ 4900634 w 4960450"/>
              <a:gd name="connsiteY3" fmla="*/ 3983900 h 4030928"/>
              <a:gd name="connsiteX4" fmla="*/ 4768788 w 4960450"/>
              <a:gd name="connsiteY4" fmla="*/ 4014326 h 4030928"/>
              <a:gd name="connsiteX5" fmla="*/ 4576272 w 4960450"/>
              <a:gd name="connsiteY5" fmla="*/ 3926148 h 4030928"/>
              <a:gd name="connsiteX6" fmla="*/ 4406327 w 4960450"/>
              <a:gd name="connsiteY6" fmla="*/ 3976226 h 4030928"/>
              <a:gd name="connsiteX7" fmla="*/ 4216128 w 4960450"/>
              <a:gd name="connsiteY7" fmla="*/ 3947304 h 4030928"/>
              <a:gd name="connsiteX8" fmla="*/ 4003658 w 4960450"/>
              <a:gd name="connsiteY8" fmla="*/ 3931174 h 4030928"/>
              <a:gd name="connsiteX9" fmla="*/ 3843820 w 4960450"/>
              <a:gd name="connsiteY9" fmla="*/ 3814056 h 4030928"/>
              <a:gd name="connsiteX10" fmla="*/ 3696475 w 4960450"/>
              <a:gd name="connsiteY10" fmla="*/ 3848725 h 4030928"/>
              <a:gd name="connsiteX11" fmla="*/ 3582873 w 4960450"/>
              <a:gd name="connsiteY11" fmla="*/ 3927653 h 4030928"/>
              <a:gd name="connsiteX12" fmla="*/ 3504537 w 4960450"/>
              <a:gd name="connsiteY12" fmla="*/ 3886423 h 4030928"/>
              <a:gd name="connsiteX13" fmla="*/ 3371452 w 4960450"/>
              <a:gd name="connsiteY13" fmla="*/ 3926731 h 4030928"/>
              <a:gd name="connsiteX14" fmla="*/ 3168108 w 4960450"/>
              <a:gd name="connsiteY14" fmla="*/ 3923620 h 4030928"/>
              <a:gd name="connsiteX15" fmla="*/ 3077280 w 4960450"/>
              <a:gd name="connsiteY15" fmla="*/ 3842184 h 4030928"/>
              <a:gd name="connsiteX16" fmla="*/ 2977998 w 4960450"/>
              <a:gd name="connsiteY16" fmla="*/ 3860632 h 4030928"/>
              <a:gd name="connsiteX17" fmla="*/ 2842746 w 4960450"/>
              <a:gd name="connsiteY17" fmla="*/ 3736050 h 4030928"/>
              <a:gd name="connsiteX18" fmla="*/ 2717046 w 4960450"/>
              <a:gd name="connsiteY18" fmla="*/ 3825752 h 4030928"/>
              <a:gd name="connsiteX19" fmla="*/ 2647733 w 4960450"/>
              <a:gd name="connsiteY19" fmla="*/ 3874726 h 4030928"/>
              <a:gd name="connsiteX20" fmla="*/ 2536929 w 4960450"/>
              <a:gd name="connsiteY20" fmla="*/ 3923320 h 4030928"/>
              <a:gd name="connsiteX21" fmla="*/ 2392082 w 4960450"/>
              <a:gd name="connsiteY21" fmla="*/ 3890155 h 4030928"/>
              <a:gd name="connsiteX22" fmla="*/ 2307907 w 4960450"/>
              <a:gd name="connsiteY22" fmla="*/ 3921002 h 4030928"/>
              <a:gd name="connsiteX23" fmla="*/ 2106026 w 4960450"/>
              <a:gd name="connsiteY23" fmla="*/ 3853059 h 4030928"/>
              <a:gd name="connsiteX24" fmla="*/ 1949900 w 4960450"/>
              <a:gd name="connsiteY24" fmla="*/ 3871105 h 4030928"/>
              <a:gd name="connsiteX25" fmla="*/ 1882759 w 4960450"/>
              <a:gd name="connsiteY25" fmla="*/ 3914953 h 4030928"/>
              <a:gd name="connsiteX26" fmla="*/ 1698663 w 4960450"/>
              <a:gd name="connsiteY26" fmla="*/ 3913730 h 4030928"/>
              <a:gd name="connsiteX27" fmla="*/ 1594656 w 4960450"/>
              <a:gd name="connsiteY27" fmla="*/ 3835725 h 4030928"/>
              <a:gd name="connsiteX28" fmla="*/ 1469015 w 4960450"/>
              <a:gd name="connsiteY28" fmla="*/ 3927141 h 4030928"/>
              <a:gd name="connsiteX29" fmla="*/ 1351971 w 4960450"/>
              <a:gd name="connsiteY29" fmla="*/ 4030739 h 4030928"/>
              <a:gd name="connsiteX30" fmla="*/ 1169873 w 4960450"/>
              <a:gd name="connsiteY30" fmla="*/ 3953053 h 4030928"/>
              <a:gd name="connsiteX31" fmla="*/ 992073 w 4960450"/>
              <a:gd name="connsiteY31" fmla="*/ 3876853 h 4030928"/>
              <a:gd name="connsiteX32" fmla="*/ 788873 w 4960450"/>
              <a:gd name="connsiteY32" fmla="*/ 3959403 h 4030928"/>
              <a:gd name="connsiteX33" fmla="*/ 528523 w 4960450"/>
              <a:gd name="connsiteY33" fmla="*/ 3832403 h 4030928"/>
              <a:gd name="connsiteX34" fmla="*/ 268173 w 4960450"/>
              <a:gd name="connsiteY34" fmla="*/ 3959403 h 4030928"/>
              <a:gd name="connsiteX35" fmla="*/ 7315 w 4960450"/>
              <a:gd name="connsiteY35" fmla="*/ 3884371 h 4030928"/>
              <a:gd name="connsiteX36" fmla="*/ 0 w 4960450"/>
              <a:gd name="connsiteY36" fmla="*/ 0 h 4030928"/>
              <a:gd name="connsiteX0" fmla="*/ 0 w 4960450"/>
              <a:gd name="connsiteY0" fmla="*/ 0 h 4037030"/>
              <a:gd name="connsiteX1" fmla="*/ 4959705 w 4960450"/>
              <a:gd name="connsiteY1" fmla="*/ 0 h 4037030"/>
              <a:gd name="connsiteX2" fmla="*/ 4959705 w 4960450"/>
              <a:gd name="connsiteY2" fmla="*/ 3884371 h 4037030"/>
              <a:gd name="connsiteX3" fmla="*/ 4900634 w 4960450"/>
              <a:gd name="connsiteY3" fmla="*/ 3983900 h 4037030"/>
              <a:gd name="connsiteX4" fmla="*/ 4768788 w 4960450"/>
              <a:gd name="connsiteY4" fmla="*/ 4014326 h 4037030"/>
              <a:gd name="connsiteX5" fmla="*/ 4576272 w 4960450"/>
              <a:gd name="connsiteY5" fmla="*/ 3926148 h 4037030"/>
              <a:gd name="connsiteX6" fmla="*/ 4406327 w 4960450"/>
              <a:gd name="connsiteY6" fmla="*/ 3976226 h 4037030"/>
              <a:gd name="connsiteX7" fmla="*/ 4216128 w 4960450"/>
              <a:gd name="connsiteY7" fmla="*/ 3947304 h 4037030"/>
              <a:gd name="connsiteX8" fmla="*/ 4003658 w 4960450"/>
              <a:gd name="connsiteY8" fmla="*/ 3931174 h 4037030"/>
              <a:gd name="connsiteX9" fmla="*/ 3843820 w 4960450"/>
              <a:gd name="connsiteY9" fmla="*/ 3814056 h 4037030"/>
              <a:gd name="connsiteX10" fmla="*/ 3696475 w 4960450"/>
              <a:gd name="connsiteY10" fmla="*/ 3848725 h 4037030"/>
              <a:gd name="connsiteX11" fmla="*/ 3582873 w 4960450"/>
              <a:gd name="connsiteY11" fmla="*/ 3927653 h 4037030"/>
              <a:gd name="connsiteX12" fmla="*/ 3504537 w 4960450"/>
              <a:gd name="connsiteY12" fmla="*/ 3886423 h 4037030"/>
              <a:gd name="connsiteX13" fmla="*/ 3371452 w 4960450"/>
              <a:gd name="connsiteY13" fmla="*/ 3926731 h 4037030"/>
              <a:gd name="connsiteX14" fmla="*/ 3168108 w 4960450"/>
              <a:gd name="connsiteY14" fmla="*/ 3923620 h 4037030"/>
              <a:gd name="connsiteX15" fmla="*/ 3077280 w 4960450"/>
              <a:gd name="connsiteY15" fmla="*/ 3842184 h 4037030"/>
              <a:gd name="connsiteX16" fmla="*/ 2977998 w 4960450"/>
              <a:gd name="connsiteY16" fmla="*/ 3860632 h 4037030"/>
              <a:gd name="connsiteX17" fmla="*/ 2842746 w 4960450"/>
              <a:gd name="connsiteY17" fmla="*/ 3736050 h 4037030"/>
              <a:gd name="connsiteX18" fmla="*/ 2717046 w 4960450"/>
              <a:gd name="connsiteY18" fmla="*/ 3825752 h 4037030"/>
              <a:gd name="connsiteX19" fmla="*/ 2647733 w 4960450"/>
              <a:gd name="connsiteY19" fmla="*/ 3874726 h 4037030"/>
              <a:gd name="connsiteX20" fmla="*/ 2536929 w 4960450"/>
              <a:gd name="connsiteY20" fmla="*/ 3923320 h 4037030"/>
              <a:gd name="connsiteX21" fmla="*/ 2392082 w 4960450"/>
              <a:gd name="connsiteY21" fmla="*/ 3890155 h 4037030"/>
              <a:gd name="connsiteX22" fmla="*/ 2307907 w 4960450"/>
              <a:gd name="connsiteY22" fmla="*/ 3921002 h 4037030"/>
              <a:gd name="connsiteX23" fmla="*/ 2106026 w 4960450"/>
              <a:gd name="connsiteY23" fmla="*/ 3853059 h 4037030"/>
              <a:gd name="connsiteX24" fmla="*/ 1949900 w 4960450"/>
              <a:gd name="connsiteY24" fmla="*/ 3871105 h 4037030"/>
              <a:gd name="connsiteX25" fmla="*/ 1882759 w 4960450"/>
              <a:gd name="connsiteY25" fmla="*/ 3914953 h 4037030"/>
              <a:gd name="connsiteX26" fmla="*/ 1698663 w 4960450"/>
              <a:gd name="connsiteY26" fmla="*/ 3913730 h 4037030"/>
              <a:gd name="connsiteX27" fmla="*/ 1594656 w 4960450"/>
              <a:gd name="connsiteY27" fmla="*/ 3835725 h 4037030"/>
              <a:gd name="connsiteX28" fmla="*/ 1469015 w 4960450"/>
              <a:gd name="connsiteY28" fmla="*/ 3927141 h 4037030"/>
              <a:gd name="connsiteX29" fmla="*/ 1351971 w 4960450"/>
              <a:gd name="connsiteY29" fmla="*/ 4030739 h 4037030"/>
              <a:gd name="connsiteX30" fmla="*/ 1256546 w 4960450"/>
              <a:gd name="connsiteY30" fmla="*/ 4031059 h 4037030"/>
              <a:gd name="connsiteX31" fmla="*/ 992073 w 4960450"/>
              <a:gd name="connsiteY31" fmla="*/ 3876853 h 4037030"/>
              <a:gd name="connsiteX32" fmla="*/ 788873 w 4960450"/>
              <a:gd name="connsiteY32" fmla="*/ 3959403 h 4037030"/>
              <a:gd name="connsiteX33" fmla="*/ 528523 w 4960450"/>
              <a:gd name="connsiteY33" fmla="*/ 3832403 h 4037030"/>
              <a:gd name="connsiteX34" fmla="*/ 268173 w 4960450"/>
              <a:gd name="connsiteY34" fmla="*/ 3959403 h 4037030"/>
              <a:gd name="connsiteX35" fmla="*/ 7315 w 4960450"/>
              <a:gd name="connsiteY35" fmla="*/ 3884371 h 4037030"/>
              <a:gd name="connsiteX36" fmla="*/ 0 w 4960450"/>
              <a:gd name="connsiteY36" fmla="*/ 0 h 40370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152623 w 4960450"/>
              <a:gd name="connsiteY31" fmla="*/ 3983068 h 4035630"/>
              <a:gd name="connsiteX32" fmla="*/ 992073 w 4960450"/>
              <a:gd name="connsiteY32" fmla="*/ 3876853 h 4035630"/>
              <a:gd name="connsiteX33" fmla="*/ 788873 w 4960450"/>
              <a:gd name="connsiteY33" fmla="*/ 3959403 h 4035630"/>
              <a:gd name="connsiteX34" fmla="*/ 528523 w 4960450"/>
              <a:gd name="connsiteY34" fmla="*/ 3832403 h 4035630"/>
              <a:gd name="connsiteX35" fmla="*/ 268173 w 4960450"/>
              <a:gd name="connsiteY35" fmla="*/ 3959403 h 4035630"/>
              <a:gd name="connsiteX36" fmla="*/ 7315 w 4960450"/>
              <a:gd name="connsiteY36" fmla="*/ 3884371 h 4035630"/>
              <a:gd name="connsiteX37" fmla="*/ 0 w 4960450"/>
              <a:gd name="connsiteY3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992073 w 4960450"/>
              <a:gd name="connsiteY32" fmla="*/ 3876853 h 4035630"/>
              <a:gd name="connsiteX33" fmla="*/ 788873 w 4960450"/>
              <a:gd name="connsiteY33" fmla="*/ 3959403 h 4035630"/>
              <a:gd name="connsiteX34" fmla="*/ 528523 w 4960450"/>
              <a:gd name="connsiteY34" fmla="*/ 3832403 h 4035630"/>
              <a:gd name="connsiteX35" fmla="*/ 268173 w 4960450"/>
              <a:gd name="connsiteY35" fmla="*/ 3959403 h 4035630"/>
              <a:gd name="connsiteX36" fmla="*/ 7315 w 4960450"/>
              <a:gd name="connsiteY36" fmla="*/ 3884371 h 4035630"/>
              <a:gd name="connsiteX37" fmla="*/ 0 w 4960450"/>
              <a:gd name="connsiteY3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13620 w 4960450"/>
              <a:gd name="connsiteY32" fmla="*/ 3909396 h 4035630"/>
              <a:gd name="connsiteX33" fmla="*/ 992073 w 4960450"/>
              <a:gd name="connsiteY33" fmla="*/ 3876853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992073 w 4960450"/>
              <a:gd name="connsiteY33" fmla="*/ 3876853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788873 w 4960450"/>
              <a:gd name="connsiteY34" fmla="*/ 3959403 h 4035630"/>
              <a:gd name="connsiteX35" fmla="*/ 528523 w 4960450"/>
              <a:gd name="connsiteY35" fmla="*/ 3832403 h 4035630"/>
              <a:gd name="connsiteX36" fmla="*/ 268173 w 4960450"/>
              <a:gd name="connsiteY36" fmla="*/ 3959403 h 4035630"/>
              <a:gd name="connsiteX37" fmla="*/ 7315 w 4960450"/>
              <a:gd name="connsiteY37" fmla="*/ 3884371 h 4035630"/>
              <a:gd name="connsiteX38" fmla="*/ 0 w 4960450"/>
              <a:gd name="connsiteY3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892604 w 4960450"/>
              <a:gd name="connsiteY34" fmla="*/ 3939732 h 4035630"/>
              <a:gd name="connsiteX35" fmla="*/ 788873 w 4960450"/>
              <a:gd name="connsiteY35" fmla="*/ 3959403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3959403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528523 w 4960450"/>
              <a:gd name="connsiteY36" fmla="*/ 3832403 h 4035630"/>
              <a:gd name="connsiteX37" fmla="*/ 268173 w 4960450"/>
              <a:gd name="connsiteY37" fmla="*/ 3959403 h 4035630"/>
              <a:gd name="connsiteX38" fmla="*/ 7315 w 4960450"/>
              <a:gd name="connsiteY38" fmla="*/ 3884371 h 4035630"/>
              <a:gd name="connsiteX39" fmla="*/ 0 w 4960450"/>
              <a:gd name="connsiteY39"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49920 w 4960450"/>
              <a:gd name="connsiteY36" fmla="*/ 3905063 h 4035630"/>
              <a:gd name="connsiteX37" fmla="*/ 528523 w 4960450"/>
              <a:gd name="connsiteY37" fmla="*/ 3832403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28523 w 4960450"/>
              <a:gd name="connsiteY37" fmla="*/ 3832403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7315 w 4960450"/>
              <a:gd name="connsiteY39" fmla="*/ 3884371 h 4035630"/>
              <a:gd name="connsiteX40" fmla="*/ 0 w 4960450"/>
              <a:gd name="connsiteY40" fmla="*/ 0 h 4035630"/>
              <a:gd name="connsiteX0" fmla="*/ 0 w 4960450"/>
              <a:gd name="connsiteY0" fmla="*/ 0 h 4171887"/>
              <a:gd name="connsiteX1" fmla="*/ 4959705 w 4960450"/>
              <a:gd name="connsiteY1" fmla="*/ 0 h 4171887"/>
              <a:gd name="connsiteX2" fmla="*/ 4959705 w 4960450"/>
              <a:gd name="connsiteY2" fmla="*/ 3884371 h 4171887"/>
              <a:gd name="connsiteX3" fmla="*/ 4900634 w 4960450"/>
              <a:gd name="connsiteY3" fmla="*/ 3983900 h 4171887"/>
              <a:gd name="connsiteX4" fmla="*/ 4768788 w 4960450"/>
              <a:gd name="connsiteY4" fmla="*/ 4014326 h 4171887"/>
              <a:gd name="connsiteX5" fmla="*/ 4576272 w 4960450"/>
              <a:gd name="connsiteY5" fmla="*/ 3926148 h 4171887"/>
              <a:gd name="connsiteX6" fmla="*/ 4406327 w 4960450"/>
              <a:gd name="connsiteY6" fmla="*/ 3976226 h 4171887"/>
              <a:gd name="connsiteX7" fmla="*/ 4216128 w 4960450"/>
              <a:gd name="connsiteY7" fmla="*/ 3947304 h 4171887"/>
              <a:gd name="connsiteX8" fmla="*/ 4003658 w 4960450"/>
              <a:gd name="connsiteY8" fmla="*/ 3931174 h 4171887"/>
              <a:gd name="connsiteX9" fmla="*/ 3843820 w 4960450"/>
              <a:gd name="connsiteY9" fmla="*/ 3814056 h 4171887"/>
              <a:gd name="connsiteX10" fmla="*/ 3696475 w 4960450"/>
              <a:gd name="connsiteY10" fmla="*/ 3848725 h 4171887"/>
              <a:gd name="connsiteX11" fmla="*/ 3582873 w 4960450"/>
              <a:gd name="connsiteY11" fmla="*/ 3927653 h 4171887"/>
              <a:gd name="connsiteX12" fmla="*/ 3504537 w 4960450"/>
              <a:gd name="connsiteY12" fmla="*/ 3886423 h 4171887"/>
              <a:gd name="connsiteX13" fmla="*/ 3371452 w 4960450"/>
              <a:gd name="connsiteY13" fmla="*/ 3926731 h 4171887"/>
              <a:gd name="connsiteX14" fmla="*/ 3168108 w 4960450"/>
              <a:gd name="connsiteY14" fmla="*/ 3923620 h 4171887"/>
              <a:gd name="connsiteX15" fmla="*/ 3077280 w 4960450"/>
              <a:gd name="connsiteY15" fmla="*/ 3842184 h 4171887"/>
              <a:gd name="connsiteX16" fmla="*/ 2977998 w 4960450"/>
              <a:gd name="connsiteY16" fmla="*/ 3860632 h 4171887"/>
              <a:gd name="connsiteX17" fmla="*/ 2842746 w 4960450"/>
              <a:gd name="connsiteY17" fmla="*/ 3736050 h 4171887"/>
              <a:gd name="connsiteX18" fmla="*/ 2717046 w 4960450"/>
              <a:gd name="connsiteY18" fmla="*/ 3825752 h 4171887"/>
              <a:gd name="connsiteX19" fmla="*/ 2647733 w 4960450"/>
              <a:gd name="connsiteY19" fmla="*/ 3874726 h 4171887"/>
              <a:gd name="connsiteX20" fmla="*/ 2536929 w 4960450"/>
              <a:gd name="connsiteY20" fmla="*/ 3923320 h 4171887"/>
              <a:gd name="connsiteX21" fmla="*/ 2392082 w 4960450"/>
              <a:gd name="connsiteY21" fmla="*/ 3890155 h 4171887"/>
              <a:gd name="connsiteX22" fmla="*/ 2307907 w 4960450"/>
              <a:gd name="connsiteY22" fmla="*/ 3921002 h 4171887"/>
              <a:gd name="connsiteX23" fmla="*/ 2106026 w 4960450"/>
              <a:gd name="connsiteY23" fmla="*/ 3853059 h 4171887"/>
              <a:gd name="connsiteX24" fmla="*/ 1949900 w 4960450"/>
              <a:gd name="connsiteY24" fmla="*/ 3871105 h 4171887"/>
              <a:gd name="connsiteX25" fmla="*/ 1882759 w 4960450"/>
              <a:gd name="connsiteY25" fmla="*/ 3914953 h 4171887"/>
              <a:gd name="connsiteX26" fmla="*/ 1698663 w 4960450"/>
              <a:gd name="connsiteY26" fmla="*/ 3913730 h 4171887"/>
              <a:gd name="connsiteX27" fmla="*/ 1594656 w 4960450"/>
              <a:gd name="connsiteY27" fmla="*/ 3835725 h 4171887"/>
              <a:gd name="connsiteX28" fmla="*/ 1469015 w 4960450"/>
              <a:gd name="connsiteY28" fmla="*/ 3927141 h 4171887"/>
              <a:gd name="connsiteX29" fmla="*/ 1351971 w 4960450"/>
              <a:gd name="connsiteY29" fmla="*/ 4030739 h 4171887"/>
              <a:gd name="connsiteX30" fmla="*/ 1256546 w 4960450"/>
              <a:gd name="connsiteY30" fmla="*/ 4031059 h 4171887"/>
              <a:gd name="connsiteX31" fmla="*/ 1247963 w 4960450"/>
              <a:gd name="connsiteY31" fmla="*/ 3965734 h 4171887"/>
              <a:gd name="connsiteX32" fmla="*/ 1139622 w 4960450"/>
              <a:gd name="connsiteY32" fmla="*/ 3965733 h 4171887"/>
              <a:gd name="connsiteX33" fmla="*/ 1061411 w 4960450"/>
              <a:gd name="connsiteY33" fmla="*/ 3928857 h 4171887"/>
              <a:gd name="connsiteX34" fmla="*/ 966276 w 4960450"/>
              <a:gd name="connsiteY34" fmla="*/ 3970068 h 4171887"/>
              <a:gd name="connsiteX35" fmla="*/ 788873 w 4960450"/>
              <a:gd name="connsiteY35" fmla="*/ 4015741 h 4171887"/>
              <a:gd name="connsiteX36" fmla="*/ 636919 w 4960450"/>
              <a:gd name="connsiteY36" fmla="*/ 3978735 h 4171887"/>
              <a:gd name="connsiteX37" fmla="*/ 493854 w 4960450"/>
              <a:gd name="connsiteY37" fmla="*/ 3888741 h 4171887"/>
              <a:gd name="connsiteX38" fmla="*/ 268173 w 4960450"/>
              <a:gd name="connsiteY38" fmla="*/ 3959403 h 4171887"/>
              <a:gd name="connsiteX39" fmla="*/ 134216 w 4960450"/>
              <a:gd name="connsiteY39" fmla="*/ 3892062 h 4171887"/>
              <a:gd name="connsiteX40" fmla="*/ 7315 w 4960450"/>
              <a:gd name="connsiteY40" fmla="*/ 3884371 h 4171887"/>
              <a:gd name="connsiteX41" fmla="*/ 0 w 4960450"/>
              <a:gd name="connsiteY41" fmla="*/ 0 h 4171887"/>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134216 w 4960450"/>
              <a:gd name="connsiteY39" fmla="*/ 3892062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68173 w 4960450"/>
              <a:gd name="connsiteY38" fmla="*/ 3959403 h 4035630"/>
              <a:gd name="connsiteX39" fmla="*/ 47543 w 4960450"/>
              <a:gd name="connsiteY39" fmla="*/ 4000404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276840 w 4960450"/>
              <a:gd name="connsiteY38" fmla="*/ 4015740 h 4035630"/>
              <a:gd name="connsiteX39" fmla="*/ 47543 w 4960450"/>
              <a:gd name="connsiteY39" fmla="*/ 4000404 h 4035630"/>
              <a:gd name="connsiteX40" fmla="*/ 7315 w 4960450"/>
              <a:gd name="connsiteY40" fmla="*/ 3884371 h 4035630"/>
              <a:gd name="connsiteX41" fmla="*/ 0 w 4960450"/>
              <a:gd name="connsiteY41"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372566 w 4960450"/>
              <a:gd name="connsiteY38" fmla="*/ 3965734 h 4035630"/>
              <a:gd name="connsiteX39" fmla="*/ 276840 w 4960450"/>
              <a:gd name="connsiteY39" fmla="*/ 4015740 h 4035630"/>
              <a:gd name="connsiteX40" fmla="*/ 47543 w 4960450"/>
              <a:gd name="connsiteY40" fmla="*/ 4000404 h 4035630"/>
              <a:gd name="connsiteX41" fmla="*/ 7315 w 4960450"/>
              <a:gd name="connsiteY41" fmla="*/ 3884371 h 4035630"/>
              <a:gd name="connsiteX42" fmla="*/ 0 w 4960450"/>
              <a:gd name="connsiteY42"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47543 w 4960450"/>
              <a:gd name="connsiteY40" fmla="*/ 4000404 h 4035630"/>
              <a:gd name="connsiteX41" fmla="*/ 7315 w 4960450"/>
              <a:gd name="connsiteY41" fmla="*/ 3884371 h 4035630"/>
              <a:gd name="connsiteX42" fmla="*/ 0 w 4960450"/>
              <a:gd name="connsiteY42"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47217 w 4960450"/>
              <a:gd name="connsiteY40" fmla="*/ 4004737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493854 w 4960450"/>
              <a:gd name="connsiteY37" fmla="*/ 3888741 h 4035630"/>
              <a:gd name="connsiteX38" fmla="*/ 411569 w 4960450"/>
              <a:gd name="connsiteY38" fmla="*/ 3978735 h 4035630"/>
              <a:gd name="connsiteX39" fmla="*/ 276840 w 4960450"/>
              <a:gd name="connsiteY39" fmla="*/ 4015740 h 4035630"/>
              <a:gd name="connsiteX40" fmla="*/ 164552 w 4960450"/>
              <a:gd name="connsiteY40" fmla="*/ 3991736 h 4035630"/>
              <a:gd name="connsiteX41" fmla="*/ 47543 w 4960450"/>
              <a:gd name="connsiteY41" fmla="*/ 4000404 h 4035630"/>
              <a:gd name="connsiteX42" fmla="*/ 7315 w 4960450"/>
              <a:gd name="connsiteY42" fmla="*/ 3884371 h 4035630"/>
              <a:gd name="connsiteX43" fmla="*/ 0 w 4960450"/>
              <a:gd name="connsiteY43"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61645 w 4960450"/>
              <a:gd name="connsiteY37" fmla="*/ 3924602 h 4035630"/>
              <a:gd name="connsiteX38" fmla="*/ 493854 w 4960450"/>
              <a:gd name="connsiteY38" fmla="*/ 3888741 h 4035630"/>
              <a:gd name="connsiteX39" fmla="*/ 411569 w 4960450"/>
              <a:gd name="connsiteY39" fmla="*/ 3978735 h 4035630"/>
              <a:gd name="connsiteX40" fmla="*/ 276840 w 4960450"/>
              <a:gd name="connsiteY40" fmla="*/ 4015740 h 4035630"/>
              <a:gd name="connsiteX41" fmla="*/ 164552 w 4960450"/>
              <a:gd name="connsiteY41" fmla="*/ 3991736 h 4035630"/>
              <a:gd name="connsiteX42" fmla="*/ 47543 w 4960450"/>
              <a:gd name="connsiteY42" fmla="*/ 4000404 h 4035630"/>
              <a:gd name="connsiteX43" fmla="*/ 7315 w 4960450"/>
              <a:gd name="connsiteY43" fmla="*/ 3884371 h 4035630"/>
              <a:gd name="connsiteX44" fmla="*/ 0 w 4960450"/>
              <a:gd name="connsiteY44"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636919 w 4960450"/>
              <a:gd name="connsiteY36" fmla="*/ 3978735 h 4035630"/>
              <a:gd name="connsiteX37" fmla="*/ 561645 w 4960450"/>
              <a:gd name="connsiteY37" fmla="*/ 3948456 h 4035630"/>
              <a:gd name="connsiteX38" fmla="*/ 493854 w 4960450"/>
              <a:gd name="connsiteY38" fmla="*/ 3888741 h 4035630"/>
              <a:gd name="connsiteX39" fmla="*/ 411569 w 4960450"/>
              <a:gd name="connsiteY39" fmla="*/ 3978735 h 4035630"/>
              <a:gd name="connsiteX40" fmla="*/ 276840 w 4960450"/>
              <a:gd name="connsiteY40" fmla="*/ 4015740 h 4035630"/>
              <a:gd name="connsiteX41" fmla="*/ 164552 w 4960450"/>
              <a:gd name="connsiteY41" fmla="*/ 3991736 h 4035630"/>
              <a:gd name="connsiteX42" fmla="*/ 47543 w 4960450"/>
              <a:gd name="connsiteY42" fmla="*/ 4000404 h 4035630"/>
              <a:gd name="connsiteX43" fmla="*/ 7315 w 4960450"/>
              <a:gd name="connsiteY43" fmla="*/ 3884371 h 4035630"/>
              <a:gd name="connsiteX44" fmla="*/ 0 w 4960450"/>
              <a:gd name="connsiteY44"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12720 w 4960450"/>
              <a:gd name="connsiteY36" fmla="*/ 4000139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20671 w 4960450"/>
              <a:gd name="connsiteY36" fmla="*/ 3972310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788873 w 4960450"/>
              <a:gd name="connsiteY35" fmla="*/ 4015741 h 4035630"/>
              <a:gd name="connsiteX36" fmla="*/ 720671 w 4960450"/>
              <a:gd name="connsiteY36" fmla="*/ 3972310 h 4035630"/>
              <a:gd name="connsiteX37" fmla="*/ 636919 w 4960450"/>
              <a:gd name="connsiteY37" fmla="*/ 3978735 h 4035630"/>
              <a:gd name="connsiteX38" fmla="*/ 561645 w 4960450"/>
              <a:gd name="connsiteY38" fmla="*/ 3948456 h 4035630"/>
              <a:gd name="connsiteX39" fmla="*/ 493854 w 4960450"/>
              <a:gd name="connsiteY39" fmla="*/ 3888741 h 4035630"/>
              <a:gd name="connsiteX40" fmla="*/ 411569 w 4960450"/>
              <a:gd name="connsiteY40" fmla="*/ 3978735 h 4035630"/>
              <a:gd name="connsiteX41" fmla="*/ 276840 w 4960450"/>
              <a:gd name="connsiteY41" fmla="*/ 4015740 h 4035630"/>
              <a:gd name="connsiteX42" fmla="*/ 164552 w 4960450"/>
              <a:gd name="connsiteY42" fmla="*/ 3991736 h 4035630"/>
              <a:gd name="connsiteX43" fmla="*/ 47543 w 4960450"/>
              <a:gd name="connsiteY43" fmla="*/ 4000404 h 4035630"/>
              <a:gd name="connsiteX44" fmla="*/ 7315 w 4960450"/>
              <a:gd name="connsiteY44" fmla="*/ 3884371 h 4035630"/>
              <a:gd name="connsiteX45" fmla="*/ 0 w 4960450"/>
              <a:gd name="connsiteY45"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67771 w 4960450"/>
              <a:gd name="connsiteY35" fmla="*/ 3988212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47892 w 4960450"/>
              <a:gd name="connsiteY35" fmla="*/ 3972309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17046 w 4960450"/>
              <a:gd name="connsiteY18" fmla="*/ 3825752 h 4035630"/>
              <a:gd name="connsiteX19" fmla="*/ 2647733 w 4960450"/>
              <a:gd name="connsiteY19" fmla="*/ 3874726 h 4035630"/>
              <a:gd name="connsiteX20" fmla="*/ 2536929 w 4960450"/>
              <a:gd name="connsiteY20" fmla="*/ 3923320 h 4035630"/>
              <a:gd name="connsiteX21" fmla="*/ 2392082 w 4960450"/>
              <a:gd name="connsiteY21" fmla="*/ 3890155 h 4035630"/>
              <a:gd name="connsiteX22" fmla="*/ 2307907 w 4960450"/>
              <a:gd name="connsiteY22" fmla="*/ 3921002 h 4035630"/>
              <a:gd name="connsiteX23" fmla="*/ 2106026 w 4960450"/>
              <a:gd name="connsiteY23" fmla="*/ 3853059 h 4035630"/>
              <a:gd name="connsiteX24" fmla="*/ 1949900 w 4960450"/>
              <a:gd name="connsiteY24" fmla="*/ 3871105 h 4035630"/>
              <a:gd name="connsiteX25" fmla="*/ 1882759 w 4960450"/>
              <a:gd name="connsiteY25" fmla="*/ 3914953 h 4035630"/>
              <a:gd name="connsiteX26" fmla="*/ 1698663 w 4960450"/>
              <a:gd name="connsiteY26" fmla="*/ 3913730 h 4035630"/>
              <a:gd name="connsiteX27" fmla="*/ 1594656 w 4960450"/>
              <a:gd name="connsiteY27" fmla="*/ 3835725 h 4035630"/>
              <a:gd name="connsiteX28" fmla="*/ 1469015 w 4960450"/>
              <a:gd name="connsiteY28" fmla="*/ 3927141 h 4035630"/>
              <a:gd name="connsiteX29" fmla="*/ 1351971 w 4960450"/>
              <a:gd name="connsiteY29" fmla="*/ 4030739 h 4035630"/>
              <a:gd name="connsiteX30" fmla="*/ 1256546 w 4960450"/>
              <a:gd name="connsiteY30" fmla="*/ 4031059 h 4035630"/>
              <a:gd name="connsiteX31" fmla="*/ 1247963 w 4960450"/>
              <a:gd name="connsiteY31" fmla="*/ 3965734 h 4035630"/>
              <a:gd name="connsiteX32" fmla="*/ 1139622 w 4960450"/>
              <a:gd name="connsiteY32" fmla="*/ 3965733 h 4035630"/>
              <a:gd name="connsiteX33" fmla="*/ 1061411 w 4960450"/>
              <a:gd name="connsiteY33" fmla="*/ 3928857 h 4035630"/>
              <a:gd name="connsiteX34" fmla="*/ 966276 w 4960450"/>
              <a:gd name="connsiteY34" fmla="*/ 3970068 h 4035630"/>
              <a:gd name="connsiteX35" fmla="*/ 847892 w 4960450"/>
              <a:gd name="connsiteY35" fmla="*/ 3972309 h 4035630"/>
              <a:gd name="connsiteX36" fmla="*/ 788873 w 4960450"/>
              <a:gd name="connsiteY36" fmla="*/ 4015741 h 4035630"/>
              <a:gd name="connsiteX37" fmla="*/ 720671 w 4960450"/>
              <a:gd name="connsiteY37" fmla="*/ 3972310 h 4035630"/>
              <a:gd name="connsiteX38" fmla="*/ 636919 w 4960450"/>
              <a:gd name="connsiteY38" fmla="*/ 3978735 h 4035630"/>
              <a:gd name="connsiteX39" fmla="*/ 561645 w 4960450"/>
              <a:gd name="connsiteY39" fmla="*/ 3948456 h 4035630"/>
              <a:gd name="connsiteX40" fmla="*/ 493854 w 4960450"/>
              <a:gd name="connsiteY40" fmla="*/ 3888741 h 4035630"/>
              <a:gd name="connsiteX41" fmla="*/ 411569 w 4960450"/>
              <a:gd name="connsiteY41" fmla="*/ 3978735 h 4035630"/>
              <a:gd name="connsiteX42" fmla="*/ 276840 w 4960450"/>
              <a:gd name="connsiteY42" fmla="*/ 4015740 h 4035630"/>
              <a:gd name="connsiteX43" fmla="*/ 164552 w 4960450"/>
              <a:gd name="connsiteY43" fmla="*/ 3991736 h 4035630"/>
              <a:gd name="connsiteX44" fmla="*/ 47543 w 4960450"/>
              <a:gd name="connsiteY44" fmla="*/ 4000404 h 4035630"/>
              <a:gd name="connsiteX45" fmla="*/ 7315 w 4960450"/>
              <a:gd name="connsiteY45" fmla="*/ 3884371 h 4035630"/>
              <a:gd name="connsiteX46" fmla="*/ 0 w 4960450"/>
              <a:gd name="connsiteY46"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75766 w 4960450"/>
              <a:gd name="connsiteY18" fmla="*/ 3789112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168108 w 4960450"/>
              <a:gd name="connsiteY14" fmla="*/ 3923620 h 4035630"/>
              <a:gd name="connsiteX15" fmla="*/ 3077280 w 4960450"/>
              <a:gd name="connsiteY15" fmla="*/ 3842184 h 4035630"/>
              <a:gd name="connsiteX16" fmla="*/ 2977998 w 4960450"/>
              <a:gd name="connsiteY16" fmla="*/ 3860632 h 4035630"/>
              <a:gd name="connsiteX17" fmla="*/ 2842746 w 4960450"/>
              <a:gd name="connsiteY17" fmla="*/ 3736050 h 4035630"/>
              <a:gd name="connsiteX18" fmla="*/ 2753820 w 4960450"/>
              <a:gd name="connsiteY18" fmla="*/ 3770824 h 4035630"/>
              <a:gd name="connsiteX19" fmla="*/ 2717046 w 4960450"/>
              <a:gd name="connsiteY19" fmla="*/ 3825752 h 4035630"/>
              <a:gd name="connsiteX20" fmla="*/ 2647733 w 4960450"/>
              <a:gd name="connsiteY20" fmla="*/ 3874726 h 4035630"/>
              <a:gd name="connsiteX21" fmla="*/ 2536929 w 4960450"/>
              <a:gd name="connsiteY21" fmla="*/ 3923320 h 4035630"/>
              <a:gd name="connsiteX22" fmla="*/ 2392082 w 4960450"/>
              <a:gd name="connsiteY22" fmla="*/ 3890155 h 4035630"/>
              <a:gd name="connsiteX23" fmla="*/ 2307907 w 4960450"/>
              <a:gd name="connsiteY23" fmla="*/ 3921002 h 4035630"/>
              <a:gd name="connsiteX24" fmla="*/ 2106026 w 4960450"/>
              <a:gd name="connsiteY24" fmla="*/ 3853059 h 4035630"/>
              <a:gd name="connsiteX25" fmla="*/ 1949900 w 4960450"/>
              <a:gd name="connsiteY25" fmla="*/ 3871105 h 4035630"/>
              <a:gd name="connsiteX26" fmla="*/ 1882759 w 4960450"/>
              <a:gd name="connsiteY26" fmla="*/ 3914953 h 4035630"/>
              <a:gd name="connsiteX27" fmla="*/ 1698663 w 4960450"/>
              <a:gd name="connsiteY27" fmla="*/ 3913730 h 4035630"/>
              <a:gd name="connsiteX28" fmla="*/ 1594656 w 4960450"/>
              <a:gd name="connsiteY28" fmla="*/ 3835725 h 4035630"/>
              <a:gd name="connsiteX29" fmla="*/ 1469015 w 4960450"/>
              <a:gd name="connsiteY29" fmla="*/ 3927141 h 4035630"/>
              <a:gd name="connsiteX30" fmla="*/ 1351971 w 4960450"/>
              <a:gd name="connsiteY30" fmla="*/ 4030739 h 4035630"/>
              <a:gd name="connsiteX31" fmla="*/ 1256546 w 4960450"/>
              <a:gd name="connsiteY31" fmla="*/ 4031059 h 4035630"/>
              <a:gd name="connsiteX32" fmla="*/ 1247963 w 4960450"/>
              <a:gd name="connsiteY32" fmla="*/ 3965734 h 4035630"/>
              <a:gd name="connsiteX33" fmla="*/ 1139622 w 4960450"/>
              <a:gd name="connsiteY33" fmla="*/ 3965733 h 4035630"/>
              <a:gd name="connsiteX34" fmla="*/ 1061411 w 4960450"/>
              <a:gd name="connsiteY34" fmla="*/ 3928857 h 4035630"/>
              <a:gd name="connsiteX35" fmla="*/ 966276 w 4960450"/>
              <a:gd name="connsiteY35" fmla="*/ 3970068 h 4035630"/>
              <a:gd name="connsiteX36" fmla="*/ 847892 w 4960450"/>
              <a:gd name="connsiteY36" fmla="*/ 3972309 h 4035630"/>
              <a:gd name="connsiteX37" fmla="*/ 788873 w 4960450"/>
              <a:gd name="connsiteY37" fmla="*/ 4015741 h 4035630"/>
              <a:gd name="connsiteX38" fmla="*/ 720671 w 4960450"/>
              <a:gd name="connsiteY38" fmla="*/ 3972310 h 4035630"/>
              <a:gd name="connsiteX39" fmla="*/ 636919 w 4960450"/>
              <a:gd name="connsiteY39" fmla="*/ 3978735 h 4035630"/>
              <a:gd name="connsiteX40" fmla="*/ 561645 w 4960450"/>
              <a:gd name="connsiteY40" fmla="*/ 3948456 h 4035630"/>
              <a:gd name="connsiteX41" fmla="*/ 493854 w 4960450"/>
              <a:gd name="connsiteY41" fmla="*/ 3888741 h 4035630"/>
              <a:gd name="connsiteX42" fmla="*/ 411569 w 4960450"/>
              <a:gd name="connsiteY42" fmla="*/ 3978735 h 4035630"/>
              <a:gd name="connsiteX43" fmla="*/ 276840 w 4960450"/>
              <a:gd name="connsiteY43" fmla="*/ 4015740 h 4035630"/>
              <a:gd name="connsiteX44" fmla="*/ 164552 w 4960450"/>
              <a:gd name="connsiteY44" fmla="*/ 3991736 h 4035630"/>
              <a:gd name="connsiteX45" fmla="*/ 47543 w 4960450"/>
              <a:gd name="connsiteY45" fmla="*/ 4000404 h 4035630"/>
              <a:gd name="connsiteX46" fmla="*/ 7315 w 4960450"/>
              <a:gd name="connsiteY46" fmla="*/ 3884371 h 4035630"/>
              <a:gd name="connsiteX47" fmla="*/ 0 w 4960450"/>
              <a:gd name="connsiteY47"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2226 w 4960450"/>
              <a:gd name="connsiteY14" fmla="*/ 392810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04537 w 4960450"/>
              <a:gd name="connsiteY12" fmla="*/ 3886423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47543 w 4960450"/>
              <a:gd name="connsiteY46" fmla="*/ 4000404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5630"/>
              <a:gd name="connsiteX1" fmla="*/ 4959705 w 4960450"/>
              <a:gd name="connsiteY1" fmla="*/ 0 h 4035630"/>
              <a:gd name="connsiteX2" fmla="*/ 4959705 w 4960450"/>
              <a:gd name="connsiteY2" fmla="*/ 3884371 h 4035630"/>
              <a:gd name="connsiteX3" fmla="*/ 4900634 w 4960450"/>
              <a:gd name="connsiteY3" fmla="*/ 3983900 h 4035630"/>
              <a:gd name="connsiteX4" fmla="*/ 4768788 w 4960450"/>
              <a:gd name="connsiteY4" fmla="*/ 4014326 h 4035630"/>
              <a:gd name="connsiteX5" fmla="*/ 4576272 w 4960450"/>
              <a:gd name="connsiteY5" fmla="*/ 3926148 h 4035630"/>
              <a:gd name="connsiteX6" fmla="*/ 4406327 w 4960450"/>
              <a:gd name="connsiteY6" fmla="*/ 3976226 h 4035630"/>
              <a:gd name="connsiteX7" fmla="*/ 4216128 w 4960450"/>
              <a:gd name="connsiteY7" fmla="*/ 3947304 h 4035630"/>
              <a:gd name="connsiteX8" fmla="*/ 4003658 w 4960450"/>
              <a:gd name="connsiteY8" fmla="*/ 3931174 h 4035630"/>
              <a:gd name="connsiteX9" fmla="*/ 3843820 w 4960450"/>
              <a:gd name="connsiteY9" fmla="*/ 3814056 h 4035630"/>
              <a:gd name="connsiteX10" fmla="*/ 3696475 w 4960450"/>
              <a:gd name="connsiteY10" fmla="*/ 3848725 h 4035630"/>
              <a:gd name="connsiteX11" fmla="*/ 3582873 w 4960450"/>
              <a:gd name="connsiteY11" fmla="*/ 3927653 h 4035630"/>
              <a:gd name="connsiteX12" fmla="*/ 3519167 w 4960450"/>
              <a:gd name="connsiteY12" fmla="*/ 3868135 h 4035630"/>
              <a:gd name="connsiteX13" fmla="*/ 3371452 w 4960450"/>
              <a:gd name="connsiteY13" fmla="*/ 3926731 h 4035630"/>
              <a:gd name="connsiteX14" fmla="*/ 3269542 w 4960450"/>
              <a:gd name="connsiteY14" fmla="*/ 3913470 h 4035630"/>
              <a:gd name="connsiteX15" fmla="*/ 3168108 w 4960450"/>
              <a:gd name="connsiteY15" fmla="*/ 3923620 h 4035630"/>
              <a:gd name="connsiteX16" fmla="*/ 3077280 w 4960450"/>
              <a:gd name="connsiteY16" fmla="*/ 3842184 h 4035630"/>
              <a:gd name="connsiteX17" fmla="*/ 2977998 w 4960450"/>
              <a:gd name="connsiteY17" fmla="*/ 3860632 h 4035630"/>
              <a:gd name="connsiteX18" fmla="*/ 2842746 w 4960450"/>
              <a:gd name="connsiteY18" fmla="*/ 3736050 h 4035630"/>
              <a:gd name="connsiteX19" fmla="*/ 2753820 w 4960450"/>
              <a:gd name="connsiteY19" fmla="*/ 3770824 h 4035630"/>
              <a:gd name="connsiteX20" fmla="*/ 2717046 w 4960450"/>
              <a:gd name="connsiteY20" fmla="*/ 3825752 h 4035630"/>
              <a:gd name="connsiteX21" fmla="*/ 2647733 w 4960450"/>
              <a:gd name="connsiteY21" fmla="*/ 3874726 h 4035630"/>
              <a:gd name="connsiteX22" fmla="*/ 2536929 w 4960450"/>
              <a:gd name="connsiteY22" fmla="*/ 3923320 h 4035630"/>
              <a:gd name="connsiteX23" fmla="*/ 2392082 w 4960450"/>
              <a:gd name="connsiteY23" fmla="*/ 3890155 h 4035630"/>
              <a:gd name="connsiteX24" fmla="*/ 2307907 w 4960450"/>
              <a:gd name="connsiteY24" fmla="*/ 3921002 h 4035630"/>
              <a:gd name="connsiteX25" fmla="*/ 2106026 w 4960450"/>
              <a:gd name="connsiteY25" fmla="*/ 3853059 h 4035630"/>
              <a:gd name="connsiteX26" fmla="*/ 1949900 w 4960450"/>
              <a:gd name="connsiteY26" fmla="*/ 3871105 h 4035630"/>
              <a:gd name="connsiteX27" fmla="*/ 1882759 w 4960450"/>
              <a:gd name="connsiteY27" fmla="*/ 3914953 h 4035630"/>
              <a:gd name="connsiteX28" fmla="*/ 1698663 w 4960450"/>
              <a:gd name="connsiteY28" fmla="*/ 3913730 h 4035630"/>
              <a:gd name="connsiteX29" fmla="*/ 1594656 w 4960450"/>
              <a:gd name="connsiteY29" fmla="*/ 3835725 h 4035630"/>
              <a:gd name="connsiteX30" fmla="*/ 1469015 w 4960450"/>
              <a:gd name="connsiteY30" fmla="*/ 3927141 h 4035630"/>
              <a:gd name="connsiteX31" fmla="*/ 1351971 w 4960450"/>
              <a:gd name="connsiteY31" fmla="*/ 4030739 h 4035630"/>
              <a:gd name="connsiteX32" fmla="*/ 1256546 w 4960450"/>
              <a:gd name="connsiteY32" fmla="*/ 4031059 h 4035630"/>
              <a:gd name="connsiteX33" fmla="*/ 1247963 w 4960450"/>
              <a:gd name="connsiteY33" fmla="*/ 3965734 h 4035630"/>
              <a:gd name="connsiteX34" fmla="*/ 1139622 w 4960450"/>
              <a:gd name="connsiteY34" fmla="*/ 3965733 h 4035630"/>
              <a:gd name="connsiteX35" fmla="*/ 1061411 w 4960450"/>
              <a:gd name="connsiteY35" fmla="*/ 3928857 h 4035630"/>
              <a:gd name="connsiteX36" fmla="*/ 966276 w 4960450"/>
              <a:gd name="connsiteY36" fmla="*/ 3970068 h 4035630"/>
              <a:gd name="connsiteX37" fmla="*/ 847892 w 4960450"/>
              <a:gd name="connsiteY37" fmla="*/ 3972309 h 4035630"/>
              <a:gd name="connsiteX38" fmla="*/ 788873 w 4960450"/>
              <a:gd name="connsiteY38" fmla="*/ 4015741 h 4035630"/>
              <a:gd name="connsiteX39" fmla="*/ 720671 w 4960450"/>
              <a:gd name="connsiteY39" fmla="*/ 3972310 h 4035630"/>
              <a:gd name="connsiteX40" fmla="*/ 636919 w 4960450"/>
              <a:gd name="connsiteY40" fmla="*/ 3978735 h 4035630"/>
              <a:gd name="connsiteX41" fmla="*/ 561645 w 4960450"/>
              <a:gd name="connsiteY41" fmla="*/ 3948456 h 4035630"/>
              <a:gd name="connsiteX42" fmla="*/ 493854 w 4960450"/>
              <a:gd name="connsiteY42" fmla="*/ 3888741 h 4035630"/>
              <a:gd name="connsiteX43" fmla="*/ 411569 w 4960450"/>
              <a:gd name="connsiteY43" fmla="*/ 3978735 h 4035630"/>
              <a:gd name="connsiteX44" fmla="*/ 276840 w 4960450"/>
              <a:gd name="connsiteY44" fmla="*/ 4015740 h 4035630"/>
              <a:gd name="connsiteX45" fmla="*/ 164552 w 4960450"/>
              <a:gd name="connsiteY45" fmla="*/ 3991736 h 4035630"/>
              <a:gd name="connsiteX46" fmla="*/ 69488 w 4960450"/>
              <a:gd name="connsiteY46" fmla="*/ 4015035 h 4035630"/>
              <a:gd name="connsiteX47" fmla="*/ 7315 w 4960450"/>
              <a:gd name="connsiteY47" fmla="*/ 3884371 h 4035630"/>
              <a:gd name="connsiteX48" fmla="*/ 0 w 4960450"/>
              <a:gd name="connsiteY48" fmla="*/ 0 h 4035630"/>
              <a:gd name="connsiteX0" fmla="*/ 0 w 4960450"/>
              <a:gd name="connsiteY0" fmla="*/ 0 h 4033350"/>
              <a:gd name="connsiteX1" fmla="*/ 4959705 w 4960450"/>
              <a:gd name="connsiteY1" fmla="*/ 0 h 4033350"/>
              <a:gd name="connsiteX2" fmla="*/ 4959705 w 4960450"/>
              <a:gd name="connsiteY2" fmla="*/ 3884371 h 4033350"/>
              <a:gd name="connsiteX3" fmla="*/ 4900634 w 4960450"/>
              <a:gd name="connsiteY3" fmla="*/ 3983900 h 4033350"/>
              <a:gd name="connsiteX4" fmla="*/ 4768788 w 4960450"/>
              <a:gd name="connsiteY4" fmla="*/ 4014326 h 4033350"/>
              <a:gd name="connsiteX5" fmla="*/ 4576272 w 4960450"/>
              <a:gd name="connsiteY5" fmla="*/ 3926148 h 4033350"/>
              <a:gd name="connsiteX6" fmla="*/ 4406327 w 4960450"/>
              <a:gd name="connsiteY6" fmla="*/ 3976226 h 4033350"/>
              <a:gd name="connsiteX7" fmla="*/ 4216128 w 4960450"/>
              <a:gd name="connsiteY7" fmla="*/ 3947304 h 4033350"/>
              <a:gd name="connsiteX8" fmla="*/ 4003658 w 4960450"/>
              <a:gd name="connsiteY8" fmla="*/ 3931174 h 4033350"/>
              <a:gd name="connsiteX9" fmla="*/ 3843820 w 4960450"/>
              <a:gd name="connsiteY9" fmla="*/ 3814056 h 4033350"/>
              <a:gd name="connsiteX10" fmla="*/ 3696475 w 4960450"/>
              <a:gd name="connsiteY10" fmla="*/ 3848725 h 4033350"/>
              <a:gd name="connsiteX11" fmla="*/ 3582873 w 4960450"/>
              <a:gd name="connsiteY11" fmla="*/ 3927653 h 4033350"/>
              <a:gd name="connsiteX12" fmla="*/ 3519167 w 4960450"/>
              <a:gd name="connsiteY12" fmla="*/ 3868135 h 4033350"/>
              <a:gd name="connsiteX13" fmla="*/ 3371452 w 4960450"/>
              <a:gd name="connsiteY13" fmla="*/ 3926731 h 4033350"/>
              <a:gd name="connsiteX14" fmla="*/ 3269542 w 4960450"/>
              <a:gd name="connsiteY14" fmla="*/ 3913470 h 4033350"/>
              <a:gd name="connsiteX15" fmla="*/ 3168108 w 4960450"/>
              <a:gd name="connsiteY15" fmla="*/ 3923620 h 4033350"/>
              <a:gd name="connsiteX16" fmla="*/ 3077280 w 4960450"/>
              <a:gd name="connsiteY16" fmla="*/ 3842184 h 4033350"/>
              <a:gd name="connsiteX17" fmla="*/ 2977998 w 4960450"/>
              <a:gd name="connsiteY17" fmla="*/ 3860632 h 4033350"/>
              <a:gd name="connsiteX18" fmla="*/ 2842746 w 4960450"/>
              <a:gd name="connsiteY18" fmla="*/ 3736050 h 4033350"/>
              <a:gd name="connsiteX19" fmla="*/ 2753820 w 4960450"/>
              <a:gd name="connsiteY19" fmla="*/ 3770824 h 4033350"/>
              <a:gd name="connsiteX20" fmla="*/ 2717046 w 4960450"/>
              <a:gd name="connsiteY20" fmla="*/ 3825752 h 4033350"/>
              <a:gd name="connsiteX21" fmla="*/ 2647733 w 4960450"/>
              <a:gd name="connsiteY21" fmla="*/ 3874726 h 4033350"/>
              <a:gd name="connsiteX22" fmla="*/ 2536929 w 4960450"/>
              <a:gd name="connsiteY22" fmla="*/ 3923320 h 4033350"/>
              <a:gd name="connsiteX23" fmla="*/ 2392082 w 4960450"/>
              <a:gd name="connsiteY23" fmla="*/ 3890155 h 4033350"/>
              <a:gd name="connsiteX24" fmla="*/ 2307907 w 4960450"/>
              <a:gd name="connsiteY24" fmla="*/ 3921002 h 4033350"/>
              <a:gd name="connsiteX25" fmla="*/ 2106026 w 4960450"/>
              <a:gd name="connsiteY25" fmla="*/ 3853059 h 4033350"/>
              <a:gd name="connsiteX26" fmla="*/ 1949900 w 4960450"/>
              <a:gd name="connsiteY26" fmla="*/ 3871105 h 4033350"/>
              <a:gd name="connsiteX27" fmla="*/ 1882759 w 4960450"/>
              <a:gd name="connsiteY27" fmla="*/ 3914953 h 4033350"/>
              <a:gd name="connsiteX28" fmla="*/ 1698663 w 4960450"/>
              <a:gd name="connsiteY28" fmla="*/ 3913730 h 4033350"/>
              <a:gd name="connsiteX29" fmla="*/ 1594656 w 4960450"/>
              <a:gd name="connsiteY29" fmla="*/ 3835725 h 4033350"/>
              <a:gd name="connsiteX30" fmla="*/ 1469015 w 4960450"/>
              <a:gd name="connsiteY30" fmla="*/ 3927141 h 4033350"/>
              <a:gd name="connsiteX31" fmla="*/ 1362944 w 4960450"/>
              <a:gd name="connsiteY31" fmla="*/ 4019766 h 4033350"/>
              <a:gd name="connsiteX32" fmla="*/ 1256546 w 4960450"/>
              <a:gd name="connsiteY32" fmla="*/ 4031059 h 4033350"/>
              <a:gd name="connsiteX33" fmla="*/ 1247963 w 4960450"/>
              <a:gd name="connsiteY33" fmla="*/ 3965734 h 4033350"/>
              <a:gd name="connsiteX34" fmla="*/ 1139622 w 4960450"/>
              <a:gd name="connsiteY34" fmla="*/ 3965733 h 4033350"/>
              <a:gd name="connsiteX35" fmla="*/ 1061411 w 4960450"/>
              <a:gd name="connsiteY35" fmla="*/ 3928857 h 4033350"/>
              <a:gd name="connsiteX36" fmla="*/ 966276 w 4960450"/>
              <a:gd name="connsiteY36" fmla="*/ 3970068 h 4033350"/>
              <a:gd name="connsiteX37" fmla="*/ 847892 w 4960450"/>
              <a:gd name="connsiteY37" fmla="*/ 3972309 h 4033350"/>
              <a:gd name="connsiteX38" fmla="*/ 788873 w 4960450"/>
              <a:gd name="connsiteY38" fmla="*/ 4015741 h 4033350"/>
              <a:gd name="connsiteX39" fmla="*/ 720671 w 4960450"/>
              <a:gd name="connsiteY39" fmla="*/ 3972310 h 4033350"/>
              <a:gd name="connsiteX40" fmla="*/ 636919 w 4960450"/>
              <a:gd name="connsiteY40" fmla="*/ 3978735 h 4033350"/>
              <a:gd name="connsiteX41" fmla="*/ 561645 w 4960450"/>
              <a:gd name="connsiteY41" fmla="*/ 3948456 h 4033350"/>
              <a:gd name="connsiteX42" fmla="*/ 493854 w 4960450"/>
              <a:gd name="connsiteY42" fmla="*/ 3888741 h 4033350"/>
              <a:gd name="connsiteX43" fmla="*/ 411569 w 4960450"/>
              <a:gd name="connsiteY43" fmla="*/ 3978735 h 4033350"/>
              <a:gd name="connsiteX44" fmla="*/ 276840 w 4960450"/>
              <a:gd name="connsiteY44" fmla="*/ 4015740 h 4033350"/>
              <a:gd name="connsiteX45" fmla="*/ 164552 w 4960450"/>
              <a:gd name="connsiteY45" fmla="*/ 3991736 h 4033350"/>
              <a:gd name="connsiteX46" fmla="*/ 69488 w 4960450"/>
              <a:gd name="connsiteY46" fmla="*/ 4015035 h 4033350"/>
              <a:gd name="connsiteX47" fmla="*/ 7315 w 4960450"/>
              <a:gd name="connsiteY47" fmla="*/ 3884371 h 4033350"/>
              <a:gd name="connsiteX48" fmla="*/ 0 w 4960450"/>
              <a:gd name="connsiteY48" fmla="*/ 0 h 4033350"/>
              <a:gd name="connsiteX0" fmla="*/ 0 w 4960450"/>
              <a:gd name="connsiteY0" fmla="*/ 0 h 4027212"/>
              <a:gd name="connsiteX1" fmla="*/ 4959705 w 4960450"/>
              <a:gd name="connsiteY1" fmla="*/ 0 h 4027212"/>
              <a:gd name="connsiteX2" fmla="*/ 4959705 w 4960450"/>
              <a:gd name="connsiteY2" fmla="*/ 3884371 h 4027212"/>
              <a:gd name="connsiteX3" fmla="*/ 4900634 w 4960450"/>
              <a:gd name="connsiteY3" fmla="*/ 3983900 h 4027212"/>
              <a:gd name="connsiteX4" fmla="*/ 4768788 w 4960450"/>
              <a:gd name="connsiteY4" fmla="*/ 4014326 h 4027212"/>
              <a:gd name="connsiteX5" fmla="*/ 4576272 w 4960450"/>
              <a:gd name="connsiteY5" fmla="*/ 3926148 h 4027212"/>
              <a:gd name="connsiteX6" fmla="*/ 4406327 w 4960450"/>
              <a:gd name="connsiteY6" fmla="*/ 3976226 h 4027212"/>
              <a:gd name="connsiteX7" fmla="*/ 4216128 w 4960450"/>
              <a:gd name="connsiteY7" fmla="*/ 3947304 h 4027212"/>
              <a:gd name="connsiteX8" fmla="*/ 4003658 w 4960450"/>
              <a:gd name="connsiteY8" fmla="*/ 3931174 h 4027212"/>
              <a:gd name="connsiteX9" fmla="*/ 3843820 w 4960450"/>
              <a:gd name="connsiteY9" fmla="*/ 3814056 h 4027212"/>
              <a:gd name="connsiteX10" fmla="*/ 3696475 w 4960450"/>
              <a:gd name="connsiteY10" fmla="*/ 3848725 h 4027212"/>
              <a:gd name="connsiteX11" fmla="*/ 3582873 w 4960450"/>
              <a:gd name="connsiteY11" fmla="*/ 3927653 h 4027212"/>
              <a:gd name="connsiteX12" fmla="*/ 3519167 w 4960450"/>
              <a:gd name="connsiteY12" fmla="*/ 3868135 h 4027212"/>
              <a:gd name="connsiteX13" fmla="*/ 3371452 w 4960450"/>
              <a:gd name="connsiteY13" fmla="*/ 3926731 h 4027212"/>
              <a:gd name="connsiteX14" fmla="*/ 3269542 w 4960450"/>
              <a:gd name="connsiteY14" fmla="*/ 3913470 h 4027212"/>
              <a:gd name="connsiteX15" fmla="*/ 3168108 w 4960450"/>
              <a:gd name="connsiteY15" fmla="*/ 3923620 h 4027212"/>
              <a:gd name="connsiteX16" fmla="*/ 3077280 w 4960450"/>
              <a:gd name="connsiteY16" fmla="*/ 3842184 h 4027212"/>
              <a:gd name="connsiteX17" fmla="*/ 2977998 w 4960450"/>
              <a:gd name="connsiteY17" fmla="*/ 3860632 h 4027212"/>
              <a:gd name="connsiteX18" fmla="*/ 2842746 w 4960450"/>
              <a:gd name="connsiteY18" fmla="*/ 3736050 h 4027212"/>
              <a:gd name="connsiteX19" fmla="*/ 2753820 w 4960450"/>
              <a:gd name="connsiteY19" fmla="*/ 3770824 h 4027212"/>
              <a:gd name="connsiteX20" fmla="*/ 2717046 w 4960450"/>
              <a:gd name="connsiteY20" fmla="*/ 3825752 h 4027212"/>
              <a:gd name="connsiteX21" fmla="*/ 2647733 w 4960450"/>
              <a:gd name="connsiteY21" fmla="*/ 3874726 h 4027212"/>
              <a:gd name="connsiteX22" fmla="*/ 2536929 w 4960450"/>
              <a:gd name="connsiteY22" fmla="*/ 3923320 h 4027212"/>
              <a:gd name="connsiteX23" fmla="*/ 2392082 w 4960450"/>
              <a:gd name="connsiteY23" fmla="*/ 3890155 h 4027212"/>
              <a:gd name="connsiteX24" fmla="*/ 2307907 w 4960450"/>
              <a:gd name="connsiteY24" fmla="*/ 3921002 h 4027212"/>
              <a:gd name="connsiteX25" fmla="*/ 2106026 w 4960450"/>
              <a:gd name="connsiteY25" fmla="*/ 3853059 h 4027212"/>
              <a:gd name="connsiteX26" fmla="*/ 1949900 w 4960450"/>
              <a:gd name="connsiteY26" fmla="*/ 3871105 h 4027212"/>
              <a:gd name="connsiteX27" fmla="*/ 1882759 w 4960450"/>
              <a:gd name="connsiteY27" fmla="*/ 3914953 h 4027212"/>
              <a:gd name="connsiteX28" fmla="*/ 1698663 w 4960450"/>
              <a:gd name="connsiteY28" fmla="*/ 3913730 h 4027212"/>
              <a:gd name="connsiteX29" fmla="*/ 1594656 w 4960450"/>
              <a:gd name="connsiteY29" fmla="*/ 3835725 h 4027212"/>
              <a:gd name="connsiteX30" fmla="*/ 1469015 w 4960450"/>
              <a:gd name="connsiteY30" fmla="*/ 3927141 h 4027212"/>
              <a:gd name="connsiteX31" fmla="*/ 1362944 w 4960450"/>
              <a:gd name="connsiteY31" fmla="*/ 4019766 h 4027212"/>
              <a:gd name="connsiteX32" fmla="*/ 1282149 w 4960450"/>
              <a:gd name="connsiteY32" fmla="*/ 4023744 h 4027212"/>
              <a:gd name="connsiteX33" fmla="*/ 1247963 w 4960450"/>
              <a:gd name="connsiteY33" fmla="*/ 3965734 h 4027212"/>
              <a:gd name="connsiteX34" fmla="*/ 1139622 w 4960450"/>
              <a:gd name="connsiteY34" fmla="*/ 3965733 h 4027212"/>
              <a:gd name="connsiteX35" fmla="*/ 1061411 w 4960450"/>
              <a:gd name="connsiteY35" fmla="*/ 3928857 h 4027212"/>
              <a:gd name="connsiteX36" fmla="*/ 966276 w 4960450"/>
              <a:gd name="connsiteY36" fmla="*/ 3970068 h 4027212"/>
              <a:gd name="connsiteX37" fmla="*/ 847892 w 4960450"/>
              <a:gd name="connsiteY37" fmla="*/ 3972309 h 4027212"/>
              <a:gd name="connsiteX38" fmla="*/ 788873 w 4960450"/>
              <a:gd name="connsiteY38" fmla="*/ 4015741 h 4027212"/>
              <a:gd name="connsiteX39" fmla="*/ 720671 w 4960450"/>
              <a:gd name="connsiteY39" fmla="*/ 3972310 h 4027212"/>
              <a:gd name="connsiteX40" fmla="*/ 636919 w 4960450"/>
              <a:gd name="connsiteY40" fmla="*/ 3978735 h 4027212"/>
              <a:gd name="connsiteX41" fmla="*/ 561645 w 4960450"/>
              <a:gd name="connsiteY41" fmla="*/ 3948456 h 4027212"/>
              <a:gd name="connsiteX42" fmla="*/ 493854 w 4960450"/>
              <a:gd name="connsiteY42" fmla="*/ 3888741 h 4027212"/>
              <a:gd name="connsiteX43" fmla="*/ 411569 w 4960450"/>
              <a:gd name="connsiteY43" fmla="*/ 3978735 h 4027212"/>
              <a:gd name="connsiteX44" fmla="*/ 276840 w 4960450"/>
              <a:gd name="connsiteY44" fmla="*/ 4015740 h 4027212"/>
              <a:gd name="connsiteX45" fmla="*/ 164552 w 4960450"/>
              <a:gd name="connsiteY45" fmla="*/ 3991736 h 4027212"/>
              <a:gd name="connsiteX46" fmla="*/ 69488 w 4960450"/>
              <a:gd name="connsiteY46" fmla="*/ 4015035 h 4027212"/>
              <a:gd name="connsiteX47" fmla="*/ 7315 w 4960450"/>
              <a:gd name="connsiteY47" fmla="*/ 3884371 h 4027212"/>
              <a:gd name="connsiteX48" fmla="*/ 0 w 4960450"/>
              <a:gd name="connsiteY48" fmla="*/ 0 h 4027212"/>
              <a:gd name="connsiteX0" fmla="*/ 0 w 4954502"/>
              <a:gd name="connsiteY0" fmla="*/ 1397544 h 4027212"/>
              <a:gd name="connsiteX1" fmla="*/ 4953757 w 4954502"/>
              <a:gd name="connsiteY1" fmla="*/ 0 h 4027212"/>
              <a:gd name="connsiteX2" fmla="*/ 4953757 w 4954502"/>
              <a:gd name="connsiteY2" fmla="*/ 3884371 h 4027212"/>
              <a:gd name="connsiteX3" fmla="*/ 4894686 w 4954502"/>
              <a:gd name="connsiteY3" fmla="*/ 3983900 h 4027212"/>
              <a:gd name="connsiteX4" fmla="*/ 4762840 w 4954502"/>
              <a:gd name="connsiteY4" fmla="*/ 4014326 h 4027212"/>
              <a:gd name="connsiteX5" fmla="*/ 4570324 w 4954502"/>
              <a:gd name="connsiteY5" fmla="*/ 3926148 h 4027212"/>
              <a:gd name="connsiteX6" fmla="*/ 4400379 w 4954502"/>
              <a:gd name="connsiteY6" fmla="*/ 3976226 h 4027212"/>
              <a:gd name="connsiteX7" fmla="*/ 4210180 w 4954502"/>
              <a:gd name="connsiteY7" fmla="*/ 3947304 h 4027212"/>
              <a:gd name="connsiteX8" fmla="*/ 3997710 w 4954502"/>
              <a:gd name="connsiteY8" fmla="*/ 3931174 h 4027212"/>
              <a:gd name="connsiteX9" fmla="*/ 3837872 w 4954502"/>
              <a:gd name="connsiteY9" fmla="*/ 3814056 h 4027212"/>
              <a:gd name="connsiteX10" fmla="*/ 3690527 w 4954502"/>
              <a:gd name="connsiteY10" fmla="*/ 3848725 h 4027212"/>
              <a:gd name="connsiteX11" fmla="*/ 3576925 w 4954502"/>
              <a:gd name="connsiteY11" fmla="*/ 3927653 h 4027212"/>
              <a:gd name="connsiteX12" fmla="*/ 3513219 w 4954502"/>
              <a:gd name="connsiteY12" fmla="*/ 3868135 h 4027212"/>
              <a:gd name="connsiteX13" fmla="*/ 3365504 w 4954502"/>
              <a:gd name="connsiteY13" fmla="*/ 3926731 h 4027212"/>
              <a:gd name="connsiteX14" fmla="*/ 3263594 w 4954502"/>
              <a:gd name="connsiteY14" fmla="*/ 3913470 h 4027212"/>
              <a:gd name="connsiteX15" fmla="*/ 3162160 w 4954502"/>
              <a:gd name="connsiteY15" fmla="*/ 3923620 h 4027212"/>
              <a:gd name="connsiteX16" fmla="*/ 3071332 w 4954502"/>
              <a:gd name="connsiteY16" fmla="*/ 3842184 h 4027212"/>
              <a:gd name="connsiteX17" fmla="*/ 2972050 w 4954502"/>
              <a:gd name="connsiteY17" fmla="*/ 3860632 h 4027212"/>
              <a:gd name="connsiteX18" fmla="*/ 2836798 w 4954502"/>
              <a:gd name="connsiteY18" fmla="*/ 3736050 h 4027212"/>
              <a:gd name="connsiteX19" fmla="*/ 2747872 w 4954502"/>
              <a:gd name="connsiteY19" fmla="*/ 3770824 h 4027212"/>
              <a:gd name="connsiteX20" fmla="*/ 2711098 w 4954502"/>
              <a:gd name="connsiteY20" fmla="*/ 3825752 h 4027212"/>
              <a:gd name="connsiteX21" fmla="*/ 2641785 w 4954502"/>
              <a:gd name="connsiteY21" fmla="*/ 3874726 h 4027212"/>
              <a:gd name="connsiteX22" fmla="*/ 2530981 w 4954502"/>
              <a:gd name="connsiteY22" fmla="*/ 3923320 h 4027212"/>
              <a:gd name="connsiteX23" fmla="*/ 2386134 w 4954502"/>
              <a:gd name="connsiteY23" fmla="*/ 3890155 h 4027212"/>
              <a:gd name="connsiteX24" fmla="*/ 2301959 w 4954502"/>
              <a:gd name="connsiteY24" fmla="*/ 3921002 h 4027212"/>
              <a:gd name="connsiteX25" fmla="*/ 2100078 w 4954502"/>
              <a:gd name="connsiteY25" fmla="*/ 3853059 h 4027212"/>
              <a:gd name="connsiteX26" fmla="*/ 1943952 w 4954502"/>
              <a:gd name="connsiteY26" fmla="*/ 3871105 h 4027212"/>
              <a:gd name="connsiteX27" fmla="*/ 1876811 w 4954502"/>
              <a:gd name="connsiteY27" fmla="*/ 3914953 h 4027212"/>
              <a:gd name="connsiteX28" fmla="*/ 1692715 w 4954502"/>
              <a:gd name="connsiteY28" fmla="*/ 3913730 h 4027212"/>
              <a:gd name="connsiteX29" fmla="*/ 1588708 w 4954502"/>
              <a:gd name="connsiteY29" fmla="*/ 3835725 h 4027212"/>
              <a:gd name="connsiteX30" fmla="*/ 1463067 w 4954502"/>
              <a:gd name="connsiteY30" fmla="*/ 3927141 h 4027212"/>
              <a:gd name="connsiteX31" fmla="*/ 1356996 w 4954502"/>
              <a:gd name="connsiteY31" fmla="*/ 4019766 h 4027212"/>
              <a:gd name="connsiteX32" fmla="*/ 1276201 w 4954502"/>
              <a:gd name="connsiteY32" fmla="*/ 4023744 h 4027212"/>
              <a:gd name="connsiteX33" fmla="*/ 1242015 w 4954502"/>
              <a:gd name="connsiteY33" fmla="*/ 3965734 h 4027212"/>
              <a:gd name="connsiteX34" fmla="*/ 1133674 w 4954502"/>
              <a:gd name="connsiteY34" fmla="*/ 3965733 h 4027212"/>
              <a:gd name="connsiteX35" fmla="*/ 1055463 w 4954502"/>
              <a:gd name="connsiteY35" fmla="*/ 3928857 h 4027212"/>
              <a:gd name="connsiteX36" fmla="*/ 960328 w 4954502"/>
              <a:gd name="connsiteY36" fmla="*/ 3970068 h 4027212"/>
              <a:gd name="connsiteX37" fmla="*/ 841944 w 4954502"/>
              <a:gd name="connsiteY37" fmla="*/ 3972309 h 4027212"/>
              <a:gd name="connsiteX38" fmla="*/ 782925 w 4954502"/>
              <a:gd name="connsiteY38" fmla="*/ 4015741 h 4027212"/>
              <a:gd name="connsiteX39" fmla="*/ 714723 w 4954502"/>
              <a:gd name="connsiteY39" fmla="*/ 3972310 h 4027212"/>
              <a:gd name="connsiteX40" fmla="*/ 630971 w 4954502"/>
              <a:gd name="connsiteY40" fmla="*/ 3978735 h 4027212"/>
              <a:gd name="connsiteX41" fmla="*/ 555697 w 4954502"/>
              <a:gd name="connsiteY41" fmla="*/ 3948456 h 4027212"/>
              <a:gd name="connsiteX42" fmla="*/ 487906 w 4954502"/>
              <a:gd name="connsiteY42" fmla="*/ 3888741 h 4027212"/>
              <a:gd name="connsiteX43" fmla="*/ 405621 w 4954502"/>
              <a:gd name="connsiteY43" fmla="*/ 3978735 h 4027212"/>
              <a:gd name="connsiteX44" fmla="*/ 270892 w 4954502"/>
              <a:gd name="connsiteY44" fmla="*/ 4015740 h 4027212"/>
              <a:gd name="connsiteX45" fmla="*/ 158604 w 4954502"/>
              <a:gd name="connsiteY45" fmla="*/ 3991736 h 4027212"/>
              <a:gd name="connsiteX46" fmla="*/ 63540 w 4954502"/>
              <a:gd name="connsiteY46" fmla="*/ 4015035 h 4027212"/>
              <a:gd name="connsiteX47" fmla="*/ 1367 w 4954502"/>
              <a:gd name="connsiteY47" fmla="*/ 3884371 h 4027212"/>
              <a:gd name="connsiteX48" fmla="*/ 0 w 4954502"/>
              <a:gd name="connsiteY48" fmla="*/ 1397544 h 4027212"/>
              <a:gd name="connsiteX0" fmla="*/ 0 w 4954502"/>
              <a:gd name="connsiteY0" fmla="*/ 0 h 2629668"/>
              <a:gd name="connsiteX1" fmla="*/ 4953756 w 4954502"/>
              <a:gd name="connsiteY1" fmla="*/ 17840 h 2629668"/>
              <a:gd name="connsiteX2" fmla="*/ 4953757 w 4954502"/>
              <a:gd name="connsiteY2" fmla="*/ 2486827 h 2629668"/>
              <a:gd name="connsiteX3" fmla="*/ 4894686 w 4954502"/>
              <a:gd name="connsiteY3" fmla="*/ 2586356 h 2629668"/>
              <a:gd name="connsiteX4" fmla="*/ 4762840 w 4954502"/>
              <a:gd name="connsiteY4" fmla="*/ 2616782 h 2629668"/>
              <a:gd name="connsiteX5" fmla="*/ 4570324 w 4954502"/>
              <a:gd name="connsiteY5" fmla="*/ 2528604 h 2629668"/>
              <a:gd name="connsiteX6" fmla="*/ 4400379 w 4954502"/>
              <a:gd name="connsiteY6" fmla="*/ 2578682 h 2629668"/>
              <a:gd name="connsiteX7" fmla="*/ 4210180 w 4954502"/>
              <a:gd name="connsiteY7" fmla="*/ 2549760 h 2629668"/>
              <a:gd name="connsiteX8" fmla="*/ 3997710 w 4954502"/>
              <a:gd name="connsiteY8" fmla="*/ 2533630 h 2629668"/>
              <a:gd name="connsiteX9" fmla="*/ 3837872 w 4954502"/>
              <a:gd name="connsiteY9" fmla="*/ 2416512 h 2629668"/>
              <a:gd name="connsiteX10" fmla="*/ 3690527 w 4954502"/>
              <a:gd name="connsiteY10" fmla="*/ 2451181 h 2629668"/>
              <a:gd name="connsiteX11" fmla="*/ 3576925 w 4954502"/>
              <a:gd name="connsiteY11" fmla="*/ 2530109 h 2629668"/>
              <a:gd name="connsiteX12" fmla="*/ 3513219 w 4954502"/>
              <a:gd name="connsiteY12" fmla="*/ 2470591 h 2629668"/>
              <a:gd name="connsiteX13" fmla="*/ 3365504 w 4954502"/>
              <a:gd name="connsiteY13" fmla="*/ 2529187 h 2629668"/>
              <a:gd name="connsiteX14" fmla="*/ 3263594 w 4954502"/>
              <a:gd name="connsiteY14" fmla="*/ 2515926 h 2629668"/>
              <a:gd name="connsiteX15" fmla="*/ 3162160 w 4954502"/>
              <a:gd name="connsiteY15" fmla="*/ 2526076 h 2629668"/>
              <a:gd name="connsiteX16" fmla="*/ 3071332 w 4954502"/>
              <a:gd name="connsiteY16" fmla="*/ 2444640 h 2629668"/>
              <a:gd name="connsiteX17" fmla="*/ 2972050 w 4954502"/>
              <a:gd name="connsiteY17" fmla="*/ 2463088 h 2629668"/>
              <a:gd name="connsiteX18" fmla="*/ 2836798 w 4954502"/>
              <a:gd name="connsiteY18" fmla="*/ 2338506 h 2629668"/>
              <a:gd name="connsiteX19" fmla="*/ 2747872 w 4954502"/>
              <a:gd name="connsiteY19" fmla="*/ 2373280 h 2629668"/>
              <a:gd name="connsiteX20" fmla="*/ 2711098 w 4954502"/>
              <a:gd name="connsiteY20" fmla="*/ 2428208 h 2629668"/>
              <a:gd name="connsiteX21" fmla="*/ 2641785 w 4954502"/>
              <a:gd name="connsiteY21" fmla="*/ 2477182 h 2629668"/>
              <a:gd name="connsiteX22" fmla="*/ 2530981 w 4954502"/>
              <a:gd name="connsiteY22" fmla="*/ 2525776 h 2629668"/>
              <a:gd name="connsiteX23" fmla="*/ 2386134 w 4954502"/>
              <a:gd name="connsiteY23" fmla="*/ 2492611 h 2629668"/>
              <a:gd name="connsiteX24" fmla="*/ 2301959 w 4954502"/>
              <a:gd name="connsiteY24" fmla="*/ 2523458 h 2629668"/>
              <a:gd name="connsiteX25" fmla="*/ 2100078 w 4954502"/>
              <a:gd name="connsiteY25" fmla="*/ 2455515 h 2629668"/>
              <a:gd name="connsiteX26" fmla="*/ 1943952 w 4954502"/>
              <a:gd name="connsiteY26" fmla="*/ 2473561 h 2629668"/>
              <a:gd name="connsiteX27" fmla="*/ 1876811 w 4954502"/>
              <a:gd name="connsiteY27" fmla="*/ 2517409 h 2629668"/>
              <a:gd name="connsiteX28" fmla="*/ 1692715 w 4954502"/>
              <a:gd name="connsiteY28" fmla="*/ 2516186 h 2629668"/>
              <a:gd name="connsiteX29" fmla="*/ 1588708 w 4954502"/>
              <a:gd name="connsiteY29" fmla="*/ 2438181 h 2629668"/>
              <a:gd name="connsiteX30" fmla="*/ 1463067 w 4954502"/>
              <a:gd name="connsiteY30" fmla="*/ 2529597 h 2629668"/>
              <a:gd name="connsiteX31" fmla="*/ 1356996 w 4954502"/>
              <a:gd name="connsiteY31" fmla="*/ 2622222 h 2629668"/>
              <a:gd name="connsiteX32" fmla="*/ 1276201 w 4954502"/>
              <a:gd name="connsiteY32" fmla="*/ 2626200 h 2629668"/>
              <a:gd name="connsiteX33" fmla="*/ 1242015 w 4954502"/>
              <a:gd name="connsiteY33" fmla="*/ 2568190 h 2629668"/>
              <a:gd name="connsiteX34" fmla="*/ 1133674 w 4954502"/>
              <a:gd name="connsiteY34" fmla="*/ 2568189 h 2629668"/>
              <a:gd name="connsiteX35" fmla="*/ 1055463 w 4954502"/>
              <a:gd name="connsiteY35" fmla="*/ 2531313 h 2629668"/>
              <a:gd name="connsiteX36" fmla="*/ 960328 w 4954502"/>
              <a:gd name="connsiteY36" fmla="*/ 2572524 h 2629668"/>
              <a:gd name="connsiteX37" fmla="*/ 841944 w 4954502"/>
              <a:gd name="connsiteY37" fmla="*/ 2574765 h 2629668"/>
              <a:gd name="connsiteX38" fmla="*/ 782925 w 4954502"/>
              <a:gd name="connsiteY38" fmla="*/ 2618197 h 2629668"/>
              <a:gd name="connsiteX39" fmla="*/ 714723 w 4954502"/>
              <a:gd name="connsiteY39" fmla="*/ 2574766 h 2629668"/>
              <a:gd name="connsiteX40" fmla="*/ 630971 w 4954502"/>
              <a:gd name="connsiteY40" fmla="*/ 2581191 h 2629668"/>
              <a:gd name="connsiteX41" fmla="*/ 555697 w 4954502"/>
              <a:gd name="connsiteY41" fmla="*/ 2550912 h 2629668"/>
              <a:gd name="connsiteX42" fmla="*/ 487906 w 4954502"/>
              <a:gd name="connsiteY42" fmla="*/ 2491197 h 2629668"/>
              <a:gd name="connsiteX43" fmla="*/ 405621 w 4954502"/>
              <a:gd name="connsiteY43" fmla="*/ 2581191 h 2629668"/>
              <a:gd name="connsiteX44" fmla="*/ 270892 w 4954502"/>
              <a:gd name="connsiteY44" fmla="*/ 2618196 h 2629668"/>
              <a:gd name="connsiteX45" fmla="*/ 158604 w 4954502"/>
              <a:gd name="connsiteY45" fmla="*/ 2594192 h 2629668"/>
              <a:gd name="connsiteX46" fmla="*/ 63540 w 4954502"/>
              <a:gd name="connsiteY46" fmla="*/ 2617491 h 2629668"/>
              <a:gd name="connsiteX47" fmla="*/ 1367 w 4954502"/>
              <a:gd name="connsiteY47" fmla="*/ 2486827 h 2629668"/>
              <a:gd name="connsiteX48" fmla="*/ 0 w 4954502"/>
              <a:gd name="connsiteY48" fmla="*/ 0 h 2629668"/>
              <a:gd name="connsiteX0" fmla="*/ 160821 w 4953355"/>
              <a:gd name="connsiteY0" fmla="*/ 367534 h 2611828"/>
              <a:gd name="connsiteX1" fmla="*/ 4952609 w 4953355"/>
              <a:gd name="connsiteY1" fmla="*/ 0 h 2611828"/>
              <a:gd name="connsiteX2" fmla="*/ 4952610 w 4953355"/>
              <a:gd name="connsiteY2" fmla="*/ 2468987 h 2611828"/>
              <a:gd name="connsiteX3" fmla="*/ 4893539 w 4953355"/>
              <a:gd name="connsiteY3" fmla="*/ 2568516 h 2611828"/>
              <a:gd name="connsiteX4" fmla="*/ 4761693 w 4953355"/>
              <a:gd name="connsiteY4" fmla="*/ 2598942 h 2611828"/>
              <a:gd name="connsiteX5" fmla="*/ 4569177 w 4953355"/>
              <a:gd name="connsiteY5" fmla="*/ 2510764 h 2611828"/>
              <a:gd name="connsiteX6" fmla="*/ 4399232 w 4953355"/>
              <a:gd name="connsiteY6" fmla="*/ 2560842 h 2611828"/>
              <a:gd name="connsiteX7" fmla="*/ 4209033 w 4953355"/>
              <a:gd name="connsiteY7" fmla="*/ 2531920 h 2611828"/>
              <a:gd name="connsiteX8" fmla="*/ 3996563 w 4953355"/>
              <a:gd name="connsiteY8" fmla="*/ 2515790 h 2611828"/>
              <a:gd name="connsiteX9" fmla="*/ 3836725 w 4953355"/>
              <a:gd name="connsiteY9" fmla="*/ 2398672 h 2611828"/>
              <a:gd name="connsiteX10" fmla="*/ 3689380 w 4953355"/>
              <a:gd name="connsiteY10" fmla="*/ 2433341 h 2611828"/>
              <a:gd name="connsiteX11" fmla="*/ 3575778 w 4953355"/>
              <a:gd name="connsiteY11" fmla="*/ 2512269 h 2611828"/>
              <a:gd name="connsiteX12" fmla="*/ 3512072 w 4953355"/>
              <a:gd name="connsiteY12" fmla="*/ 2452751 h 2611828"/>
              <a:gd name="connsiteX13" fmla="*/ 3364357 w 4953355"/>
              <a:gd name="connsiteY13" fmla="*/ 2511347 h 2611828"/>
              <a:gd name="connsiteX14" fmla="*/ 3262447 w 4953355"/>
              <a:gd name="connsiteY14" fmla="*/ 2498086 h 2611828"/>
              <a:gd name="connsiteX15" fmla="*/ 3161013 w 4953355"/>
              <a:gd name="connsiteY15" fmla="*/ 2508236 h 2611828"/>
              <a:gd name="connsiteX16" fmla="*/ 3070185 w 4953355"/>
              <a:gd name="connsiteY16" fmla="*/ 2426800 h 2611828"/>
              <a:gd name="connsiteX17" fmla="*/ 2970903 w 4953355"/>
              <a:gd name="connsiteY17" fmla="*/ 2445248 h 2611828"/>
              <a:gd name="connsiteX18" fmla="*/ 2835651 w 4953355"/>
              <a:gd name="connsiteY18" fmla="*/ 2320666 h 2611828"/>
              <a:gd name="connsiteX19" fmla="*/ 2746725 w 4953355"/>
              <a:gd name="connsiteY19" fmla="*/ 2355440 h 2611828"/>
              <a:gd name="connsiteX20" fmla="*/ 2709951 w 4953355"/>
              <a:gd name="connsiteY20" fmla="*/ 2410368 h 2611828"/>
              <a:gd name="connsiteX21" fmla="*/ 2640638 w 4953355"/>
              <a:gd name="connsiteY21" fmla="*/ 2459342 h 2611828"/>
              <a:gd name="connsiteX22" fmla="*/ 2529834 w 4953355"/>
              <a:gd name="connsiteY22" fmla="*/ 2507936 h 2611828"/>
              <a:gd name="connsiteX23" fmla="*/ 2384987 w 4953355"/>
              <a:gd name="connsiteY23" fmla="*/ 2474771 h 2611828"/>
              <a:gd name="connsiteX24" fmla="*/ 2300812 w 4953355"/>
              <a:gd name="connsiteY24" fmla="*/ 2505618 h 2611828"/>
              <a:gd name="connsiteX25" fmla="*/ 2098931 w 4953355"/>
              <a:gd name="connsiteY25" fmla="*/ 2437675 h 2611828"/>
              <a:gd name="connsiteX26" fmla="*/ 1942805 w 4953355"/>
              <a:gd name="connsiteY26" fmla="*/ 2455721 h 2611828"/>
              <a:gd name="connsiteX27" fmla="*/ 1875664 w 4953355"/>
              <a:gd name="connsiteY27" fmla="*/ 2499569 h 2611828"/>
              <a:gd name="connsiteX28" fmla="*/ 1691568 w 4953355"/>
              <a:gd name="connsiteY28" fmla="*/ 2498346 h 2611828"/>
              <a:gd name="connsiteX29" fmla="*/ 1587561 w 4953355"/>
              <a:gd name="connsiteY29" fmla="*/ 2420341 h 2611828"/>
              <a:gd name="connsiteX30" fmla="*/ 1461920 w 4953355"/>
              <a:gd name="connsiteY30" fmla="*/ 2511757 h 2611828"/>
              <a:gd name="connsiteX31" fmla="*/ 1355849 w 4953355"/>
              <a:gd name="connsiteY31" fmla="*/ 2604382 h 2611828"/>
              <a:gd name="connsiteX32" fmla="*/ 1275054 w 4953355"/>
              <a:gd name="connsiteY32" fmla="*/ 2608360 h 2611828"/>
              <a:gd name="connsiteX33" fmla="*/ 1240868 w 4953355"/>
              <a:gd name="connsiteY33" fmla="*/ 2550350 h 2611828"/>
              <a:gd name="connsiteX34" fmla="*/ 1132527 w 4953355"/>
              <a:gd name="connsiteY34" fmla="*/ 2550349 h 2611828"/>
              <a:gd name="connsiteX35" fmla="*/ 1054316 w 4953355"/>
              <a:gd name="connsiteY35" fmla="*/ 2513473 h 2611828"/>
              <a:gd name="connsiteX36" fmla="*/ 959181 w 4953355"/>
              <a:gd name="connsiteY36" fmla="*/ 2554684 h 2611828"/>
              <a:gd name="connsiteX37" fmla="*/ 840797 w 4953355"/>
              <a:gd name="connsiteY37" fmla="*/ 2556925 h 2611828"/>
              <a:gd name="connsiteX38" fmla="*/ 781778 w 4953355"/>
              <a:gd name="connsiteY38" fmla="*/ 2600357 h 2611828"/>
              <a:gd name="connsiteX39" fmla="*/ 713576 w 4953355"/>
              <a:gd name="connsiteY39" fmla="*/ 2556926 h 2611828"/>
              <a:gd name="connsiteX40" fmla="*/ 629824 w 4953355"/>
              <a:gd name="connsiteY40" fmla="*/ 2563351 h 2611828"/>
              <a:gd name="connsiteX41" fmla="*/ 554550 w 4953355"/>
              <a:gd name="connsiteY41" fmla="*/ 2533072 h 2611828"/>
              <a:gd name="connsiteX42" fmla="*/ 486759 w 4953355"/>
              <a:gd name="connsiteY42" fmla="*/ 2473357 h 2611828"/>
              <a:gd name="connsiteX43" fmla="*/ 404474 w 4953355"/>
              <a:gd name="connsiteY43" fmla="*/ 2563351 h 2611828"/>
              <a:gd name="connsiteX44" fmla="*/ 269745 w 4953355"/>
              <a:gd name="connsiteY44" fmla="*/ 2600356 h 2611828"/>
              <a:gd name="connsiteX45" fmla="*/ 157457 w 4953355"/>
              <a:gd name="connsiteY45" fmla="*/ 2576352 h 2611828"/>
              <a:gd name="connsiteX46" fmla="*/ 62393 w 4953355"/>
              <a:gd name="connsiteY46" fmla="*/ 2599651 h 2611828"/>
              <a:gd name="connsiteX47" fmla="*/ 220 w 4953355"/>
              <a:gd name="connsiteY47" fmla="*/ 2468987 h 2611828"/>
              <a:gd name="connsiteX48" fmla="*/ 160821 w 4953355"/>
              <a:gd name="connsiteY48" fmla="*/ 367534 h 2611828"/>
              <a:gd name="connsiteX0" fmla="*/ 0 w 4965673"/>
              <a:gd name="connsiteY0" fmla="*/ 0 h 2618498"/>
              <a:gd name="connsiteX1" fmla="*/ 4964927 w 4965673"/>
              <a:gd name="connsiteY1" fmla="*/ 6670 h 2618498"/>
              <a:gd name="connsiteX2" fmla="*/ 4964928 w 4965673"/>
              <a:gd name="connsiteY2" fmla="*/ 2475657 h 2618498"/>
              <a:gd name="connsiteX3" fmla="*/ 4905857 w 4965673"/>
              <a:gd name="connsiteY3" fmla="*/ 2575186 h 2618498"/>
              <a:gd name="connsiteX4" fmla="*/ 4774011 w 4965673"/>
              <a:gd name="connsiteY4" fmla="*/ 2605612 h 2618498"/>
              <a:gd name="connsiteX5" fmla="*/ 4581495 w 4965673"/>
              <a:gd name="connsiteY5" fmla="*/ 2517434 h 2618498"/>
              <a:gd name="connsiteX6" fmla="*/ 4411550 w 4965673"/>
              <a:gd name="connsiteY6" fmla="*/ 2567512 h 2618498"/>
              <a:gd name="connsiteX7" fmla="*/ 4221351 w 4965673"/>
              <a:gd name="connsiteY7" fmla="*/ 2538590 h 2618498"/>
              <a:gd name="connsiteX8" fmla="*/ 4008881 w 4965673"/>
              <a:gd name="connsiteY8" fmla="*/ 2522460 h 2618498"/>
              <a:gd name="connsiteX9" fmla="*/ 3849043 w 4965673"/>
              <a:gd name="connsiteY9" fmla="*/ 2405342 h 2618498"/>
              <a:gd name="connsiteX10" fmla="*/ 3701698 w 4965673"/>
              <a:gd name="connsiteY10" fmla="*/ 2440011 h 2618498"/>
              <a:gd name="connsiteX11" fmla="*/ 3588096 w 4965673"/>
              <a:gd name="connsiteY11" fmla="*/ 2518939 h 2618498"/>
              <a:gd name="connsiteX12" fmla="*/ 3524390 w 4965673"/>
              <a:gd name="connsiteY12" fmla="*/ 2459421 h 2618498"/>
              <a:gd name="connsiteX13" fmla="*/ 3376675 w 4965673"/>
              <a:gd name="connsiteY13" fmla="*/ 2518017 h 2618498"/>
              <a:gd name="connsiteX14" fmla="*/ 3274765 w 4965673"/>
              <a:gd name="connsiteY14" fmla="*/ 2504756 h 2618498"/>
              <a:gd name="connsiteX15" fmla="*/ 3173331 w 4965673"/>
              <a:gd name="connsiteY15" fmla="*/ 2514906 h 2618498"/>
              <a:gd name="connsiteX16" fmla="*/ 3082503 w 4965673"/>
              <a:gd name="connsiteY16" fmla="*/ 2433470 h 2618498"/>
              <a:gd name="connsiteX17" fmla="*/ 2983221 w 4965673"/>
              <a:gd name="connsiteY17" fmla="*/ 2451918 h 2618498"/>
              <a:gd name="connsiteX18" fmla="*/ 2847969 w 4965673"/>
              <a:gd name="connsiteY18" fmla="*/ 2327336 h 2618498"/>
              <a:gd name="connsiteX19" fmla="*/ 2759043 w 4965673"/>
              <a:gd name="connsiteY19" fmla="*/ 2362110 h 2618498"/>
              <a:gd name="connsiteX20" fmla="*/ 2722269 w 4965673"/>
              <a:gd name="connsiteY20" fmla="*/ 2417038 h 2618498"/>
              <a:gd name="connsiteX21" fmla="*/ 2652956 w 4965673"/>
              <a:gd name="connsiteY21" fmla="*/ 2466012 h 2618498"/>
              <a:gd name="connsiteX22" fmla="*/ 2542152 w 4965673"/>
              <a:gd name="connsiteY22" fmla="*/ 2514606 h 2618498"/>
              <a:gd name="connsiteX23" fmla="*/ 2397305 w 4965673"/>
              <a:gd name="connsiteY23" fmla="*/ 2481441 h 2618498"/>
              <a:gd name="connsiteX24" fmla="*/ 2313130 w 4965673"/>
              <a:gd name="connsiteY24" fmla="*/ 2512288 h 2618498"/>
              <a:gd name="connsiteX25" fmla="*/ 2111249 w 4965673"/>
              <a:gd name="connsiteY25" fmla="*/ 2444345 h 2618498"/>
              <a:gd name="connsiteX26" fmla="*/ 1955123 w 4965673"/>
              <a:gd name="connsiteY26" fmla="*/ 2462391 h 2618498"/>
              <a:gd name="connsiteX27" fmla="*/ 1887982 w 4965673"/>
              <a:gd name="connsiteY27" fmla="*/ 2506239 h 2618498"/>
              <a:gd name="connsiteX28" fmla="*/ 1703886 w 4965673"/>
              <a:gd name="connsiteY28" fmla="*/ 2505016 h 2618498"/>
              <a:gd name="connsiteX29" fmla="*/ 1599879 w 4965673"/>
              <a:gd name="connsiteY29" fmla="*/ 2427011 h 2618498"/>
              <a:gd name="connsiteX30" fmla="*/ 1474238 w 4965673"/>
              <a:gd name="connsiteY30" fmla="*/ 2518427 h 2618498"/>
              <a:gd name="connsiteX31" fmla="*/ 1368167 w 4965673"/>
              <a:gd name="connsiteY31" fmla="*/ 2611052 h 2618498"/>
              <a:gd name="connsiteX32" fmla="*/ 1287372 w 4965673"/>
              <a:gd name="connsiteY32" fmla="*/ 2615030 h 2618498"/>
              <a:gd name="connsiteX33" fmla="*/ 1253186 w 4965673"/>
              <a:gd name="connsiteY33" fmla="*/ 2557020 h 2618498"/>
              <a:gd name="connsiteX34" fmla="*/ 1144845 w 4965673"/>
              <a:gd name="connsiteY34" fmla="*/ 2557019 h 2618498"/>
              <a:gd name="connsiteX35" fmla="*/ 1066634 w 4965673"/>
              <a:gd name="connsiteY35" fmla="*/ 2520143 h 2618498"/>
              <a:gd name="connsiteX36" fmla="*/ 971499 w 4965673"/>
              <a:gd name="connsiteY36" fmla="*/ 2561354 h 2618498"/>
              <a:gd name="connsiteX37" fmla="*/ 853115 w 4965673"/>
              <a:gd name="connsiteY37" fmla="*/ 2563595 h 2618498"/>
              <a:gd name="connsiteX38" fmla="*/ 794096 w 4965673"/>
              <a:gd name="connsiteY38" fmla="*/ 2607027 h 2618498"/>
              <a:gd name="connsiteX39" fmla="*/ 725894 w 4965673"/>
              <a:gd name="connsiteY39" fmla="*/ 2563596 h 2618498"/>
              <a:gd name="connsiteX40" fmla="*/ 642142 w 4965673"/>
              <a:gd name="connsiteY40" fmla="*/ 2570021 h 2618498"/>
              <a:gd name="connsiteX41" fmla="*/ 566868 w 4965673"/>
              <a:gd name="connsiteY41" fmla="*/ 2539742 h 2618498"/>
              <a:gd name="connsiteX42" fmla="*/ 499077 w 4965673"/>
              <a:gd name="connsiteY42" fmla="*/ 2480027 h 2618498"/>
              <a:gd name="connsiteX43" fmla="*/ 416792 w 4965673"/>
              <a:gd name="connsiteY43" fmla="*/ 2570021 h 2618498"/>
              <a:gd name="connsiteX44" fmla="*/ 282063 w 4965673"/>
              <a:gd name="connsiteY44" fmla="*/ 2607026 h 2618498"/>
              <a:gd name="connsiteX45" fmla="*/ 169775 w 4965673"/>
              <a:gd name="connsiteY45" fmla="*/ 2583022 h 2618498"/>
              <a:gd name="connsiteX46" fmla="*/ 74711 w 4965673"/>
              <a:gd name="connsiteY46" fmla="*/ 2606321 h 2618498"/>
              <a:gd name="connsiteX47" fmla="*/ 12538 w 4965673"/>
              <a:gd name="connsiteY47" fmla="*/ 2475657 h 2618498"/>
              <a:gd name="connsiteX48" fmla="*/ 0 w 4965673"/>
              <a:gd name="connsiteY48" fmla="*/ 0 h 2618498"/>
              <a:gd name="connsiteX0" fmla="*/ 480 w 4966153"/>
              <a:gd name="connsiteY0" fmla="*/ 0 h 2618498"/>
              <a:gd name="connsiteX1" fmla="*/ 4965407 w 4966153"/>
              <a:gd name="connsiteY1" fmla="*/ 6670 h 2618498"/>
              <a:gd name="connsiteX2" fmla="*/ 4965408 w 4966153"/>
              <a:gd name="connsiteY2" fmla="*/ 2475657 h 2618498"/>
              <a:gd name="connsiteX3" fmla="*/ 4906337 w 4966153"/>
              <a:gd name="connsiteY3" fmla="*/ 2575186 h 2618498"/>
              <a:gd name="connsiteX4" fmla="*/ 4774491 w 4966153"/>
              <a:gd name="connsiteY4" fmla="*/ 2605612 h 2618498"/>
              <a:gd name="connsiteX5" fmla="*/ 4581975 w 4966153"/>
              <a:gd name="connsiteY5" fmla="*/ 2517434 h 2618498"/>
              <a:gd name="connsiteX6" fmla="*/ 4412030 w 4966153"/>
              <a:gd name="connsiteY6" fmla="*/ 2567512 h 2618498"/>
              <a:gd name="connsiteX7" fmla="*/ 4221831 w 4966153"/>
              <a:gd name="connsiteY7" fmla="*/ 2538590 h 2618498"/>
              <a:gd name="connsiteX8" fmla="*/ 4009361 w 4966153"/>
              <a:gd name="connsiteY8" fmla="*/ 2522460 h 2618498"/>
              <a:gd name="connsiteX9" fmla="*/ 3849523 w 4966153"/>
              <a:gd name="connsiteY9" fmla="*/ 2405342 h 2618498"/>
              <a:gd name="connsiteX10" fmla="*/ 3702178 w 4966153"/>
              <a:gd name="connsiteY10" fmla="*/ 2440011 h 2618498"/>
              <a:gd name="connsiteX11" fmla="*/ 3588576 w 4966153"/>
              <a:gd name="connsiteY11" fmla="*/ 2518939 h 2618498"/>
              <a:gd name="connsiteX12" fmla="*/ 3524870 w 4966153"/>
              <a:gd name="connsiteY12" fmla="*/ 2459421 h 2618498"/>
              <a:gd name="connsiteX13" fmla="*/ 3377155 w 4966153"/>
              <a:gd name="connsiteY13" fmla="*/ 2518017 h 2618498"/>
              <a:gd name="connsiteX14" fmla="*/ 3275245 w 4966153"/>
              <a:gd name="connsiteY14" fmla="*/ 2504756 h 2618498"/>
              <a:gd name="connsiteX15" fmla="*/ 3173811 w 4966153"/>
              <a:gd name="connsiteY15" fmla="*/ 2514906 h 2618498"/>
              <a:gd name="connsiteX16" fmla="*/ 3082983 w 4966153"/>
              <a:gd name="connsiteY16" fmla="*/ 2433470 h 2618498"/>
              <a:gd name="connsiteX17" fmla="*/ 2983701 w 4966153"/>
              <a:gd name="connsiteY17" fmla="*/ 2451918 h 2618498"/>
              <a:gd name="connsiteX18" fmla="*/ 2848449 w 4966153"/>
              <a:gd name="connsiteY18" fmla="*/ 2327336 h 2618498"/>
              <a:gd name="connsiteX19" fmla="*/ 2759523 w 4966153"/>
              <a:gd name="connsiteY19" fmla="*/ 2362110 h 2618498"/>
              <a:gd name="connsiteX20" fmla="*/ 2722749 w 4966153"/>
              <a:gd name="connsiteY20" fmla="*/ 2417038 h 2618498"/>
              <a:gd name="connsiteX21" fmla="*/ 2653436 w 4966153"/>
              <a:gd name="connsiteY21" fmla="*/ 2466012 h 2618498"/>
              <a:gd name="connsiteX22" fmla="*/ 2542632 w 4966153"/>
              <a:gd name="connsiteY22" fmla="*/ 2514606 h 2618498"/>
              <a:gd name="connsiteX23" fmla="*/ 2397785 w 4966153"/>
              <a:gd name="connsiteY23" fmla="*/ 2481441 h 2618498"/>
              <a:gd name="connsiteX24" fmla="*/ 2313610 w 4966153"/>
              <a:gd name="connsiteY24" fmla="*/ 2512288 h 2618498"/>
              <a:gd name="connsiteX25" fmla="*/ 2111729 w 4966153"/>
              <a:gd name="connsiteY25" fmla="*/ 2444345 h 2618498"/>
              <a:gd name="connsiteX26" fmla="*/ 1955603 w 4966153"/>
              <a:gd name="connsiteY26" fmla="*/ 2462391 h 2618498"/>
              <a:gd name="connsiteX27" fmla="*/ 1888462 w 4966153"/>
              <a:gd name="connsiteY27" fmla="*/ 2506239 h 2618498"/>
              <a:gd name="connsiteX28" fmla="*/ 1704366 w 4966153"/>
              <a:gd name="connsiteY28" fmla="*/ 2505016 h 2618498"/>
              <a:gd name="connsiteX29" fmla="*/ 1600359 w 4966153"/>
              <a:gd name="connsiteY29" fmla="*/ 2427011 h 2618498"/>
              <a:gd name="connsiteX30" fmla="*/ 1474718 w 4966153"/>
              <a:gd name="connsiteY30" fmla="*/ 2518427 h 2618498"/>
              <a:gd name="connsiteX31" fmla="*/ 1368647 w 4966153"/>
              <a:gd name="connsiteY31" fmla="*/ 2611052 h 2618498"/>
              <a:gd name="connsiteX32" fmla="*/ 1287852 w 4966153"/>
              <a:gd name="connsiteY32" fmla="*/ 2615030 h 2618498"/>
              <a:gd name="connsiteX33" fmla="*/ 1253666 w 4966153"/>
              <a:gd name="connsiteY33" fmla="*/ 2557020 h 2618498"/>
              <a:gd name="connsiteX34" fmla="*/ 1145325 w 4966153"/>
              <a:gd name="connsiteY34" fmla="*/ 2557019 h 2618498"/>
              <a:gd name="connsiteX35" fmla="*/ 1067114 w 4966153"/>
              <a:gd name="connsiteY35" fmla="*/ 2520143 h 2618498"/>
              <a:gd name="connsiteX36" fmla="*/ 971979 w 4966153"/>
              <a:gd name="connsiteY36" fmla="*/ 2561354 h 2618498"/>
              <a:gd name="connsiteX37" fmla="*/ 853595 w 4966153"/>
              <a:gd name="connsiteY37" fmla="*/ 2563595 h 2618498"/>
              <a:gd name="connsiteX38" fmla="*/ 794576 w 4966153"/>
              <a:gd name="connsiteY38" fmla="*/ 2607027 h 2618498"/>
              <a:gd name="connsiteX39" fmla="*/ 726374 w 4966153"/>
              <a:gd name="connsiteY39" fmla="*/ 2563596 h 2618498"/>
              <a:gd name="connsiteX40" fmla="*/ 642622 w 4966153"/>
              <a:gd name="connsiteY40" fmla="*/ 2570021 h 2618498"/>
              <a:gd name="connsiteX41" fmla="*/ 567348 w 4966153"/>
              <a:gd name="connsiteY41" fmla="*/ 2539742 h 2618498"/>
              <a:gd name="connsiteX42" fmla="*/ 499557 w 4966153"/>
              <a:gd name="connsiteY42" fmla="*/ 2480027 h 2618498"/>
              <a:gd name="connsiteX43" fmla="*/ 417272 w 4966153"/>
              <a:gd name="connsiteY43" fmla="*/ 2570021 h 2618498"/>
              <a:gd name="connsiteX44" fmla="*/ 282543 w 4966153"/>
              <a:gd name="connsiteY44" fmla="*/ 2607026 h 2618498"/>
              <a:gd name="connsiteX45" fmla="*/ 170255 w 4966153"/>
              <a:gd name="connsiteY45" fmla="*/ 2583022 h 2618498"/>
              <a:gd name="connsiteX46" fmla="*/ 75191 w 4966153"/>
              <a:gd name="connsiteY46" fmla="*/ 2606321 h 2618498"/>
              <a:gd name="connsiteX47" fmla="*/ 13018 w 4966153"/>
              <a:gd name="connsiteY47" fmla="*/ 2475657 h 2618498"/>
              <a:gd name="connsiteX48" fmla="*/ 480 w 4966153"/>
              <a:gd name="connsiteY48" fmla="*/ 0 h 2618498"/>
              <a:gd name="connsiteX0" fmla="*/ 323200 w 5288873"/>
              <a:gd name="connsiteY0" fmla="*/ 80689 h 2699187"/>
              <a:gd name="connsiteX1" fmla="*/ 4735198 w 5288873"/>
              <a:gd name="connsiteY1" fmla="*/ 556511 h 2699187"/>
              <a:gd name="connsiteX2" fmla="*/ 5288128 w 5288873"/>
              <a:gd name="connsiteY2" fmla="*/ 2556346 h 2699187"/>
              <a:gd name="connsiteX3" fmla="*/ 5229057 w 5288873"/>
              <a:gd name="connsiteY3" fmla="*/ 2655875 h 2699187"/>
              <a:gd name="connsiteX4" fmla="*/ 5097211 w 5288873"/>
              <a:gd name="connsiteY4" fmla="*/ 2686301 h 2699187"/>
              <a:gd name="connsiteX5" fmla="*/ 4904695 w 5288873"/>
              <a:gd name="connsiteY5" fmla="*/ 2598123 h 2699187"/>
              <a:gd name="connsiteX6" fmla="*/ 4734750 w 5288873"/>
              <a:gd name="connsiteY6" fmla="*/ 2648201 h 2699187"/>
              <a:gd name="connsiteX7" fmla="*/ 4544551 w 5288873"/>
              <a:gd name="connsiteY7" fmla="*/ 2619279 h 2699187"/>
              <a:gd name="connsiteX8" fmla="*/ 4332081 w 5288873"/>
              <a:gd name="connsiteY8" fmla="*/ 2603149 h 2699187"/>
              <a:gd name="connsiteX9" fmla="*/ 4172243 w 5288873"/>
              <a:gd name="connsiteY9" fmla="*/ 2486031 h 2699187"/>
              <a:gd name="connsiteX10" fmla="*/ 4024898 w 5288873"/>
              <a:gd name="connsiteY10" fmla="*/ 2520700 h 2699187"/>
              <a:gd name="connsiteX11" fmla="*/ 3911296 w 5288873"/>
              <a:gd name="connsiteY11" fmla="*/ 2599628 h 2699187"/>
              <a:gd name="connsiteX12" fmla="*/ 3847590 w 5288873"/>
              <a:gd name="connsiteY12" fmla="*/ 2540110 h 2699187"/>
              <a:gd name="connsiteX13" fmla="*/ 3699875 w 5288873"/>
              <a:gd name="connsiteY13" fmla="*/ 2598706 h 2699187"/>
              <a:gd name="connsiteX14" fmla="*/ 3597965 w 5288873"/>
              <a:gd name="connsiteY14" fmla="*/ 2585445 h 2699187"/>
              <a:gd name="connsiteX15" fmla="*/ 3496531 w 5288873"/>
              <a:gd name="connsiteY15" fmla="*/ 2595595 h 2699187"/>
              <a:gd name="connsiteX16" fmla="*/ 3405703 w 5288873"/>
              <a:gd name="connsiteY16" fmla="*/ 2514159 h 2699187"/>
              <a:gd name="connsiteX17" fmla="*/ 3306421 w 5288873"/>
              <a:gd name="connsiteY17" fmla="*/ 2532607 h 2699187"/>
              <a:gd name="connsiteX18" fmla="*/ 3171169 w 5288873"/>
              <a:gd name="connsiteY18" fmla="*/ 2408025 h 2699187"/>
              <a:gd name="connsiteX19" fmla="*/ 3082243 w 5288873"/>
              <a:gd name="connsiteY19" fmla="*/ 2442799 h 2699187"/>
              <a:gd name="connsiteX20" fmla="*/ 3045469 w 5288873"/>
              <a:gd name="connsiteY20" fmla="*/ 2497727 h 2699187"/>
              <a:gd name="connsiteX21" fmla="*/ 2976156 w 5288873"/>
              <a:gd name="connsiteY21" fmla="*/ 2546701 h 2699187"/>
              <a:gd name="connsiteX22" fmla="*/ 2865352 w 5288873"/>
              <a:gd name="connsiteY22" fmla="*/ 2595295 h 2699187"/>
              <a:gd name="connsiteX23" fmla="*/ 2720505 w 5288873"/>
              <a:gd name="connsiteY23" fmla="*/ 2562130 h 2699187"/>
              <a:gd name="connsiteX24" fmla="*/ 2636330 w 5288873"/>
              <a:gd name="connsiteY24" fmla="*/ 2592977 h 2699187"/>
              <a:gd name="connsiteX25" fmla="*/ 2434449 w 5288873"/>
              <a:gd name="connsiteY25" fmla="*/ 2525034 h 2699187"/>
              <a:gd name="connsiteX26" fmla="*/ 2278323 w 5288873"/>
              <a:gd name="connsiteY26" fmla="*/ 2543080 h 2699187"/>
              <a:gd name="connsiteX27" fmla="*/ 2211182 w 5288873"/>
              <a:gd name="connsiteY27" fmla="*/ 2586928 h 2699187"/>
              <a:gd name="connsiteX28" fmla="*/ 2027086 w 5288873"/>
              <a:gd name="connsiteY28" fmla="*/ 2585705 h 2699187"/>
              <a:gd name="connsiteX29" fmla="*/ 1923079 w 5288873"/>
              <a:gd name="connsiteY29" fmla="*/ 2507700 h 2699187"/>
              <a:gd name="connsiteX30" fmla="*/ 1797438 w 5288873"/>
              <a:gd name="connsiteY30" fmla="*/ 2599116 h 2699187"/>
              <a:gd name="connsiteX31" fmla="*/ 1691367 w 5288873"/>
              <a:gd name="connsiteY31" fmla="*/ 2691741 h 2699187"/>
              <a:gd name="connsiteX32" fmla="*/ 1610572 w 5288873"/>
              <a:gd name="connsiteY32" fmla="*/ 2695719 h 2699187"/>
              <a:gd name="connsiteX33" fmla="*/ 1576386 w 5288873"/>
              <a:gd name="connsiteY33" fmla="*/ 2637709 h 2699187"/>
              <a:gd name="connsiteX34" fmla="*/ 1468045 w 5288873"/>
              <a:gd name="connsiteY34" fmla="*/ 2637708 h 2699187"/>
              <a:gd name="connsiteX35" fmla="*/ 1389834 w 5288873"/>
              <a:gd name="connsiteY35" fmla="*/ 2600832 h 2699187"/>
              <a:gd name="connsiteX36" fmla="*/ 1294699 w 5288873"/>
              <a:gd name="connsiteY36" fmla="*/ 2642043 h 2699187"/>
              <a:gd name="connsiteX37" fmla="*/ 1176315 w 5288873"/>
              <a:gd name="connsiteY37" fmla="*/ 2644284 h 2699187"/>
              <a:gd name="connsiteX38" fmla="*/ 1117296 w 5288873"/>
              <a:gd name="connsiteY38" fmla="*/ 2687716 h 2699187"/>
              <a:gd name="connsiteX39" fmla="*/ 1049094 w 5288873"/>
              <a:gd name="connsiteY39" fmla="*/ 2644285 h 2699187"/>
              <a:gd name="connsiteX40" fmla="*/ 965342 w 5288873"/>
              <a:gd name="connsiteY40" fmla="*/ 2650710 h 2699187"/>
              <a:gd name="connsiteX41" fmla="*/ 890068 w 5288873"/>
              <a:gd name="connsiteY41" fmla="*/ 2620431 h 2699187"/>
              <a:gd name="connsiteX42" fmla="*/ 822277 w 5288873"/>
              <a:gd name="connsiteY42" fmla="*/ 2560716 h 2699187"/>
              <a:gd name="connsiteX43" fmla="*/ 739992 w 5288873"/>
              <a:gd name="connsiteY43" fmla="*/ 2650710 h 2699187"/>
              <a:gd name="connsiteX44" fmla="*/ 605263 w 5288873"/>
              <a:gd name="connsiteY44" fmla="*/ 2687715 h 2699187"/>
              <a:gd name="connsiteX45" fmla="*/ 492975 w 5288873"/>
              <a:gd name="connsiteY45" fmla="*/ 2663711 h 2699187"/>
              <a:gd name="connsiteX46" fmla="*/ 397911 w 5288873"/>
              <a:gd name="connsiteY46" fmla="*/ 2687010 h 2699187"/>
              <a:gd name="connsiteX47" fmla="*/ 335738 w 5288873"/>
              <a:gd name="connsiteY47" fmla="*/ 2556346 h 2699187"/>
              <a:gd name="connsiteX48" fmla="*/ 323200 w 5288873"/>
              <a:gd name="connsiteY48" fmla="*/ 80689 h 2699187"/>
              <a:gd name="connsiteX0" fmla="*/ 364156 w 5329829"/>
              <a:gd name="connsiteY0" fmla="*/ 183515 h 2802013"/>
              <a:gd name="connsiteX1" fmla="*/ 5329083 w 5329829"/>
              <a:gd name="connsiteY1" fmla="*/ 184600 h 2802013"/>
              <a:gd name="connsiteX2" fmla="*/ 5329084 w 5329829"/>
              <a:gd name="connsiteY2" fmla="*/ 2659172 h 2802013"/>
              <a:gd name="connsiteX3" fmla="*/ 5270013 w 5329829"/>
              <a:gd name="connsiteY3" fmla="*/ 2758701 h 2802013"/>
              <a:gd name="connsiteX4" fmla="*/ 5138167 w 5329829"/>
              <a:gd name="connsiteY4" fmla="*/ 2789127 h 2802013"/>
              <a:gd name="connsiteX5" fmla="*/ 4945651 w 5329829"/>
              <a:gd name="connsiteY5" fmla="*/ 2700949 h 2802013"/>
              <a:gd name="connsiteX6" fmla="*/ 4775706 w 5329829"/>
              <a:gd name="connsiteY6" fmla="*/ 2751027 h 2802013"/>
              <a:gd name="connsiteX7" fmla="*/ 4585507 w 5329829"/>
              <a:gd name="connsiteY7" fmla="*/ 2722105 h 2802013"/>
              <a:gd name="connsiteX8" fmla="*/ 4373037 w 5329829"/>
              <a:gd name="connsiteY8" fmla="*/ 2705975 h 2802013"/>
              <a:gd name="connsiteX9" fmla="*/ 4213199 w 5329829"/>
              <a:gd name="connsiteY9" fmla="*/ 2588857 h 2802013"/>
              <a:gd name="connsiteX10" fmla="*/ 4065854 w 5329829"/>
              <a:gd name="connsiteY10" fmla="*/ 2623526 h 2802013"/>
              <a:gd name="connsiteX11" fmla="*/ 3952252 w 5329829"/>
              <a:gd name="connsiteY11" fmla="*/ 2702454 h 2802013"/>
              <a:gd name="connsiteX12" fmla="*/ 3888546 w 5329829"/>
              <a:gd name="connsiteY12" fmla="*/ 2642936 h 2802013"/>
              <a:gd name="connsiteX13" fmla="*/ 3740831 w 5329829"/>
              <a:gd name="connsiteY13" fmla="*/ 2701532 h 2802013"/>
              <a:gd name="connsiteX14" fmla="*/ 3638921 w 5329829"/>
              <a:gd name="connsiteY14" fmla="*/ 2688271 h 2802013"/>
              <a:gd name="connsiteX15" fmla="*/ 3537487 w 5329829"/>
              <a:gd name="connsiteY15" fmla="*/ 2698421 h 2802013"/>
              <a:gd name="connsiteX16" fmla="*/ 3446659 w 5329829"/>
              <a:gd name="connsiteY16" fmla="*/ 2616985 h 2802013"/>
              <a:gd name="connsiteX17" fmla="*/ 3347377 w 5329829"/>
              <a:gd name="connsiteY17" fmla="*/ 2635433 h 2802013"/>
              <a:gd name="connsiteX18" fmla="*/ 3212125 w 5329829"/>
              <a:gd name="connsiteY18" fmla="*/ 2510851 h 2802013"/>
              <a:gd name="connsiteX19" fmla="*/ 3123199 w 5329829"/>
              <a:gd name="connsiteY19" fmla="*/ 2545625 h 2802013"/>
              <a:gd name="connsiteX20" fmla="*/ 3086425 w 5329829"/>
              <a:gd name="connsiteY20" fmla="*/ 2600553 h 2802013"/>
              <a:gd name="connsiteX21" fmla="*/ 3017112 w 5329829"/>
              <a:gd name="connsiteY21" fmla="*/ 2649527 h 2802013"/>
              <a:gd name="connsiteX22" fmla="*/ 2906308 w 5329829"/>
              <a:gd name="connsiteY22" fmla="*/ 2698121 h 2802013"/>
              <a:gd name="connsiteX23" fmla="*/ 2761461 w 5329829"/>
              <a:gd name="connsiteY23" fmla="*/ 2664956 h 2802013"/>
              <a:gd name="connsiteX24" fmla="*/ 2677286 w 5329829"/>
              <a:gd name="connsiteY24" fmla="*/ 2695803 h 2802013"/>
              <a:gd name="connsiteX25" fmla="*/ 2475405 w 5329829"/>
              <a:gd name="connsiteY25" fmla="*/ 2627860 h 2802013"/>
              <a:gd name="connsiteX26" fmla="*/ 2319279 w 5329829"/>
              <a:gd name="connsiteY26" fmla="*/ 2645906 h 2802013"/>
              <a:gd name="connsiteX27" fmla="*/ 2252138 w 5329829"/>
              <a:gd name="connsiteY27" fmla="*/ 2689754 h 2802013"/>
              <a:gd name="connsiteX28" fmla="*/ 2068042 w 5329829"/>
              <a:gd name="connsiteY28" fmla="*/ 2688531 h 2802013"/>
              <a:gd name="connsiteX29" fmla="*/ 1964035 w 5329829"/>
              <a:gd name="connsiteY29" fmla="*/ 2610526 h 2802013"/>
              <a:gd name="connsiteX30" fmla="*/ 1838394 w 5329829"/>
              <a:gd name="connsiteY30" fmla="*/ 2701942 h 2802013"/>
              <a:gd name="connsiteX31" fmla="*/ 1732323 w 5329829"/>
              <a:gd name="connsiteY31" fmla="*/ 2794567 h 2802013"/>
              <a:gd name="connsiteX32" fmla="*/ 1651528 w 5329829"/>
              <a:gd name="connsiteY32" fmla="*/ 2798545 h 2802013"/>
              <a:gd name="connsiteX33" fmla="*/ 1617342 w 5329829"/>
              <a:gd name="connsiteY33" fmla="*/ 2740535 h 2802013"/>
              <a:gd name="connsiteX34" fmla="*/ 1509001 w 5329829"/>
              <a:gd name="connsiteY34" fmla="*/ 2740534 h 2802013"/>
              <a:gd name="connsiteX35" fmla="*/ 1430790 w 5329829"/>
              <a:gd name="connsiteY35" fmla="*/ 2703658 h 2802013"/>
              <a:gd name="connsiteX36" fmla="*/ 1335655 w 5329829"/>
              <a:gd name="connsiteY36" fmla="*/ 2744869 h 2802013"/>
              <a:gd name="connsiteX37" fmla="*/ 1217271 w 5329829"/>
              <a:gd name="connsiteY37" fmla="*/ 2747110 h 2802013"/>
              <a:gd name="connsiteX38" fmla="*/ 1158252 w 5329829"/>
              <a:gd name="connsiteY38" fmla="*/ 2790542 h 2802013"/>
              <a:gd name="connsiteX39" fmla="*/ 1090050 w 5329829"/>
              <a:gd name="connsiteY39" fmla="*/ 2747111 h 2802013"/>
              <a:gd name="connsiteX40" fmla="*/ 1006298 w 5329829"/>
              <a:gd name="connsiteY40" fmla="*/ 2753536 h 2802013"/>
              <a:gd name="connsiteX41" fmla="*/ 931024 w 5329829"/>
              <a:gd name="connsiteY41" fmla="*/ 2723257 h 2802013"/>
              <a:gd name="connsiteX42" fmla="*/ 863233 w 5329829"/>
              <a:gd name="connsiteY42" fmla="*/ 2663542 h 2802013"/>
              <a:gd name="connsiteX43" fmla="*/ 780948 w 5329829"/>
              <a:gd name="connsiteY43" fmla="*/ 2753536 h 2802013"/>
              <a:gd name="connsiteX44" fmla="*/ 646219 w 5329829"/>
              <a:gd name="connsiteY44" fmla="*/ 2790541 h 2802013"/>
              <a:gd name="connsiteX45" fmla="*/ 533931 w 5329829"/>
              <a:gd name="connsiteY45" fmla="*/ 2766537 h 2802013"/>
              <a:gd name="connsiteX46" fmla="*/ 438867 w 5329829"/>
              <a:gd name="connsiteY46" fmla="*/ 2789836 h 2802013"/>
              <a:gd name="connsiteX47" fmla="*/ 376694 w 5329829"/>
              <a:gd name="connsiteY47" fmla="*/ 2659172 h 2802013"/>
              <a:gd name="connsiteX48" fmla="*/ 364156 w 5329829"/>
              <a:gd name="connsiteY48" fmla="*/ 183515 h 2802013"/>
              <a:gd name="connsiteX0" fmla="*/ 364156 w 5329829"/>
              <a:gd name="connsiteY0" fmla="*/ 181056 h 2799554"/>
              <a:gd name="connsiteX1" fmla="*/ 5329083 w 5329829"/>
              <a:gd name="connsiteY1" fmla="*/ 182141 h 2799554"/>
              <a:gd name="connsiteX2" fmla="*/ 5329084 w 5329829"/>
              <a:gd name="connsiteY2" fmla="*/ 2656713 h 2799554"/>
              <a:gd name="connsiteX3" fmla="*/ 5270013 w 5329829"/>
              <a:gd name="connsiteY3" fmla="*/ 2756242 h 2799554"/>
              <a:gd name="connsiteX4" fmla="*/ 5138167 w 5329829"/>
              <a:gd name="connsiteY4" fmla="*/ 2786668 h 2799554"/>
              <a:gd name="connsiteX5" fmla="*/ 4945651 w 5329829"/>
              <a:gd name="connsiteY5" fmla="*/ 2698490 h 2799554"/>
              <a:gd name="connsiteX6" fmla="*/ 4775706 w 5329829"/>
              <a:gd name="connsiteY6" fmla="*/ 2748568 h 2799554"/>
              <a:gd name="connsiteX7" fmla="*/ 4585507 w 5329829"/>
              <a:gd name="connsiteY7" fmla="*/ 2719646 h 2799554"/>
              <a:gd name="connsiteX8" fmla="*/ 4373037 w 5329829"/>
              <a:gd name="connsiteY8" fmla="*/ 2703516 h 2799554"/>
              <a:gd name="connsiteX9" fmla="*/ 4213199 w 5329829"/>
              <a:gd name="connsiteY9" fmla="*/ 2586398 h 2799554"/>
              <a:gd name="connsiteX10" fmla="*/ 4065854 w 5329829"/>
              <a:gd name="connsiteY10" fmla="*/ 2621067 h 2799554"/>
              <a:gd name="connsiteX11" fmla="*/ 3952252 w 5329829"/>
              <a:gd name="connsiteY11" fmla="*/ 2699995 h 2799554"/>
              <a:gd name="connsiteX12" fmla="*/ 3888546 w 5329829"/>
              <a:gd name="connsiteY12" fmla="*/ 2640477 h 2799554"/>
              <a:gd name="connsiteX13" fmla="*/ 3740831 w 5329829"/>
              <a:gd name="connsiteY13" fmla="*/ 2699073 h 2799554"/>
              <a:gd name="connsiteX14" fmla="*/ 3638921 w 5329829"/>
              <a:gd name="connsiteY14" fmla="*/ 2685812 h 2799554"/>
              <a:gd name="connsiteX15" fmla="*/ 3537487 w 5329829"/>
              <a:gd name="connsiteY15" fmla="*/ 2695962 h 2799554"/>
              <a:gd name="connsiteX16" fmla="*/ 3446659 w 5329829"/>
              <a:gd name="connsiteY16" fmla="*/ 2614526 h 2799554"/>
              <a:gd name="connsiteX17" fmla="*/ 3347377 w 5329829"/>
              <a:gd name="connsiteY17" fmla="*/ 2632974 h 2799554"/>
              <a:gd name="connsiteX18" fmla="*/ 3212125 w 5329829"/>
              <a:gd name="connsiteY18" fmla="*/ 2508392 h 2799554"/>
              <a:gd name="connsiteX19" fmla="*/ 3123199 w 5329829"/>
              <a:gd name="connsiteY19" fmla="*/ 2543166 h 2799554"/>
              <a:gd name="connsiteX20" fmla="*/ 3086425 w 5329829"/>
              <a:gd name="connsiteY20" fmla="*/ 2598094 h 2799554"/>
              <a:gd name="connsiteX21" fmla="*/ 3017112 w 5329829"/>
              <a:gd name="connsiteY21" fmla="*/ 2647068 h 2799554"/>
              <a:gd name="connsiteX22" fmla="*/ 2906308 w 5329829"/>
              <a:gd name="connsiteY22" fmla="*/ 2695662 h 2799554"/>
              <a:gd name="connsiteX23" fmla="*/ 2761461 w 5329829"/>
              <a:gd name="connsiteY23" fmla="*/ 2662497 h 2799554"/>
              <a:gd name="connsiteX24" fmla="*/ 2677286 w 5329829"/>
              <a:gd name="connsiteY24" fmla="*/ 2693344 h 2799554"/>
              <a:gd name="connsiteX25" fmla="*/ 2475405 w 5329829"/>
              <a:gd name="connsiteY25" fmla="*/ 2625401 h 2799554"/>
              <a:gd name="connsiteX26" fmla="*/ 2319279 w 5329829"/>
              <a:gd name="connsiteY26" fmla="*/ 2643447 h 2799554"/>
              <a:gd name="connsiteX27" fmla="*/ 2252138 w 5329829"/>
              <a:gd name="connsiteY27" fmla="*/ 2687295 h 2799554"/>
              <a:gd name="connsiteX28" fmla="*/ 2068042 w 5329829"/>
              <a:gd name="connsiteY28" fmla="*/ 2686072 h 2799554"/>
              <a:gd name="connsiteX29" fmla="*/ 1964035 w 5329829"/>
              <a:gd name="connsiteY29" fmla="*/ 2608067 h 2799554"/>
              <a:gd name="connsiteX30" fmla="*/ 1838394 w 5329829"/>
              <a:gd name="connsiteY30" fmla="*/ 2699483 h 2799554"/>
              <a:gd name="connsiteX31" fmla="*/ 1732323 w 5329829"/>
              <a:gd name="connsiteY31" fmla="*/ 2792108 h 2799554"/>
              <a:gd name="connsiteX32" fmla="*/ 1651528 w 5329829"/>
              <a:gd name="connsiteY32" fmla="*/ 2796086 h 2799554"/>
              <a:gd name="connsiteX33" fmla="*/ 1617342 w 5329829"/>
              <a:gd name="connsiteY33" fmla="*/ 2738076 h 2799554"/>
              <a:gd name="connsiteX34" fmla="*/ 1509001 w 5329829"/>
              <a:gd name="connsiteY34" fmla="*/ 2738075 h 2799554"/>
              <a:gd name="connsiteX35" fmla="*/ 1430790 w 5329829"/>
              <a:gd name="connsiteY35" fmla="*/ 2701199 h 2799554"/>
              <a:gd name="connsiteX36" fmla="*/ 1335655 w 5329829"/>
              <a:gd name="connsiteY36" fmla="*/ 2742410 h 2799554"/>
              <a:gd name="connsiteX37" fmla="*/ 1217271 w 5329829"/>
              <a:gd name="connsiteY37" fmla="*/ 2744651 h 2799554"/>
              <a:gd name="connsiteX38" fmla="*/ 1158252 w 5329829"/>
              <a:gd name="connsiteY38" fmla="*/ 2788083 h 2799554"/>
              <a:gd name="connsiteX39" fmla="*/ 1090050 w 5329829"/>
              <a:gd name="connsiteY39" fmla="*/ 2744652 h 2799554"/>
              <a:gd name="connsiteX40" fmla="*/ 1006298 w 5329829"/>
              <a:gd name="connsiteY40" fmla="*/ 2751077 h 2799554"/>
              <a:gd name="connsiteX41" fmla="*/ 931024 w 5329829"/>
              <a:gd name="connsiteY41" fmla="*/ 2720798 h 2799554"/>
              <a:gd name="connsiteX42" fmla="*/ 863233 w 5329829"/>
              <a:gd name="connsiteY42" fmla="*/ 2661083 h 2799554"/>
              <a:gd name="connsiteX43" fmla="*/ 780948 w 5329829"/>
              <a:gd name="connsiteY43" fmla="*/ 2751077 h 2799554"/>
              <a:gd name="connsiteX44" fmla="*/ 646219 w 5329829"/>
              <a:gd name="connsiteY44" fmla="*/ 2788082 h 2799554"/>
              <a:gd name="connsiteX45" fmla="*/ 533931 w 5329829"/>
              <a:gd name="connsiteY45" fmla="*/ 2764078 h 2799554"/>
              <a:gd name="connsiteX46" fmla="*/ 438867 w 5329829"/>
              <a:gd name="connsiteY46" fmla="*/ 2787377 h 2799554"/>
              <a:gd name="connsiteX47" fmla="*/ 376694 w 5329829"/>
              <a:gd name="connsiteY47" fmla="*/ 2656713 h 2799554"/>
              <a:gd name="connsiteX48" fmla="*/ 364156 w 5329829"/>
              <a:gd name="connsiteY48" fmla="*/ 181056 h 2799554"/>
              <a:gd name="connsiteX0" fmla="*/ 364156 w 5329829"/>
              <a:gd name="connsiteY0" fmla="*/ 181056 h 2799554"/>
              <a:gd name="connsiteX1" fmla="*/ 5329083 w 5329829"/>
              <a:gd name="connsiteY1" fmla="*/ 182141 h 2799554"/>
              <a:gd name="connsiteX2" fmla="*/ 5329084 w 5329829"/>
              <a:gd name="connsiteY2" fmla="*/ 2656713 h 2799554"/>
              <a:gd name="connsiteX3" fmla="*/ 5270013 w 5329829"/>
              <a:gd name="connsiteY3" fmla="*/ 2756242 h 2799554"/>
              <a:gd name="connsiteX4" fmla="*/ 5138167 w 5329829"/>
              <a:gd name="connsiteY4" fmla="*/ 2786668 h 2799554"/>
              <a:gd name="connsiteX5" fmla="*/ 4945651 w 5329829"/>
              <a:gd name="connsiteY5" fmla="*/ 2698490 h 2799554"/>
              <a:gd name="connsiteX6" fmla="*/ 4775706 w 5329829"/>
              <a:gd name="connsiteY6" fmla="*/ 2748568 h 2799554"/>
              <a:gd name="connsiteX7" fmla="*/ 4585507 w 5329829"/>
              <a:gd name="connsiteY7" fmla="*/ 2719646 h 2799554"/>
              <a:gd name="connsiteX8" fmla="*/ 4373037 w 5329829"/>
              <a:gd name="connsiteY8" fmla="*/ 2703516 h 2799554"/>
              <a:gd name="connsiteX9" fmla="*/ 4213199 w 5329829"/>
              <a:gd name="connsiteY9" fmla="*/ 2586398 h 2799554"/>
              <a:gd name="connsiteX10" fmla="*/ 4065854 w 5329829"/>
              <a:gd name="connsiteY10" fmla="*/ 2621067 h 2799554"/>
              <a:gd name="connsiteX11" fmla="*/ 3952252 w 5329829"/>
              <a:gd name="connsiteY11" fmla="*/ 2699995 h 2799554"/>
              <a:gd name="connsiteX12" fmla="*/ 3888546 w 5329829"/>
              <a:gd name="connsiteY12" fmla="*/ 2640477 h 2799554"/>
              <a:gd name="connsiteX13" fmla="*/ 3740831 w 5329829"/>
              <a:gd name="connsiteY13" fmla="*/ 2699073 h 2799554"/>
              <a:gd name="connsiteX14" fmla="*/ 3638921 w 5329829"/>
              <a:gd name="connsiteY14" fmla="*/ 2685812 h 2799554"/>
              <a:gd name="connsiteX15" fmla="*/ 3537487 w 5329829"/>
              <a:gd name="connsiteY15" fmla="*/ 2695962 h 2799554"/>
              <a:gd name="connsiteX16" fmla="*/ 3446659 w 5329829"/>
              <a:gd name="connsiteY16" fmla="*/ 2614526 h 2799554"/>
              <a:gd name="connsiteX17" fmla="*/ 3347377 w 5329829"/>
              <a:gd name="connsiteY17" fmla="*/ 2632974 h 2799554"/>
              <a:gd name="connsiteX18" fmla="*/ 3212125 w 5329829"/>
              <a:gd name="connsiteY18" fmla="*/ 2508392 h 2799554"/>
              <a:gd name="connsiteX19" fmla="*/ 3123199 w 5329829"/>
              <a:gd name="connsiteY19" fmla="*/ 2543166 h 2799554"/>
              <a:gd name="connsiteX20" fmla="*/ 3086425 w 5329829"/>
              <a:gd name="connsiteY20" fmla="*/ 2598094 h 2799554"/>
              <a:gd name="connsiteX21" fmla="*/ 3017112 w 5329829"/>
              <a:gd name="connsiteY21" fmla="*/ 2647068 h 2799554"/>
              <a:gd name="connsiteX22" fmla="*/ 2906308 w 5329829"/>
              <a:gd name="connsiteY22" fmla="*/ 2695662 h 2799554"/>
              <a:gd name="connsiteX23" fmla="*/ 2761461 w 5329829"/>
              <a:gd name="connsiteY23" fmla="*/ 2662497 h 2799554"/>
              <a:gd name="connsiteX24" fmla="*/ 2677286 w 5329829"/>
              <a:gd name="connsiteY24" fmla="*/ 2693344 h 2799554"/>
              <a:gd name="connsiteX25" fmla="*/ 2475405 w 5329829"/>
              <a:gd name="connsiteY25" fmla="*/ 2625401 h 2799554"/>
              <a:gd name="connsiteX26" fmla="*/ 2319279 w 5329829"/>
              <a:gd name="connsiteY26" fmla="*/ 2643447 h 2799554"/>
              <a:gd name="connsiteX27" fmla="*/ 2252138 w 5329829"/>
              <a:gd name="connsiteY27" fmla="*/ 2687295 h 2799554"/>
              <a:gd name="connsiteX28" fmla="*/ 2068042 w 5329829"/>
              <a:gd name="connsiteY28" fmla="*/ 2686072 h 2799554"/>
              <a:gd name="connsiteX29" fmla="*/ 1964035 w 5329829"/>
              <a:gd name="connsiteY29" fmla="*/ 2608067 h 2799554"/>
              <a:gd name="connsiteX30" fmla="*/ 1838394 w 5329829"/>
              <a:gd name="connsiteY30" fmla="*/ 2699483 h 2799554"/>
              <a:gd name="connsiteX31" fmla="*/ 1732323 w 5329829"/>
              <a:gd name="connsiteY31" fmla="*/ 2792108 h 2799554"/>
              <a:gd name="connsiteX32" fmla="*/ 1651528 w 5329829"/>
              <a:gd name="connsiteY32" fmla="*/ 2796086 h 2799554"/>
              <a:gd name="connsiteX33" fmla="*/ 1617342 w 5329829"/>
              <a:gd name="connsiteY33" fmla="*/ 2738076 h 2799554"/>
              <a:gd name="connsiteX34" fmla="*/ 1509001 w 5329829"/>
              <a:gd name="connsiteY34" fmla="*/ 2738075 h 2799554"/>
              <a:gd name="connsiteX35" fmla="*/ 1430790 w 5329829"/>
              <a:gd name="connsiteY35" fmla="*/ 2701199 h 2799554"/>
              <a:gd name="connsiteX36" fmla="*/ 1335655 w 5329829"/>
              <a:gd name="connsiteY36" fmla="*/ 2742410 h 2799554"/>
              <a:gd name="connsiteX37" fmla="*/ 1217271 w 5329829"/>
              <a:gd name="connsiteY37" fmla="*/ 2744651 h 2799554"/>
              <a:gd name="connsiteX38" fmla="*/ 1158252 w 5329829"/>
              <a:gd name="connsiteY38" fmla="*/ 2788083 h 2799554"/>
              <a:gd name="connsiteX39" fmla="*/ 1090050 w 5329829"/>
              <a:gd name="connsiteY39" fmla="*/ 2744652 h 2799554"/>
              <a:gd name="connsiteX40" fmla="*/ 1006298 w 5329829"/>
              <a:gd name="connsiteY40" fmla="*/ 2751077 h 2799554"/>
              <a:gd name="connsiteX41" fmla="*/ 931024 w 5329829"/>
              <a:gd name="connsiteY41" fmla="*/ 2720798 h 2799554"/>
              <a:gd name="connsiteX42" fmla="*/ 863233 w 5329829"/>
              <a:gd name="connsiteY42" fmla="*/ 2661083 h 2799554"/>
              <a:gd name="connsiteX43" fmla="*/ 780948 w 5329829"/>
              <a:gd name="connsiteY43" fmla="*/ 2751077 h 2799554"/>
              <a:gd name="connsiteX44" fmla="*/ 646219 w 5329829"/>
              <a:gd name="connsiteY44" fmla="*/ 2788082 h 2799554"/>
              <a:gd name="connsiteX45" fmla="*/ 533931 w 5329829"/>
              <a:gd name="connsiteY45" fmla="*/ 2764078 h 2799554"/>
              <a:gd name="connsiteX46" fmla="*/ 438867 w 5329829"/>
              <a:gd name="connsiteY46" fmla="*/ 2787377 h 2799554"/>
              <a:gd name="connsiteX47" fmla="*/ 376694 w 5329829"/>
              <a:gd name="connsiteY47" fmla="*/ 2656713 h 2799554"/>
              <a:gd name="connsiteX48" fmla="*/ 364156 w 5329829"/>
              <a:gd name="connsiteY48" fmla="*/ 181056 h 2799554"/>
              <a:gd name="connsiteX0" fmla="*/ 7 w 4965680"/>
              <a:gd name="connsiteY0" fmla="*/ 192 h 2618690"/>
              <a:gd name="connsiteX1" fmla="*/ 4964934 w 4965680"/>
              <a:gd name="connsiteY1" fmla="*/ 1277 h 2618690"/>
              <a:gd name="connsiteX2" fmla="*/ 4964935 w 4965680"/>
              <a:gd name="connsiteY2" fmla="*/ 2475849 h 2618690"/>
              <a:gd name="connsiteX3" fmla="*/ 4905864 w 4965680"/>
              <a:gd name="connsiteY3" fmla="*/ 2575378 h 2618690"/>
              <a:gd name="connsiteX4" fmla="*/ 4774018 w 4965680"/>
              <a:gd name="connsiteY4" fmla="*/ 2605804 h 2618690"/>
              <a:gd name="connsiteX5" fmla="*/ 4581502 w 4965680"/>
              <a:gd name="connsiteY5" fmla="*/ 2517626 h 2618690"/>
              <a:gd name="connsiteX6" fmla="*/ 4411557 w 4965680"/>
              <a:gd name="connsiteY6" fmla="*/ 2567704 h 2618690"/>
              <a:gd name="connsiteX7" fmla="*/ 4221358 w 4965680"/>
              <a:gd name="connsiteY7" fmla="*/ 2538782 h 2618690"/>
              <a:gd name="connsiteX8" fmla="*/ 4008888 w 4965680"/>
              <a:gd name="connsiteY8" fmla="*/ 2522652 h 2618690"/>
              <a:gd name="connsiteX9" fmla="*/ 3849050 w 4965680"/>
              <a:gd name="connsiteY9" fmla="*/ 2405534 h 2618690"/>
              <a:gd name="connsiteX10" fmla="*/ 3701705 w 4965680"/>
              <a:gd name="connsiteY10" fmla="*/ 2440203 h 2618690"/>
              <a:gd name="connsiteX11" fmla="*/ 3588103 w 4965680"/>
              <a:gd name="connsiteY11" fmla="*/ 2519131 h 2618690"/>
              <a:gd name="connsiteX12" fmla="*/ 3524397 w 4965680"/>
              <a:gd name="connsiteY12" fmla="*/ 2459613 h 2618690"/>
              <a:gd name="connsiteX13" fmla="*/ 3376682 w 4965680"/>
              <a:gd name="connsiteY13" fmla="*/ 2518209 h 2618690"/>
              <a:gd name="connsiteX14" fmla="*/ 3274772 w 4965680"/>
              <a:gd name="connsiteY14" fmla="*/ 2504948 h 2618690"/>
              <a:gd name="connsiteX15" fmla="*/ 3173338 w 4965680"/>
              <a:gd name="connsiteY15" fmla="*/ 2515098 h 2618690"/>
              <a:gd name="connsiteX16" fmla="*/ 3082510 w 4965680"/>
              <a:gd name="connsiteY16" fmla="*/ 2433662 h 2618690"/>
              <a:gd name="connsiteX17" fmla="*/ 2983228 w 4965680"/>
              <a:gd name="connsiteY17" fmla="*/ 2452110 h 2618690"/>
              <a:gd name="connsiteX18" fmla="*/ 2847976 w 4965680"/>
              <a:gd name="connsiteY18" fmla="*/ 2327528 h 2618690"/>
              <a:gd name="connsiteX19" fmla="*/ 2759050 w 4965680"/>
              <a:gd name="connsiteY19" fmla="*/ 2362302 h 2618690"/>
              <a:gd name="connsiteX20" fmla="*/ 2722276 w 4965680"/>
              <a:gd name="connsiteY20" fmla="*/ 2417230 h 2618690"/>
              <a:gd name="connsiteX21" fmla="*/ 2652963 w 4965680"/>
              <a:gd name="connsiteY21" fmla="*/ 2466204 h 2618690"/>
              <a:gd name="connsiteX22" fmla="*/ 2542159 w 4965680"/>
              <a:gd name="connsiteY22" fmla="*/ 2514798 h 2618690"/>
              <a:gd name="connsiteX23" fmla="*/ 2397312 w 4965680"/>
              <a:gd name="connsiteY23" fmla="*/ 2481633 h 2618690"/>
              <a:gd name="connsiteX24" fmla="*/ 2313137 w 4965680"/>
              <a:gd name="connsiteY24" fmla="*/ 2512480 h 2618690"/>
              <a:gd name="connsiteX25" fmla="*/ 2111256 w 4965680"/>
              <a:gd name="connsiteY25" fmla="*/ 2444537 h 2618690"/>
              <a:gd name="connsiteX26" fmla="*/ 1955130 w 4965680"/>
              <a:gd name="connsiteY26" fmla="*/ 2462583 h 2618690"/>
              <a:gd name="connsiteX27" fmla="*/ 1887989 w 4965680"/>
              <a:gd name="connsiteY27" fmla="*/ 2506431 h 2618690"/>
              <a:gd name="connsiteX28" fmla="*/ 1703893 w 4965680"/>
              <a:gd name="connsiteY28" fmla="*/ 2505208 h 2618690"/>
              <a:gd name="connsiteX29" fmla="*/ 1599886 w 4965680"/>
              <a:gd name="connsiteY29" fmla="*/ 2427203 h 2618690"/>
              <a:gd name="connsiteX30" fmla="*/ 1474245 w 4965680"/>
              <a:gd name="connsiteY30" fmla="*/ 2518619 h 2618690"/>
              <a:gd name="connsiteX31" fmla="*/ 1368174 w 4965680"/>
              <a:gd name="connsiteY31" fmla="*/ 2611244 h 2618690"/>
              <a:gd name="connsiteX32" fmla="*/ 1287379 w 4965680"/>
              <a:gd name="connsiteY32" fmla="*/ 2615222 h 2618690"/>
              <a:gd name="connsiteX33" fmla="*/ 1253193 w 4965680"/>
              <a:gd name="connsiteY33" fmla="*/ 2557212 h 2618690"/>
              <a:gd name="connsiteX34" fmla="*/ 1144852 w 4965680"/>
              <a:gd name="connsiteY34" fmla="*/ 2557211 h 2618690"/>
              <a:gd name="connsiteX35" fmla="*/ 1066641 w 4965680"/>
              <a:gd name="connsiteY35" fmla="*/ 2520335 h 2618690"/>
              <a:gd name="connsiteX36" fmla="*/ 971506 w 4965680"/>
              <a:gd name="connsiteY36" fmla="*/ 2561546 h 2618690"/>
              <a:gd name="connsiteX37" fmla="*/ 853122 w 4965680"/>
              <a:gd name="connsiteY37" fmla="*/ 2563787 h 2618690"/>
              <a:gd name="connsiteX38" fmla="*/ 794103 w 4965680"/>
              <a:gd name="connsiteY38" fmla="*/ 2607219 h 2618690"/>
              <a:gd name="connsiteX39" fmla="*/ 725901 w 4965680"/>
              <a:gd name="connsiteY39" fmla="*/ 2563788 h 2618690"/>
              <a:gd name="connsiteX40" fmla="*/ 642149 w 4965680"/>
              <a:gd name="connsiteY40" fmla="*/ 2570213 h 2618690"/>
              <a:gd name="connsiteX41" fmla="*/ 566875 w 4965680"/>
              <a:gd name="connsiteY41" fmla="*/ 2539934 h 2618690"/>
              <a:gd name="connsiteX42" fmla="*/ 499084 w 4965680"/>
              <a:gd name="connsiteY42" fmla="*/ 2480219 h 2618690"/>
              <a:gd name="connsiteX43" fmla="*/ 416799 w 4965680"/>
              <a:gd name="connsiteY43" fmla="*/ 2570213 h 2618690"/>
              <a:gd name="connsiteX44" fmla="*/ 282070 w 4965680"/>
              <a:gd name="connsiteY44" fmla="*/ 2607218 h 2618690"/>
              <a:gd name="connsiteX45" fmla="*/ 169782 w 4965680"/>
              <a:gd name="connsiteY45" fmla="*/ 2583214 h 2618690"/>
              <a:gd name="connsiteX46" fmla="*/ 74718 w 4965680"/>
              <a:gd name="connsiteY46" fmla="*/ 2606513 h 2618690"/>
              <a:gd name="connsiteX47" fmla="*/ 12545 w 4965680"/>
              <a:gd name="connsiteY47" fmla="*/ 2475849 h 2618690"/>
              <a:gd name="connsiteX48" fmla="*/ 7 w 4965680"/>
              <a:gd name="connsiteY48" fmla="*/ 192 h 2618690"/>
              <a:gd name="connsiteX0" fmla="*/ 7 w 4965680"/>
              <a:gd name="connsiteY0" fmla="*/ 192 h 2618690"/>
              <a:gd name="connsiteX1" fmla="*/ 4964934 w 4965680"/>
              <a:gd name="connsiteY1" fmla="*/ 1277 h 2618690"/>
              <a:gd name="connsiteX2" fmla="*/ 4964935 w 4965680"/>
              <a:gd name="connsiteY2" fmla="*/ 2475849 h 2618690"/>
              <a:gd name="connsiteX3" fmla="*/ 4905864 w 4965680"/>
              <a:gd name="connsiteY3" fmla="*/ 2575378 h 2618690"/>
              <a:gd name="connsiteX4" fmla="*/ 4774018 w 4965680"/>
              <a:gd name="connsiteY4" fmla="*/ 2605804 h 2618690"/>
              <a:gd name="connsiteX5" fmla="*/ 4581502 w 4965680"/>
              <a:gd name="connsiteY5" fmla="*/ 2517626 h 2618690"/>
              <a:gd name="connsiteX6" fmla="*/ 4411557 w 4965680"/>
              <a:gd name="connsiteY6" fmla="*/ 2567704 h 2618690"/>
              <a:gd name="connsiteX7" fmla="*/ 4221358 w 4965680"/>
              <a:gd name="connsiteY7" fmla="*/ 2538782 h 2618690"/>
              <a:gd name="connsiteX8" fmla="*/ 4008888 w 4965680"/>
              <a:gd name="connsiteY8" fmla="*/ 2522652 h 2618690"/>
              <a:gd name="connsiteX9" fmla="*/ 3849050 w 4965680"/>
              <a:gd name="connsiteY9" fmla="*/ 2405534 h 2618690"/>
              <a:gd name="connsiteX10" fmla="*/ 3701705 w 4965680"/>
              <a:gd name="connsiteY10" fmla="*/ 2440203 h 2618690"/>
              <a:gd name="connsiteX11" fmla="*/ 3588103 w 4965680"/>
              <a:gd name="connsiteY11" fmla="*/ 2519131 h 2618690"/>
              <a:gd name="connsiteX12" fmla="*/ 3524397 w 4965680"/>
              <a:gd name="connsiteY12" fmla="*/ 2459613 h 2618690"/>
              <a:gd name="connsiteX13" fmla="*/ 3376682 w 4965680"/>
              <a:gd name="connsiteY13" fmla="*/ 2518209 h 2618690"/>
              <a:gd name="connsiteX14" fmla="*/ 3274772 w 4965680"/>
              <a:gd name="connsiteY14" fmla="*/ 2504948 h 2618690"/>
              <a:gd name="connsiteX15" fmla="*/ 3173338 w 4965680"/>
              <a:gd name="connsiteY15" fmla="*/ 2515098 h 2618690"/>
              <a:gd name="connsiteX16" fmla="*/ 3082510 w 4965680"/>
              <a:gd name="connsiteY16" fmla="*/ 2433662 h 2618690"/>
              <a:gd name="connsiteX17" fmla="*/ 2983228 w 4965680"/>
              <a:gd name="connsiteY17" fmla="*/ 2452110 h 2618690"/>
              <a:gd name="connsiteX18" fmla="*/ 2847976 w 4965680"/>
              <a:gd name="connsiteY18" fmla="*/ 2327528 h 2618690"/>
              <a:gd name="connsiteX19" fmla="*/ 2759050 w 4965680"/>
              <a:gd name="connsiteY19" fmla="*/ 2362302 h 2618690"/>
              <a:gd name="connsiteX20" fmla="*/ 2722276 w 4965680"/>
              <a:gd name="connsiteY20" fmla="*/ 2417230 h 2618690"/>
              <a:gd name="connsiteX21" fmla="*/ 2652963 w 4965680"/>
              <a:gd name="connsiteY21" fmla="*/ 2466204 h 2618690"/>
              <a:gd name="connsiteX22" fmla="*/ 2542159 w 4965680"/>
              <a:gd name="connsiteY22" fmla="*/ 2514798 h 2618690"/>
              <a:gd name="connsiteX23" fmla="*/ 2397312 w 4965680"/>
              <a:gd name="connsiteY23" fmla="*/ 2481633 h 2618690"/>
              <a:gd name="connsiteX24" fmla="*/ 2313137 w 4965680"/>
              <a:gd name="connsiteY24" fmla="*/ 2512480 h 2618690"/>
              <a:gd name="connsiteX25" fmla="*/ 2111256 w 4965680"/>
              <a:gd name="connsiteY25" fmla="*/ 2444537 h 2618690"/>
              <a:gd name="connsiteX26" fmla="*/ 1955130 w 4965680"/>
              <a:gd name="connsiteY26" fmla="*/ 2462583 h 2618690"/>
              <a:gd name="connsiteX27" fmla="*/ 1887989 w 4965680"/>
              <a:gd name="connsiteY27" fmla="*/ 2506431 h 2618690"/>
              <a:gd name="connsiteX28" fmla="*/ 1703893 w 4965680"/>
              <a:gd name="connsiteY28" fmla="*/ 2505208 h 2618690"/>
              <a:gd name="connsiteX29" fmla="*/ 1599886 w 4965680"/>
              <a:gd name="connsiteY29" fmla="*/ 2427203 h 2618690"/>
              <a:gd name="connsiteX30" fmla="*/ 1474245 w 4965680"/>
              <a:gd name="connsiteY30" fmla="*/ 2518619 h 2618690"/>
              <a:gd name="connsiteX31" fmla="*/ 1368174 w 4965680"/>
              <a:gd name="connsiteY31" fmla="*/ 2611244 h 2618690"/>
              <a:gd name="connsiteX32" fmla="*/ 1287379 w 4965680"/>
              <a:gd name="connsiteY32" fmla="*/ 2615222 h 2618690"/>
              <a:gd name="connsiteX33" fmla="*/ 1253193 w 4965680"/>
              <a:gd name="connsiteY33" fmla="*/ 2557212 h 2618690"/>
              <a:gd name="connsiteX34" fmla="*/ 1144852 w 4965680"/>
              <a:gd name="connsiteY34" fmla="*/ 2557211 h 2618690"/>
              <a:gd name="connsiteX35" fmla="*/ 1066641 w 4965680"/>
              <a:gd name="connsiteY35" fmla="*/ 2520335 h 2618690"/>
              <a:gd name="connsiteX36" fmla="*/ 971506 w 4965680"/>
              <a:gd name="connsiteY36" fmla="*/ 2561546 h 2618690"/>
              <a:gd name="connsiteX37" fmla="*/ 853122 w 4965680"/>
              <a:gd name="connsiteY37" fmla="*/ 2563787 h 2618690"/>
              <a:gd name="connsiteX38" fmla="*/ 794103 w 4965680"/>
              <a:gd name="connsiteY38" fmla="*/ 2607219 h 2618690"/>
              <a:gd name="connsiteX39" fmla="*/ 725901 w 4965680"/>
              <a:gd name="connsiteY39" fmla="*/ 2563788 h 2618690"/>
              <a:gd name="connsiteX40" fmla="*/ 642149 w 4965680"/>
              <a:gd name="connsiteY40" fmla="*/ 2570213 h 2618690"/>
              <a:gd name="connsiteX41" fmla="*/ 566875 w 4965680"/>
              <a:gd name="connsiteY41" fmla="*/ 2539934 h 2618690"/>
              <a:gd name="connsiteX42" fmla="*/ 499084 w 4965680"/>
              <a:gd name="connsiteY42" fmla="*/ 2480219 h 2618690"/>
              <a:gd name="connsiteX43" fmla="*/ 416799 w 4965680"/>
              <a:gd name="connsiteY43" fmla="*/ 2570213 h 2618690"/>
              <a:gd name="connsiteX44" fmla="*/ 282070 w 4965680"/>
              <a:gd name="connsiteY44" fmla="*/ 2607218 h 2618690"/>
              <a:gd name="connsiteX45" fmla="*/ 169782 w 4965680"/>
              <a:gd name="connsiteY45" fmla="*/ 2583214 h 2618690"/>
              <a:gd name="connsiteX46" fmla="*/ 74718 w 4965680"/>
              <a:gd name="connsiteY46" fmla="*/ 2606513 h 2618690"/>
              <a:gd name="connsiteX47" fmla="*/ 12545 w 4965680"/>
              <a:gd name="connsiteY47" fmla="*/ 2475849 h 2618690"/>
              <a:gd name="connsiteX48" fmla="*/ 7 w 4965680"/>
              <a:gd name="connsiteY48" fmla="*/ 192 h 2618690"/>
              <a:gd name="connsiteX0" fmla="*/ 7 w 4965680"/>
              <a:gd name="connsiteY0" fmla="*/ 0 h 2618498"/>
              <a:gd name="connsiteX1" fmla="*/ 4964934 w 4965680"/>
              <a:gd name="connsiteY1" fmla="*/ 1085 h 2618498"/>
              <a:gd name="connsiteX2" fmla="*/ 4964935 w 4965680"/>
              <a:gd name="connsiteY2" fmla="*/ 2475657 h 2618498"/>
              <a:gd name="connsiteX3" fmla="*/ 4905864 w 4965680"/>
              <a:gd name="connsiteY3" fmla="*/ 2575186 h 2618498"/>
              <a:gd name="connsiteX4" fmla="*/ 4774018 w 4965680"/>
              <a:gd name="connsiteY4" fmla="*/ 2605612 h 2618498"/>
              <a:gd name="connsiteX5" fmla="*/ 4581502 w 4965680"/>
              <a:gd name="connsiteY5" fmla="*/ 2517434 h 2618498"/>
              <a:gd name="connsiteX6" fmla="*/ 4411557 w 4965680"/>
              <a:gd name="connsiteY6" fmla="*/ 2567512 h 2618498"/>
              <a:gd name="connsiteX7" fmla="*/ 4221358 w 4965680"/>
              <a:gd name="connsiteY7" fmla="*/ 2538590 h 2618498"/>
              <a:gd name="connsiteX8" fmla="*/ 4008888 w 4965680"/>
              <a:gd name="connsiteY8" fmla="*/ 2522460 h 2618498"/>
              <a:gd name="connsiteX9" fmla="*/ 3849050 w 4965680"/>
              <a:gd name="connsiteY9" fmla="*/ 2405342 h 2618498"/>
              <a:gd name="connsiteX10" fmla="*/ 3701705 w 4965680"/>
              <a:gd name="connsiteY10" fmla="*/ 2440011 h 2618498"/>
              <a:gd name="connsiteX11" fmla="*/ 3588103 w 4965680"/>
              <a:gd name="connsiteY11" fmla="*/ 2518939 h 2618498"/>
              <a:gd name="connsiteX12" fmla="*/ 3524397 w 4965680"/>
              <a:gd name="connsiteY12" fmla="*/ 2459421 h 2618498"/>
              <a:gd name="connsiteX13" fmla="*/ 3376682 w 4965680"/>
              <a:gd name="connsiteY13" fmla="*/ 2518017 h 2618498"/>
              <a:gd name="connsiteX14" fmla="*/ 3274772 w 4965680"/>
              <a:gd name="connsiteY14" fmla="*/ 2504756 h 2618498"/>
              <a:gd name="connsiteX15" fmla="*/ 3173338 w 4965680"/>
              <a:gd name="connsiteY15" fmla="*/ 2514906 h 2618498"/>
              <a:gd name="connsiteX16" fmla="*/ 3082510 w 4965680"/>
              <a:gd name="connsiteY16" fmla="*/ 2433470 h 2618498"/>
              <a:gd name="connsiteX17" fmla="*/ 2983228 w 4965680"/>
              <a:gd name="connsiteY17" fmla="*/ 2451918 h 2618498"/>
              <a:gd name="connsiteX18" fmla="*/ 2847976 w 4965680"/>
              <a:gd name="connsiteY18" fmla="*/ 2327336 h 2618498"/>
              <a:gd name="connsiteX19" fmla="*/ 2759050 w 4965680"/>
              <a:gd name="connsiteY19" fmla="*/ 2362110 h 2618498"/>
              <a:gd name="connsiteX20" fmla="*/ 2722276 w 4965680"/>
              <a:gd name="connsiteY20" fmla="*/ 2417038 h 2618498"/>
              <a:gd name="connsiteX21" fmla="*/ 2652963 w 4965680"/>
              <a:gd name="connsiteY21" fmla="*/ 2466012 h 2618498"/>
              <a:gd name="connsiteX22" fmla="*/ 2542159 w 4965680"/>
              <a:gd name="connsiteY22" fmla="*/ 2514606 h 2618498"/>
              <a:gd name="connsiteX23" fmla="*/ 2397312 w 4965680"/>
              <a:gd name="connsiteY23" fmla="*/ 2481441 h 2618498"/>
              <a:gd name="connsiteX24" fmla="*/ 2313137 w 4965680"/>
              <a:gd name="connsiteY24" fmla="*/ 2512288 h 2618498"/>
              <a:gd name="connsiteX25" fmla="*/ 2111256 w 4965680"/>
              <a:gd name="connsiteY25" fmla="*/ 2444345 h 2618498"/>
              <a:gd name="connsiteX26" fmla="*/ 1955130 w 4965680"/>
              <a:gd name="connsiteY26" fmla="*/ 2462391 h 2618498"/>
              <a:gd name="connsiteX27" fmla="*/ 1887989 w 4965680"/>
              <a:gd name="connsiteY27" fmla="*/ 2506239 h 2618498"/>
              <a:gd name="connsiteX28" fmla="*/ 1703893 w 4965680"/>
              <a:gd name="connsiteY28" fmla="*/ 2505016 h 2618498"/>
              <a:gd name="connsiteX29" fmla="*/ 1599886 w 4965680"/>
              <a:gd name="connsiteY29" fmla="*/ 2427011 h 2618498"/>
              <a:gd name="connsiteX30" fmla="*/ 1474245 w 4965680"/>
              <a:gd name="connsiteY30" fmla="*/ 2518427 h 2618498"/>
              <a:gd name="connsiteX31" fmla="*/ 1368174 w 4965680"/>
              <a:gd name="connsiteY31" fmla="*/ 2611052 h 2618498"/>
              <a:gd name="connsiteX32" fmla="*/ 1287379 w 4965680"/>
              <a:gd name="connsiteY32" fmla="*/ 2615030 h 2618498"/>
              <a:gd name="connsiteX33" fmla="*/ 1253193 w 4965680"/>
              <a:gd name="connsiteY33" fmla="*/ 2557020 h 2618498"/>
              <a:gd name="connsiteX34" fmla="*/ 1144852 w 4965680"/>
              <a:gd name="connsiteY34" fmla="*/ 2557019 h 2618498"/>
              <a:gd name="connsiteX35" fmla="*/ 1066641 w 4965680"/>
              <a:gd name="connsiteY35" fmla="*/ 2520143 h 2618498"/>
              <a:gd name="connsiteX36" fmla="*/ 971506 w 4965680"/>
              <a:gd name="connsiteY36" fmla="*/ 2561354 h 2618498"/>
              <a:gd name="connsiteX37" fmla="*/ 853122 w 4965680"/>
              <a:gd name="connsiteY37" fmla="*/ 2563595 h 2618498"/>
              <a:gd name="connsiteX38" fmla="*/ 794103 w 4965680"/>
              <a:gd name="connsiteY38" fmla="*/ 2607027 h 2618498"/>
              <a:gd name="connsiteX39" fmla="*/ 725901 w 4965680"/>
              <a:gd name="connsiteY39" fmla="*/ 2563596 h 2618498"/>
              <a:gd name="connsiteX40" fmla="*/ 642149 w 4965680"/>
              <a:gd name="connsiteY40" fmla="*/ 2570021 h 2618498"/>
              <a:gd name="connsiteX41" fmla="*/ 566875 w 4965680"/>
              <a:gd name="connsiteY41" fmla="*/ 2539742 h 2618498"/>
              <a:gd name="connsiteX42" fmla="*/ 499084 w 4965680"/>
              <a:gd name="connsiteY42" fmla="*/ 2480027 h 2618498"/>
              <a:gd name="connsiteX43" fmla="*/ 416799 w 4965680"/>
              <a:gd name="connsiteY43" fmla="*/ 2570021 h 2618498"/>
              <a:gd name="connsiteX44" fmla="*/ 282070 w 4965680"/>
              <a:gd name="connsiteY44" fmla="*/ 2607026 h 2618498"/>
              <a:gd name="connsiteX45" fmla="*/ 169782 w 4965680"/>
              <a:gd name="connsiteY45" fmla="*/ 2583022 h 2618498"/>
              <a:gd name="connsiteX46" fmla="*/ 74718 w 4965680"/>
              <a:gd name="connsiteY46" fmla="*/ 2606321 h 2618498"/>
              <a:gd name="connsiteX47" fmla="*/ 12545 w 4965680"/>
              <a:gd name="connsiteY47" fmla="*/ 2475657 h 2618498"/>
              <a:gd name="connsiteX48" fmla="*/ 7 w 4965680"/>
              <a:gd name="connsiteY48" fmla="*/ 0 h 2618498"/>
              <a:gd name="connsiteX0" fmla="*/ 0 w 4965673"/>
              <a:gd name="connsiteY0" fmla="*/ 128934 h 2747432"/>
              <a:gd name="connsiteX1" fmla="*/ 4964927 w 4965673"/>
              <a:gd name="connsiteY1" fmla="*/ 130019 h 2747432"/>
              <a:gd name="connsiteX2" fmla="*/ 4964928 w 4965673"/>
              <a:gd name="connsiteY2" fmla="*/ 2604591 h 2747432"/>
              <a:gd name="connsiteX3" fmla="*/ 4905857 w 4965673"/>
              <a:gd name="connsiteY3" fmla="*/ 2704120 h 2747432"/>
              <a:gd name="connsiteX4" fmla="*/ 4774011 w 4965673"/>
              <a:gd name="connsiteY4" fmla="*/ 2734546 h 2747432"/>
              <a:gd name="connsiteX5" fmla="*/ 4581495 w 4965673"/>
              <a:gd name="connsiteY5" fmla="*/ 2646368 h 2747432"/>
              <a:gd name="connsiteX6" fmla="*/ 4411550 w 4965673"/>
              <a:gd name="connsiteY6" fmla="*/ 2696446 h 2747432"/>
              <a:gd name="connsiteX7" fmla="*/ 4221351 w 4965673"/>
              <a:gd name="connsiteY7" fmla="*/ 2667524 h 2747432"/>
              <a:gd name="connsiteX8" fmla="*/ 4008881 w 4965673"/>
              <a:gd name="connsiteY8" fmla="*/ 2651394 h 2747432"/>
              <a:gd name="connsiteX9" fmla="*/ 3849043 w 4965673"/>
              <a:gd name="connsiteY9" fmla="*/ 2534276 h 2747432"/>
              <a:gd name="connsiteX10" fmla="*/ 3701698 w 4965673"/>
              <a:gd name="connsiteY10" fmla="*/ 2568945 h 2747432"/>
              <a:gd name="connsiteX11" fmla="*/ 3588096 w 4965673"/>
              <a:gd name="connsiteY11" fmla="*/ 2647873 h 2747432"/>
              <a:gd name="connsiteX12" fmla="*/ 3524390 w 4965673"/>
              <a:gd name="connsiteY12" fmla="*/ 2588355 h 2747432"/>
              <a:gd name="connsiteX13" fmla="*/ 3376675 w 4965673"/>
              <a:gd name="connsiteY13" fmla="*/ 2646951 h 2747432"/>
              <a:gd name="connsiteX14" fmla="*/ 3274765 w 4965673"/>
              <a:gd name="connsiteY14" fmla="*/ 2633690 h 2747432"/>
              <a:gd name="connsiteX15" fmla="*/ 3173331 w 4965673"/>
              <a:gd name="connsiteY15" fmla="*/ 2643840 h 2747432"/>
              <a:gd name="connsiteX16" fmla="*/ 3082503 w 4965673"/>
              <a:gd name="connsiteY16" fmla="*/ 2562404 h 2747432"/>
              <a:gd name="connsiteX17" fmla="*/ 2983221 w 4965673"/>
              <a:gd name="connsiteY17" fmla="*/ 2580852 h 2747432"/>
              <a:gd name="connsiteX18" fmla="*/ 2847969 w 4965673"/>
              <a:gd name="connsiteY18" fmla="*/ 2456270 h 2747432"/>
              <a:gd name="connsiteX19" fmla="*/ 2759043 w 4965673"/>
              <a:gd name="connsiteY19" fmla="*/ 2491044 h 2747432"/>
              <a:gd name="connsiteX20" fmla="*/ 2722269 w 4965673"/>
              <a:gd name="connsiteY20" fmla="*/ 2545972 h 2747432"/>
              <a:gd name="connsiteX21" fmla="*/ 2652956 w 4965673"/>
              <a:gd name="connsiteY21" fmla="*/ 2594946 h 2747432"/>
              <a:gd name="connsiteX22" fmla="*/ 2542152 w 4965673"/>
              <a:gd name="connsiteY22" fmla="*/ 2643540 h 2747432"/>
              <a:gd name="connsiteX23" fmla="*/ 2397305 w 4965673"/>
              <a:gd name="connsiteY23" fmla="*/ 2610375 h 2747432"/>
              <a:gd name="connsiteX24" fmla="*/ 2313130 w 4965673"/>
              <a:gd name="connsiteY24" fmla="*/ 2641222 h 2747432"/>
              <a:gd name="connsiteX25" fmla="*/ 2111249 w 4965673"/>
              <a:gd name="connsiteY25" fmla="*/ 2573279 h 2747432"/>
              <a:gd name="connsiteX26" fmla="*/ 1955123 w 4965673"/>
              <a:gd name="connsiteY26" fmla="*/ 2591325 h 2747432"/>
              <a:gd name="connsiteX27" fmla="*/ 1887982 w 4965673"/>
              <a:gd name="connsiteY27" fmla="*/ 2635173 h 2747432"/>
              <a:gd name="connsiteX28" fmla="*/ 1703886 w 4965673"/>
              <a:gd name="connsiteY28" fmla="*/ 2633950 h 2747432"/>
              <a:gd name="connsiteX29" fmla="*/ 1599879 w 4965673"/>
              <a:gd name="connsiteY29" fmla="*/ 2555945 h 2747432"/>
              <a:gd name="connsiteX30" fmla="*/ 1474238 w 4965673"/>
              <a:gd name="connsiteY30" fmla="*/ 2647361 h 2747432"/>
              <a:gd name="connsiteX31" fmla="*/ 1368167 w 4965673"/>
              <a:gd name="connsiteY31" fmla="*/ 2739986 h 2747432"/>
              <a:gd name="connsiteX32" fmla="*/ 1287372 w 4965673"/>
              <a:gd name="connsiteY32" fmla="*/ 2743964 h 2747432"/>
              <a:gd name="connsiteX33" fmla="*/ 1253186 w 4965673"/>
              <a:gd name="connsiteY33" fmla="*/ 2685954 h 2747432"/>
              <a:gd name="connsiteX34" fmla="*/ 1144845 w 4965673"/>
              <a:gd name="connsiteY34" fmla="*/ 2685953 h 2747432"/>
              <a:gd name="connsiteX35" fmla="*/ 1066634 w 4965673"/>
              <a:gd name="connsiteY35" fmla="*/ 2649077 h 2747432"/>
              <a:gd name="connsiteX36" fmla="*/ 971499 w 4965673"/>
              <a:gd name="connsiteY36" fmla="*/ 2690288 h 2747432"/>
              <a:gd name="connsiteX37" fmla="*/ 853115 w 4965673"/>
              <a:gd name="connsiteY37" fmla="*/ 2692529 h 2747432"/>
              <a:gd name="connsiteX38" fmla="*/ 794096 w 4965673"/>
              <a:gd name="connsiteY38" fmla="*/ 2735961 h 2747432"/>
              <a:gd name="connsiteX39" fmla="*/ 725894 w 4965673"/>
              <a:gd name="connsiteY39" fmla="*/ 2692530 h 2747432"/>
              <a:gd name="connsiteX40" fmla="*/ 642142 w 4965673"/>
              <a:gd name="connsiteY40" fmla="*/ 2698955 h 2747432"/>
              <a:gd name="connsiteX41" fmla="*/ 566868 w 4965673"/>
              <a:gd name="connsiteY41" fmla="*/ 2668676 h 2747432"/>
              <a:gd name="connsiteX42" fmla="*/ 499077 w 4965673"/>
              <a:gd name="connsiteY42" fmla="*/ 2608961 h 2747432"/>
              <a:gd name="connsiteX43" fmla="*/ 416792 w 4965673"/>
              <a:gd name="connsiteY43" fmla="*/ 2698955 h 2747432"/>
              <a:gd name="connsiteX44" fmla="*/ 282063 w 4965673"/>
              <a:gd name="connsiteY44" fmla="*/ 2735960 h 2747432"/>
              <a:gd name="connsiteX45" fmla="*/ 169775 w 4965673"/>
              <a:gd name="connsiteY45" fmla="*/ 2711956 h 2747432"/>
              <a:gd name="connsiteX46" fmla="*/ 74711 w 4965673"/>
              <a:gd name="connsiteY46" fmla="*/ 2735255 h 2747432"/>
              <a:gd name="connsiteX47" fmla="*/ 12538 w 4965673"/>
              <a:gd name="connsiteY47" fmla="*/ 2604591 h 2747432"/>
              <a:gd name="connsiteX48" fmla="*/ 0 w 4965673"/>
              <a:gd name="connsiteY48" fmla="*/ 128934 h 2747432"/>
              <a:gd name="connsiteX0" fmla="*/ 0 w 4965673"/>
              <a:gd name="connsiteY0" fmla="*/ 0 h 2618498"/>
              <a:gd name="connsiteX1" fmla="*/ 4964927 w 4965673"/>
              <a:gd name="connsiteY1" fmla="*/ 1085 h 2618498"/>
              <a:gd name="connsiteX2" fmla="*/ 4964928 w 4965673"/>
              <a:gd name="connsiteY2" fmla="*/ 2475657 h 2618498"/>
              <a:gd name="connsiteX3" fmla="*/ 4905857 w 4965673"/>
              <a:gd name="connsiteY3" fmla="*/ 2575186 h 2618498"/>
              <a:gd name="connsiteX4" fmla="*/ 4774011 w 4965673"/>
              <a:gd name="connsiteY4" fmla="*/ 2605612 h 2618498"/>
              <a:gd name="connsiteX5" fmla="*/ 4581495 w 4965673"/>
              <a:gd name="connsiteY5" fmla="*/ 2517434 h 2618498"/>
              <a:gd name="connsiteX6" fmla="*/ 4411550 w 4965673"/>
              <a:gd name="connsiteY6" fmla="*/ 2567512 h 2618498"/>
              <a:gd name="connsiteX7" fmla="*/ 4221351 w 4965673"/>
              <a:gd name="connsiteY7" fmla="*/ 2538590 h 2618498"/>
              <a:gd name="connsiteX8" fmla="*/ 4008881 w 4965673"/>
              <a:gd name="connsiteY8" fmla="*/ 2522460 h 2618498"/>
              <a:gd name="connsiteX9" fmla="*/ 3849043 w 4965673"/>
              <a:gd name="connsiteY9" fmla="*/ 2405342 h 2618498"/>
              <a:gd name="connsiteX10" fmla="*/ 3701698 w 4965673"/>
              <a:gd name="connsiteY10" fmla="*/ 2440011 h 2618498"/>
              <a:gd name="connsiteX11" fmla="*/ 3588096 w 4965673"/>
              <a:gd name="connsiteY11" fmla="*/ 2518939 h 2618498"/>
              <a:gd name="connsiteX12" fmla="*/ 3524390 w 4965673"/>
              <a:gd name="connsiteY12" fmla="*/ 2459421 h 2618498"/>
              <a:gd name="connsiteX13" fmla="*/ 3376675 w 4965673"/>
              <a:gd name="connsiteY13" fmla="*/ 2518017 h 2618498"/>
              <a:gd name="connsiteX14" fmla="*/ 3274765 w 4965673"/>
              <a:gd name="connsiteY14" fmla="*/ 2504756 h 2618498"/>
              <a:gd name="connsiteX15" fmla="*/ 3173331 w 4965673"/>
              <a:gd name="connsiteY15" fmla="*/ 2514906 h 2618498"/>
              <a:gd name="connsiteX16" fmla="*/ 3082503 w 4965673"/>
              <a:gd name="connsiteY16" fmla="*/ 2433470 h 2618498"/>
              <a:gd name="connsiteX17" fmla="*/ 2983221 w 4965673"/>
              <a:gd name="connsiteY17" fmla="*/ 2451918 h 2618498"/>
              <a:gd name="connsiteX18" fmla="*/ 2847969 w 4965673"/>
              <a:gd name="connsiteY18" fmla="*/ 2327336 h 2618498"/>
              <a:gd name="connsiteX19" fmla="*/ 2759043 w 4965673"/>
              <a:gd name="connsiteY19" fmla="*/ 2362110 h 2618498"/>
              <a:gd name="connsiteX20" fmla="*/ 2722269 w 4965673"/>
              <a:gd name="connsiteY20" fmla="*/ 2417038 h 2618498"/>
              <a:gd name="connsiteX21" fmla="*/ 2652956 w 4965673"/>
              <a:gd name="connsiteY21" fmla="*/ 2466012 h 2618498"/>
              <a:gd name="connsiteX22" fmla="*/ 2542152 w 4965673"/>
              <a:gd name="connsiteY22" fmla="*/ 2514606 h 2618498"/>
              <a:gd name="connsiteX23" fmla="*/ 2397305 w 4965673"/>
              <a:gd name="connsiteY23" fmla="*/ 2481441 h 2618498"/>
              <a:gd name="connsiteX24" fmla="*/ 2313130 w 4965673"/>
              <a:gd name="connsiteY24" fmla="*/ 2512288 h 2618498"/>
              <a:gd name="connsiteX25" fmla="*/ 2111249 w 4965673"/>
              <a:gd name="connsiteY25" fmla="*/ 2444345 h 2618498"/>
              <a:gd name="connsiteX26" fmla="*/ 1955123 w 4965673"/>
              <a:gd name="connsiteY26" fmla="*/ 2462391 h 2618498"/>
              <a:gd name="connsiteX27" fmla="*/ 1887982 w 4965673"/>
              <a:gd name="connsiteY27" fmla="*/ 2506239 h 2618498"/>
              <a:gd name="connsiteX28" fmla="*/ 1703886 w 4965673"/>
              <a:gd name="connsiteY28" fmla="*/ 2505016 h 2618498"/>
              <a:gd name="connsiteX29" fmla="*/ 1599879 w 4965673"/>
              <a:gd name="connsiteY29" fmla="*/ 2427011 h 2618498"/>
              <a:gd name="connsiteX30" fmla="*/ 1474238 w 4965673"/>
              <a:gd name="connsiteY30" fmla="*/ 2518427 h 2618498"/>
              <a:gd name="connsiteX31" fmla="*/ 1368167 w 4965673"/>
              <a:gd name="connsiteY31" fmla="*/ 2611052 h 2618498"/>
              <a:gd name="connsiteX32" fmla="*/ 1287372 w 4965673"/>
              <a:gd name="connsiteY32" fmla="*/ 2615030 h 2618498"/>
              <a:gd name="connsiteX33" fmla="*/ 1253186 w 4965673"/>
              <a:gd name="connsiteY33" fmla="*/ 2557020 h 2618498"/>
              <a:gd name="connsiteX34" fmla="*/ 1144845 w 4965673"/>
              <a:gd name="connsiteY34" fmla="*/ 2557019 h 2618498"/>
              <a:gd name="connsiteX35" fmla="*/ 1066634 w 4965673"/>
              <a:gd name="connsiteY35" fmla="*/ 2520143 h 2618498"/>
              <a:gd name="connsiteX36" fmla="*/ 971499 w 4965673"/>
              <a:gd name="connsiteY36" fmla="*/ 2561354 h 2618498"/>
              <a:gd name="connsiteX37" fmla="*/ 853115 w 4965673"/>
              <a:gd name="connsiteY37" fmla="*/ 2563595 h 2618498"/>
              <a:gd name="connsiteX38" fmla="*/ 794096 w 4965673"/>
              <a:gd name="connsiteY38" fmla="*/ 2607027 h 2618498"/>
              <a:gd name="connsiteX39" fmla="*/ 725894 w 4965673"/>
              <a:gd name="connsiteY39" fmla="*/ 2563596 h 2618498"/>
              <a:gd name="connsiteX40" fmla="*/ 642142 w 4965673"/>
              <a:gd name="connsiteY40" fmla="*/ 2570021 h 2618498"/>
              <a:gd name="connsiteX41" fmla="*/ 566868 w 4965673"/>
              <a:gd name="connsiteY41" fmla="*/ 2539742 h 2618498"/>
              <a:gd name="connsiteX42" fmla="*/ 499077 w 4965673"/>
              <a:gd name="connsiteY42" fmla="*/ 2480027 h 2618498"/>
              <a:gd name="connsiteX43" fmla="*/ 416792 w 4965673"/>
              <a:gd name="connsiteY43" fmla="*/ 2570021 h 2618498"/>
              <a:gd name="connsiteX44" fmla="*/ 282063 w 4965673"/>
              <a:gd name="connsiteY44" fmla="*/ 2607026 h 2618498"/>
              <a:gd name="connsiteX45" fmla="*/ 169775 w 4965673"/>
              <a:gd name="connsiteY45" fmla="*/ 2583022 h 2618498"/>
              <a:gd name="connsiteX46" fmla="*/ 74711 w 4965673"/>
              <a:gd name="connsiteY46" fmla="*/ 2606321 h 2618498"/>
              <a:gd name="connsiteX47" fmla="*/ 12538 w 4965673"/>
              <a:gd name="connsiteY47" fmla="*/ 2475657 h 2618498"/>
              <a:gd name="connsiteX48" fmla="*/ 0 w 4965673"/>
              <a:gd name="connsiteY48" fmla="*/ 0 h 2618498"/>
              <a:gd name="connsiteX0" fmla="*/ 2759 w 4968432"/>
              <a:gd name="connsiteY0" fmla="*/ 0 h 2618498"/>
              <a:gd name="connsiteX1" fmla="*/ 4967686 w 4968432"/>
              <a:gd name="connsiteY1" fmla="*/ 1085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4968432"/>
              <a:gd name="connsiteY0" fmla="*/ 0 h 2618498"/>
              <a:gd name="connsiteX1" fmla="*/ 4788963 w 4968432"/>
              <a:gd name="connsiteY1" fmla="*/ 224491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4973271"/>
              <a:gd name="connsiteY0" fmla="*/ 0 h 2618498"/>
              <a:gd name="connsiteX1" fmla="*/ 4973271 w 4973271"/>
              <a:gd name="connsiteY1" fmla="*/ 12258 h 2618498"/>
              <a:gd name="connsiteX2" fmla="*/ 4967687 w 4973271"/>
              <a:gd name="connsiteY2" fmla="*/ 2475657 h 2618498"/>
              <a:gd name="connsiteX3" fmla="*/ 4908616 w 4973271"/>
              <a:gd name="connsiteY3" fmla="*/ 2575186 h 2618498"/>
              <a:gd name="connsiteX4" fmla="*/ 4776770 w 4973271"/>
              <a:gd name="connsiteY4" fmla="*/ 2605612 h 2618498"/>
              <a:gd name="connsiteX5" fmla="*/ 4584254 w 4973271"/>
              <a:gd name="connsiteY5" fmla="*/ 2517434 h 2618498"/>
              <a:gd name="connsiteX6" fmla="*/ 4414309 w 4973271"/>
              <a:gd name="connsiteY6" fmla="*/ 2567512 h 2618498"/>
              <a:gd name="connsiteX7" fmla="*/ 4224110 w 4973271"/>
              <a:gd name="connsiteY7" fmla="*/ 2538590 h 2618498"/>
              <a:gd name="connsiteX8" fmla="*/ 4011640 w 4973271"/>
              <a:gd name="connsiteY8" fmla="*/ 2522460 h 2618498"/>
              <a:gd name="connsiteX9" fmla="*/ 3851802 w 4973271"/>
              <a:gd name="connsiteY9" fmla="*/ 2405342 h 2618498"/>
              <a:gd name="connsiteX10" fmla="*/ 3704457 w 4973271"/>
              <a:gd name="connsiteY10" fmla="*/ 2440011 h 2618498"/>
              <a:gd name="connsiteX11" fmla="*/ 3590855 w 4973271"/>
              <a:gd name="connsiteY11" fmla="*/ 2518939 h 2618498"/>
              <a:gd name="connsiteX12" fmla="*/ 3527149 w 4973271"/>
              <a:gd name="connsiteY12" fmla="*/ 2459421 h 2618498"/>
              <a:gd name="connsiteX13" fmla="*/ 3379434 w 4973271"/>
              <a:gd name="connsiteY13" fmla="*/ 2518017 h 2618498"/>
              <a:gd name="connsiteX14" fmla="*/ 3277524 w 4973271"/>
              <a:gd name="connsiteY14" fmla="*/ 2504756 h 2618498"/>
              <a:gd name="connsiteX15" fmla="*/ 3176090 w 4973271"/>
              <a:gd name="connsiteY15" fmla="*/ 2514906 h 2618498"/>
              <a:gd name="connsiteX16" fmla="*/ 3085262 w 4973271"/>
              <a:gd name="connsiteY16" fmla="*/ 2433470 h 2618498"/>
              <a:gd name="connsiteX17" fmla="*/ 2985980 w 4973271"/>
              <a:gd name="connsiteY17" fmla="*/ 2451918 h 2618498"/>
              <a:gd name="connsiteX18" fmla="*/ 2850728 w 4973271"/>
              <a:gd name="connsiteY18" fmla="*/ 2327336 h 2618498"/>
              <a:gd name="connsiteX19" fmla="*/ 2761802 w 4973271"/>
              <a:gd name="connsiteY19" fmla="*/ 2362110 h 2618498"/>
              <a:gd name="connsiteX20" fmla="*/ 2725028 w 4973271"/>
              <a:gd name="connsiteY20" fmla="*/ 2417038 h 2618498"/>
              <a:gd name="connsiteX21" fmla="*/ 2655715 w 4973271"/>
              <a:gd name="connsiteY21" fmla="*/ 2466012 h 2618498"/>
              <a:gd name="connsiteX22" fmla="*/ 2544911 w 4973271"/>
              <a:gd name="connsiteY22" fmla="*/ 2514606 h 2618498"/>
              <a:gd name="connsiteX23" fmla="*/ 2400064 w 4973271"/>
              <a:gd name="connsiteY23" fmla="*/ 2481441 h 2618498"/>
              <a:gd name="connsiteX24" fmla="*/ 2315889 w 4973271"/>
              <a:gd name="connsiteY24" fmla="*/ 2512288 h 2618498"/>
              <a:gd name="connsiteX25" fmla="*/ 2114008 w 4973271"/>
              <a:gd name="connsiteY25" fmla="*/ 2444345 h 2618498"/>
              <a:gd name="connsiteX26" fmla="*/ 1957882 w 4973271"/>
              <a:gd name="connsiteY26" fmla="*/ 2462391 h 2618498"/>
              <a:gd name="connsiteX27" fmla="*/ 1890741 w 4973271"/>
              <a:gd name="connsiteY27" fmla="*/ 2506239 h 2618498"/>
              <a:gd name="connsiteX28" fmla="*/ 1706645 w 4973271"/>
              <a:gd name="connsiteY28" fmla="*/ 2505016 h 2618498"/>
              <a:gd name="connsiteX29" fmla="*/ 1602638 w 4973271"/>
              <a:gd name="connsiteY29" fmla="*/ 2427011 h 2618498"/>
              <a:gd name="connsiteX30" fmla="*/ 1476997 w 4973271"/>
              <a:gd name="connsiteY30" fmla="*/ 2518427 h 2618498"/>
              <a:gd name="connsiteX31" fmla="*/ 1370926 w 4973271"/>
              <a:gd name="connsiteY31" fmla="*/ 2611052 h 2618498"/>
              <a:gd name="connsiteX32" fmla="*/ 1290131 w 4973271"/>
              <a:gd name="connsiteY32" fmla="*/ 2615030 h 2618498"/>
              <a:gd name="connsiteX33" fmla="*/ 1255945 w 4973271"/>
              <a:gd name="connsiteY33" fmla="*/ 2557020 h 2618498"/>
              <a:gd name="connsiteX34" fmla="*/ 1147604 w 4973271"/>
              <a:gd name="connsiteY34" fmla="*/ 2557019 h 2618498"/>
              <a:gd name="connsiteX35" fmla="*/ 1069393 w 4973271"/>
              <a:gd name="connsiteY35" fmla="*/ 2520143 h 2618498"/>
              <a:gd name="connsiteX36" fmla="*/ 974258 w 4973271"/>
              <a:gd name="connsiteY36" fmla="*/ 2561354 h 2618498"/>
              <a:gd name="connsiteX37" fmla="*/ 855874 w 4973271"/>
              <a:gd name="connsiteY37" fmla="*/ 2563595 h 2618498"/>
              <a:gd name="connsiteX38" fmla="*/ 796855 w 4973271"/>
              <a:gd name="connsiteY38" fmla="*/ 2607027 h 2618498"/>
              <a:gd name="connsiteX39" fmla="*/ 728653 w 4973271"/>
              <a:gd name="connsiteY39" fmla="*/ 2563596 h 2618498"/>
              <a:gd name="connsiteX40" fmla="*/ 644901 w 4973271"/>
              <a:gd name="connsiteY40" fmla="*/ 2570021 h 2618498"/>
              <a:gd name="connsiteX41" fmla="*/ 569627 w 4973271"/>
              <a:gd name="connsiteY41" fmla="*/ 2539742 h 2618498"/>
              <a:gd name="connsiteX42" fmla="*/ 501836 w 4973271"/>
              <a:gd name="connsiteY42" fmla="*/ 2480027 h 2618498"/>
              <a:gd name="connsiteX43" fmla="*/ 419551 w 4973271"/>
              <a:gd name="connsiteY43" fmla="*/ 2570021 h 2618498"/>
              <a:gd name="connsiteX44" fmla="*/ 284822 w 4973271"/>
              <a:gd name="connsiteY44" fmla="*/ 2607026 h 2618498"/>
              <a:gd name="connsiteX45" fmla="*/ 172534 w 4973271"/>
              <a:gd name="connsiteY45" fmla="*/ 2583022 h 2618498"/>
              <a:gd name="connsiteX46" fmla="*/ 77470 w 4973271"/>
              <a:gd name="connsiteY46" fmla="*/ 2606321 h 2618498"/>
              <a:gd name="connsiteX47" fmla="*/ 15297 w 4973271"/>
              <a:gd name="connsiteY47" fmla="*/ 2475657 h 2618498"/>
              <a:gd name="connsiteX48" fmla="*/ 2759 w 4973271"/>
              <a:gd name="connsiteY48" fmla="*/ 0 h 2618498"/>
              <a:gd name="connsiteX0" fmla="*/ 2759 w 4973276"/>
              <a:gd name="connsiteY0" fmla="*/ 0 h 2618498"/>
              <a:gd name="connsiteX1" fmla="*/ 4973271 w 4973276"/>
              <a:gd name="connsiteY1" fmla="*/ 12258 h 2618498"/>
              <a:gd name="connsiteX2" fmla="*/ 4967687 w 4973276"/>
              <a:gd name="connsiteY2" fmla="*/ 2475657 h 2618498"/>
              <a:gd name="connsiteX3" fmla="*/ 4908616 w 4973276"/>
              <a:gd name="connsiteY3" fmla="*/ 2575186 h 2618498"/>
              <a:gd name="connsiteX4" fmla="*/ 4776770 w 4973276"/>
              <a:gd name="connsiteY4" fmla="*/ 2605612 h 2618498"/>
              <a:gd name="connsiteX5" fmla="*/ 4584254 w 4973276"/>
              <a:gd name="connsiteY5" fmla="*/ 2517434 h 2618498"/>
              <a:gd name="connsiteX6" fmla="*/ 4414309 w 4973276"/>
              <a:gd name="connsiteY6" fmla="*/ 2567512 h 2618498"/>
              <a:gd name="connsiteX7" fmla="*/ 4224110 w 4973276"/>
              <a:gd name="connsiteY7" fmla="*/ 2538590 h 2618498"/>
              <a:gd name="connsiteX8" fmla="*/ 4011640 w 4973276"/>
              <a:gd name="connsiteY8" fmla="*/ 2522460 h 2618498"/>
              <a:gd name="connsiteX9" fmla="*/ 3851802 w 4973276"/>
              <a:gd name="connsiteY9" fmla="*/ 2405342 h 2618498"/>
              <a:gd name="connsiteX10" fmla="*/ 3704457 w 4973276"/>
              <a:gd name="connsiteY10" fmla="*/ 2440011 h 2618498"/>
              <a:gd name="connsiteX11" fmla="*/ 3590855 w 4973276"/>
              <a:gd name="connsiteY11" fmla="*/ 2518939 h 2618498"/>
              <a:gd name="connsiteX12" fmla="*/ 3527149 w 4973276"/>
              <a:gd name="connsiteY12" fmla="*/ 2459421 h 2618498"/>
              <a:gd name="connsiteX13" fmla="*/ 3379434 w 4973276"/>
              <a:gd name="connsiteY13" fmla="*/ 2518017 h 2618498"/>
              <a:gd name="connsiteX14" fmla="*/ 3277524 w 4973276"/>
              <a:gd name="connsiteY14" fmla="*/ 2504756 h 2618498"/>
              <a:gd name="connsiteX15" fmla="*/ 3176090 w 4973276"/>
              <a:gd name="connsiteY15" fmla="*/ 2514906 h 2618498"/>
              <a:gd name="connsiteX16" fmla="*/ 3085262 w 4973276"/>
              <a:gd name="connsiteY16" fmla="*/ 2433470 h 2618498"/>
              <a:gd name="connsiteX17" fmla="*/ 2985980 w 4973276"/>
              <a:gd name="connsiteY17" fmla="*/ 2451918 h 2618498"/>
              <a:gd name="connsiteX18" fmla="*/ 2850728 w 4973276"/>
              <a:gd name="connsiteY18" fmla="*/ 2327336 h 2618498"/>
              <a:gd name="connsiteX19" fmla="*/ 2761802 w 4973276"/>
              <a:gd name="connsiteY19" fmla="*/ 2362110 h 2618498"/>
              <a:gd name="connsiteX20" fmla="*/ 2725028 w 4973276"/>
              <a:gd name="connsiteY20" fmla="*/ 2417038 h 2618498"/>
              <a:gd name="connsiteX21" fmla="*/ 2655715 w 4973276"/>
              <a:gd name="connsiteY21" fmla="*/ 2466012 h 2618498"/>
              <a:gd name="connsiteX22" fmla="*/ 2544911 w 4973276"/>
              <a:gd name="connsiteY22" fmla="*/ 2514606 h 2618498"/>
              <a:gd name="connsiteX23" fmla="*/ 2400064 w 4973276"/>
              <a:gd name="connsiteY23" fmla="*/ 2481441 h 2618498"/>
              <a:gd name="connsiteX24" fmla="*/ 2315889 w 4973276"/>
              <a:gd name="connsiteY24" fmla="*/ 2512288 h 2618498"/>
              <a:gd name="connsiteX25" fmla="*/ 2114008 w 4973276"/>
              <a:gd name="connsiteY25" fmla="*/ 2444345 h 2618498"/>
              <a:gd name="connsiteX26" fmla="*/ 1957882 w 4973276"/>
              <a:gd name="connsiteY26" fmla="*/ 2462391 h 2618498"/>
              <a:gd name="connsiteX27" fmla="*/ 1890741 w 4973276"/>
              <a:gd name="connsiteY27" fmla="*/ 2506239 h 2618498"/>
              <a:gd name="connsiteX28" fmla="*/ 1706645 w 4973276"/>
              <a:gd name="connsiteY28" fmla="*/ 2505016 h 2618498"/>
              <a:gd name="connsiteX29" fmla="*/ 1602638 w 4973276"/>
              <a:gd name="connsiteY29" fmla="*/ 2427011 h 2618498"/>
              <a:gd name="connsiteX30" fmla="*/ 1476997 w 4973276"/>
              <a:gd name="connsiteY30" fmla="*/ 2518427 h 2618498"/>
              <a:gd name="connsiteX31" fmla="*/ 1370926 w 4973276"/>
              <a:gd name="connsiteY31" fmla="*/ 2611052 h 2618498"/>
              <a:gd name="connsiteX32" fmla="*/ 1290131 w 4973276"/>
              <a:gd name="connsiteY32" fmla="*/ 2615030 h 2618498"/>
              <a:gd name="connsiteX33" fmla="*/ 1255945 w 4973276"/>
              <a:gd name="connsiteY33" fmla="*/ 2557020 h 2618498"/>
              <a:gd name="connsiteX34" fmla="*/ 1147604 w 4973276"/>
              <a:gd name="connsiteY34" fmla="*/ 2557019 h 2618498"/>
              <a:gd name="connsiteX35" fmla="*/ 1069393 w 4973276"/>
              <a:gd name="connsiteY35" fmla="*/ 2520143 h 2618498"/>
              <a:gd name="connsiteX36" fmla="*/ 974258 w 4973276"/>
              <a:gd name="connsiteY36" fmla="*/ 2561354 h 2618498"/>
              <a:gd name="connsiteX37" fmla="*/ 855874 w 4973276"/>
              <a:gd name="connsiteY37" fmla="*/ 2563595 h 2618498"/>
              <a:gd name="connsiteX38" fmla="*/ 796855 w 4973276"/>
              <a:gd name="connsiteY38" fmla="*/ 2607027 h 2618498"/>
              <a:gd name="connsiteX39" fmla="*/ 728653 w 4973276"/>
              <a:gd name="connsiteY39" fmla="*/ 2563596 h 2618498"/>
              <a:gd name="connsiteX40" fmla="*/ 644901 w 4973276"/>
              <a:gd name="connsiteY40" fmla="*/ 2570021 h 2618498"/>
              <a:gd name="connsiteX41" fmla="*/ 569627 w 4973276"/>
              <a:gd name="connsiteY41" fmla="*/ 2539742 h 2618498"/>
              <a:gd name="connsiteX42" fmla="*/ 501836 w 4973276"/>
              <a:gd name="connsiteY42" fmla="*/ 2480027 h 2618498"/>
              <a:gd name="connsiteX43" fmla="*/ 419551 w 4973276"/>
              <a:gd name="connsiteY43" fmla="*/ 2570021 h 2618498"/>
              <a:gd name="connsiteX44" fmla="*/ 284822 w 4973276"/>
              <a:gd name="connsiteY44" fmla="*/ 2607026 h 2618498"/>
              <a:gd name="connsiteX45" fmla="*/ 172534 w 4973276"/>
              <a:gd name="connsiteY45" fmla="*/ 2583022 h 2618498"/>
              <a:gd name="connsiteX46" fmla="*/ 77470 w 4973276"/>
              <a:gd name="connsiteY46" fmla="*/ 2606321 h 2618498"/>
              <a:gd name="connsiteX47" fmla="*/ 15297 w 4973276"/>
              <a:gd name="connsiteY47" fmla="*/ 2475657 h 2618498"/>
              <a:gd name="connsiteX48" fmla="*/ 2759 w 4973276"/>
              <a:gd name="connsiteY48" fmla="*/ 0 h 2618498"/>
              <a:gd name="connsiteX0" fmla="*/ 2759 w 4968432"/>
              <a:gd name="connsiteY0" fmla="*/ 0 h 2618498"/>
              <a:gd name="connsiteX1" fmla="*/ 4766621 w 4968432"/>
              <a:gd name="connsiteY1" fmla="*/ 246833 h 2618498"/>
              <a:gd name="connsiteX2" fmla="*/ 4967687 w 4968432"/>
              <a:gd name="connsiteY2" fmla="*/ 2475657 h 2618498"/>
              <a:gd name="connsiteX3" fmla="*/ 4908616 w 4968432"/>
              <a:gd name="connsiteY3" fmla="*/ 2575186 h 2618498"/>
              <a:gd name="connsiteX4" fmla="*/ 4776770 w 4968432"/>
              <a:gd name="connsiteY4" fmla="*/ 2605612 h 2618498"/>
              <a:gd name="connsiteX5" fmla="*/ 4584254 w 4968432"/>
              <a:gd name="connsiteY5" fmla="*/ 2517434 h 2618498"/>
              <a:gd name="connsiteX6" fmla="*/ 4414309 w 4968432"/>
              <a:gd name="connsiteY6" fmla="*/ 2567512 h 2618498"/>
              <a:gd name="connsiteX7" fmla="*/ 4224110 w 4968432"/>
              <a:gd name="connsiteY7" fmla="*/ 2538590 h 2618498"/>
              <a:gd name="connsiteX8" fmla="*/ 4011640 w 4968432"/>
              <a:gd name="connsiteY8" fmla="*/ 2522460 h 2618498"/>
              <a:gd name="connsiteX9" fmla="*/ 3851802 w 4968432"/>
              <a:gd name="connsiteY9" fmla="*/ 2405342 h 2618498"/>
              <a:gd name="connsiteX10" fmla="*/ 3704457 w 4968432"/>
              <a:gd name="connsiteY10" fmla="*/ 2440011 h 2618498"/>
              <a:gd name="connsiteX11" fmla="*/ 3590855 w 4968432"/>
              <a:gd name="connsiteY11" fmla="*/ 2518939 h 2618498"/>
              <a:gd name="connsiteX12" fmla="*/ 3527149 w 4968432"/>
              <a:gd name="connsiteY12" fmla="*/ 2459421 h 2618498"/>
              <a:gd name="connsiteX13" fmla="*/ 3379434 w 4968432"/>
              <a:gd name="connsiteY13" fmla="*/ 2518017 h 2618498"/>
              <a:gd name="connsiteX14" fmla="*/ 3277524 w 4968432"/>
              <a:gd name="connsiteY14" fmla="*/ 2504756 h 2618498"/>
              <a:gd name="connsiteX15" fmla="*/ 3176090 w 4968432"/>
              <a:gd name="connsiteY15" fmla="*/ 2514906 h 2618498"/>
              <a:gd name="connsiteX16" fmla="*/ 3085262 w 4968432"/>
              <a:gd name="connsiteY16" fmla="*/ 2433470 h 2618498"/>
              <a:gd name="connsiteX17" fmla="*/ 2985980 w 4968432"/>
              <a:gd name="connsiteY17" fmla="*/ 2451918 h 2618498"/>
              <a:gd name="connsiteX18" fmla="*/ 2850728 w 4968432"/>
              <a:gd name="connsiteY18" fmla="*/ 2327336 h 2618498"/>
              <a:gd name="connsiteX19" fmla="*/ 2761802 w 4968432"/>
              <a:gd name="connsiteY19" fmla="*/ 2362110 h 2618498"/>
              <a:gd name="connsiteX20" fmla="*/ 2725028 w 4968432"/>
              <a:gd name="connsiteY20" fmla="*/ 2417038 h 2618498"/>
              <a:gd name="connsiteX21" fmla="*/ 2655715 w 4968432"/>
              <a:gd name="connsiteY21" fmla="*/ 2466012 h 2618498"/>
              <a:gd name="connsiteX22" fmla="*/ 2544911 w 4968432"/>
              <a:gd name="connsiteY22" fmla="*/ 2514606 h 2618498"/>
              <a:gd name="connsiteX23" fmla="*/ 2400064 w 4968432"/>
              <a:gd name="connsiteY23" fmla="*/ 2481441 h 2618498"/>
              <a:gd name="connsiteX24" fmla="*/ 2315889 w 4968432"/>
              <a:gd name="connsiteY24" fmla="*/ 2512288 h 2618498"/>
              <a:gd name="connsiteX25" fmla="*/ 2114008 w 4968432"/>
              <a:gd name="connsiteY25" fmla="*/ 2444345 h 2618498"/>
              <a:gd name="connsiteX26" fmla="*/ 1957882 w 4968432"/>
              <a:gd name="connsiteY26" fmla="*/ 2462391 h 2618498"/>
              <a:gd name="connsiteX27" fmla="*/ 1890741 w 4968432"/>
              <a:gd name="connsiteY27" fmla="*/ 2506239 h 2618498"/>
              <a:gd name="connsiteX28" fmla="*/ 1706645 w 4968432"/>
              <a:gd name="connsiteY28" fmla="*/ 2505016 h 2618498"/>
              <a:gd name="connsiteX29" fmla="*/ 1602638 w 4968432"/>
              <a:gd name="connsiteY29" fmla="*/ 2427011 h 2618498"/>
              <a:gd name="connsiteX30" fmla="*/ 1476997 w 4968432"/>
              <a:gd name="connsiteY30" fmla="*/ 2518427 h 2618498"/>
              <a:gd name="connsiteX31" fmla="*/ 1370926 w 4968432"/>
              <a:gd name="connsiteY31" fmla="*/ 2611052 h 2618498"/>
              <a:gd name="connsiteX32" fmla="*/ 1290131 w 4968432"/>
              <a:gd name="connsiteY32" fmla="*/ 2615030 h 2618498"/>
              <a:gd name="connsiteX33" fmla="*/ 1255945 w 4968432"/>
              <a:gd name="connsiteY33" fmla="*/ 2557020 h 2618498"/>
              <a:gd name="connsiteX34" fmla="*/ 1147604 w 4968432"/>
              <a:gd name="connsiteY34" fmla="*/ 2557019 h 2618498"/>
              <a:gd name="connsiteX35" fmla="*/ 1069393 w 4968432"/>
              <a:gd name="connsiteY35" fmla="*/ 2520143 h 2618498"/>
              <a:gd name="connsiteX36" fmla="*/ 974258 w 4968432"/>
              <a:gd name="connsiteY36" fmla="*/ 2561354 h 2618498"/>
              <a:gd name="connsiteX37" fmla="*/ 855874 w 4968432"/>
              <a:gd name="connsiteY37" fmla="*/ 2563595 h 2618498"/>
              <a:gd name="connsiteX38" fmla="*/ 796855 w 4968432"/>
              <a:gd name="connsiteY38" fmla="*/ 2607027 h 2618498"/>
              <a:gd name="connsiteX39" fmla="*/ 728653 w 4968432"/>
              <a:gd name="connsiteY39" fmla="*/ 2563596 h 2618498"/>
              <a:gd name="connsiteX40" fmla="*/ 644901 w 4968432"/>
              <a:gd name="connsiteY40" fmla="*/ 2570021 h 2618498"/>
              <a:gd name="connsiteX41" fmla="*/ 569627 w 4968432"/>
              <a:gd name="connsiteY41" fmla="*/ 2539742 h 2618498"/>
              <a:gd name="connsiteX42" fmla="*/ 501836 w 4968432"/>
              <a:gd name="connsiteY42" fmla="*/ 2480027 h 2618498"/>
              <a:gd name="connsiteX43" fmla="*/ 419551 w 4968432"/>
              <a:gd name="connsiteY43" fmla="*/ 2570021 h 2618498"/>
              <a:gd name="connsiteX44" fmla="*/ 284822 w 4968432"/>
              <a:gd name="connsiteY44" fmla="*/ 2607026 h 2618498"/>
              <a:gd name="connsiteX45" fmla="*/ 172534 w 4968432"/>
              <a:gd name="connsiteY45" fmla="*/ 2583022 h 2618498"/>
              <a:gd name="connsiteX46" fmla="*/ 77470 w 4968432"/>
              <a:gd name="connsiteY46" fmla="*/ 2606321 h 2618498"/>
              <a:gd name="connsiteX47" fmla="*/ 15297 w 4968432"/>
              <a:gd name="connsiteY47" fmla="*/ 2475657 h 2618498"/>
              <a:gd name="connsiteX48" fmla="*/ 2759 w 4968432"/>
              <a:gd name="connsiteY48" fmla="*/ 0 h 2618498"/>
              <a:gd name="connsiteX0" fmla="*/ 2759 w 5017954"/>
              <a:gd name="connsiteY0" fmla="*/ 1000 h 2619498"/>
              <a:gd name="connsiteX1" fmla="*/ 4766621 w 5017954"/>
              <a:gd name="connsiteY1" fmla="*/ 247833 h 2619498"/>
              <a:gd name="connsiteX2" fmla="*/ 4967687 w 5017954"/>
              <a:gd name="connsiteY2" fmla="*/ 2476657 h 2619498"/>
              <a:gd name="connsiteX3" fmla="*/ 4908616 w 5017954"/>
              <a:gd name="connsiteY3" fmla="*/ 2576186 h 2619498"/>
              <a:gd name="connsiteX4" fmla="*/ 4776770 w 5017954"/>
              <a:gd name="connsiteY4" fmla="*/ 2606612 h 2619498"/>
              <a:gd name="connsiteX5" fmla="*/ 4584254 w 5017954"/>
              <a:gd name="connsiteY5" fmla="*/ 2518434 h 2619498"/>
              <a:gd name="connsiteX6" fmla="*/ 4414309 w 5017954"/>
              <a:gd name="connsiteY6" fmla="*/ 2568512 h 2619498"/>
              <a:gd name="connsiteX7" fmla="*/ 4224110 w 5017954"/>
              <a:gd name="connsiteY7" fmla="*/ 2539590 h 2619498"/>
              <a:gd name="connsiteX8" fmla="*/ 4011640 w 5017954"/>
              <a:gd name="connsiteY8" fmla="*/ 2523460 h 2619498"/>
              <a:gd name="connsiteX9" fmla="*/ 3851802 w 5017954"/>
              <a:gd name="connsiteY9" fmla="*/ 2406342 h 2619498"/>
              <a:gd name="connsiteX10" fmla="*/ 3704457 w 5017954"/>
              <a:gd name="connsiteY10" fmla="*/ 2441011 h 2619498"/>
              <a:gd name="connsiteX11" fmla="*/ 3590855 w 5017954"/>
              <a:gd name="connsiteY11" fmla="*/ 2519939 h 2619498"/>
              <a:gd name="connsiteX12" fmla="*/ 3527149 w 5017954"/>
              <a:gd name="connsiteY12" fmla="*/ 2460421 h 2619498"/>
              <a:gd name="connsiteX13" fmla="*/ 3379434 w 5017954"/>
              <a:gd name="connsiteY13" fmla="*/ 2519017 h 2619498"/>
              <a:gd name="connsiteX14" fmla="*/ 3277524 w 5017954"/>
              <a:gd name="connsiteY14" fmla="*/ 2505756 h 2619498"/>
              <a:gd name="connsiteX15" fmla="*/ 3176090 w 5017954"/>
              <a:gd name="connsiteY15" fmla="*/ 2515906 h 2619498"/>
              <a:gd name="connsiteX16" fmla="*/ 3085262 w 5017954"/>
              <a:gd name="connsiteY16" fmla="*/ 2434470 h 2619498"/>
              <a:gd name="connsiteX17" fmla="*/ 2985980 w 5017954"/>
              <a:gd name="connsiteY17" fmla="*/ 2452918 h 2619498"/>
              <a:gd name="connsiteX18" fmla="*/ 2850728 w 5017954"/>
              <a:gd name="connsiteY18" fmla="*/ 2328336 h 2619498"/>
              <a:gd name="connsiteX19" fmla="*/ 2761802 w 5017954"/>
              <a:gd name="connsiteY19" fmla="*/ 2363110 h 2619498"/>
              <a:gd name="connsiteX20" fmla="*/ 2725028 w 5017954"/>
              <a:gd name="connsiteY20" fmla="*/ 2418038 h 2619498"/>
              <a:gd name="connsiteX21" fmla="*/ 2655715 w 5017954"/>
              <a:gd name="connsiteY21" fmla="*/ 2467012 h 2619498"/>
              <a:gd name="connsiteX22" fmla="*/ 2544911 w 5017954"/>
              <a:gd name="connsiteY22" fmla="*/ 2515606 h 2619498"/>
              <a:gd name="connsiteX23" fmla="*/ 2400064 w 5017954"/>
              <a:gd name="connsiteY23" fmla="*/ 2482441 h 2619498"/>
              <a:gd name="connsiteX24" fmla="*/ 2315889 w 5017954"/>
              <a:gd name="connsiteY24" fmla="*/ 2513288 h 2619498"/>
              <a:gd name="connsiteX25" fmla="*/ 2114008 w 5017954"/>
              <a:gd name="connsiteY25" fmla="*/ 2445345 h 2619498"/>
              <a:gd name="connsiteX26" fmla="*/ 1957882 w 5017954"/>
              <a:gd name="connsiteY26" fmla="*/ 2463391 h 2619498"/>
              <a:gd name="connsiteX27" fmla="*/ 1890741 w 5017954"/>
              <a:gd name="connsiteY27" fmla="*/ 2507239 h 2619498"/>
              <a:gd name="connsiteX28" fmla="*/ 1706645 w 5017954"/>
              <a:gd name="connsiteY28" fmla="*/ 2506016 h 2619498"/>
              <a:gd name="connsiteX29" fmla="*/ 1602638 w 5017954"/>
              <a:gd name="connsiteY29" fmla="*/ 2428011 h 2619498"/>
              <a:gd name="connsiteX30" fmla="*/ 1476997 w 5017954"/>
              <a:gd name="connsiteY30" fmla="*/ 2519427 h 2619498"/>
              <a:gd name="connsiteX31" fmla="*/ 1370926 w 5017954"/>
              <a:gd name="connsiteY31" fmla="*/ 2612052 h 2619498"/>
              <a:gd name="connsiteX32" fmla="*/ 1290131 w 5017954"/>
              <a:gd name="connsiteY32" fmla="*/ 2616030 h 2619498"/>
              <a:gd name="connsiteX33" fmla="*/ 1255945 w 5017954"/>
              <a:gd name="connsiteY33" fmla="*/ 2558020 h 2619498"/>
              <a:gd name="connsiteX34" fmla="*/ 1147604 w 5017954"/>
              <a:gd name="connsiteY34" fmla="*/ 2558019 h 2619498"/>
              <a:gd name="connsiteX35" fmla="*/ 1069393 w 5017954"/>
              <a:gd name="connsiteY35" fmla="*/ 2521143 h 2619498"/>
              <a:gd name="connsiteX36" fmla="*/ 974258 w 5017954"/>
              <a:gd name="connsiteY36" fmla="*/ 2562354 h 2619498"/>
              <a:gd name="connsiteX37" fmla="*/ 855874 w 5017954"/>
              <a:gd name="connsiteY37" fmla="*/ 2564595 h 2619498"/>
              <a:gd name="connsiteX38" fmla="*/ 796855 w 5017954"/>
              <a:gd name="connsiteY38" fmla="*/ 2608027 h 2619498"/>
              <a:gd name="connsiteX39" fmla="*/ 728653 w 5017954"/>
              <a:gd name="connsiteY39" fmla="*/ 2564596 h 2619498"/>
              <a:gd name="connsiteX40" fmla="*/ 644901 w 5017954"/>
              <a:gd name="connsiteY40" fmla="*/ 2571021 h 2619498"/>
              <a:gd name="connsiteX41" fmla="*/ 569627 w 5017954"/>
              <a:gd name="connsiteY41" fmla="*/ 2540742 h 2619498"/>
              <a:gd name="connsiteX42" fmla="*/ 501836 w 5017954"/>
              <a:gd name="connsiteY42" fmla="*/ 2481027 h 2619498"/>
              <a:gd name="connsiteX43" fmla="*/ 419551 w 5017954"/>
              <a:gd name="connsiteY43" fmla="*/ 2571021 h 2619498"/>
              <a:gd name="connsiteX44" fmla="*/ 284822 w 5017954"/>
              <a:gd name="connsiteY44" fmla="*/ 2608026 h 2619498"/>
              <a:gd name="connsiteX45" fmla="*/ 172534 w 5017954"/>
              <a:gd name="connsiteY45" fmla="*/ 2584022 h 2619498"/>
              <a:gd name="connsiteX46" fmla="*/ 77470 w 5017954"/>
              <a:gd name="connsiteY46" fmla="*/ 2607321 h 2619498"/>
              <a:gd name="connsiteX47" fmla="*/ 15297 w 5017954"/>
              <a:gd name="connsiteY47" fmla="*/ 2476657 h 2619498"/>
              <a:gd name="connsiteX48" fmla="*/ 2759 w 5017954"/>
              <a:gd name="connsiteY48" fmla="*/ 1000 h 2619498"/>
              <a:gd name="connsiteX0" fmla="*/ 2759 w 5146412"/>
              <a:gd name="connsiteY0" fmla="*/ 599254 h 3217752"/>
              <a:gd name="connsiteX1" fmla="*/ 4967686 w 5146412"/>
              <a:gd name="connsiteY1" fmla="*/ 58581 h 3217752"/>
              <a:gd name="connsiteX2" fmla="*/ 4967687 w 5146412"/>
              <a:gd name="connsiteY2" fmla="*/ 3074911 h 3217752"/>
              <a:gd name="connsiteX3" fmla="*/ 4908616 w 5146412"/>
              <a:gd name="connsiteY3" fmla="*/ 3174440 h 3217752"/>
              <a:gd name="connsiteX4" fmla="*/ 4776770 w 5146412"/>
              <a:gd name="connsiteY4" fmla="*/ 3204866 h 3217752"/>
              <a:gd name="connsiteX5" fmla="*/ 4584254 w 5146412"/>
              <a:gd name="connsiteY5" fmla="*/ 3116688 h 3217752"/>
              <a:gd name="connsiteX6" fmla="*/ 4414309 w 5146412"/>
              <a:gd name="connsiteY6" fmla="*/ 3166766 h 3217752"/>
              <a:gd name="connsiteX7" fmla="*/ 4224110 w 5146412"/>
              <a:gd name="connsiteY7" fmla="*/ 3137844 h 3217752"/>
              <a:gd name="connsiteX8" fmla="*/ 4011640 w 5146412"/>
              <a:gd name="connsiteY8" fmla="*/ 3121714 h 3217752"/>
              <a:gd name="connsiteX9" fmla="*/ 3851802 w 5146412"/>
              <a:gd name="connsiteY9" fmla="*/ 3004596 h 3217752"/>
              <a:gd name="connsiteX10" fmla="*/ 3704457 w 5146412"/>
              <a:gd name="connsiteY10" fmla="*/ 3039265 h 3217752"/>
              <a:gd name="connsiteX11" fmla="*/ 3590855 w 5146412"/>
              <a:gd name="connsiteY11" fmla="*/ 3118193 h 3217752"/>
              <a:gd name="connsiteX12" fmla="*/ 3527149 w 5146412"/>
              <a:gd name="connsiteY12" fmla="*/ 3058675 h 3217752"/>
              <a:gd name="connsiteX13" fmla="*/ 3379434 w 5146412"/>
              <a:gd name="connsiteY13" fmla="*/ 3117271 h 3217752"/>
              <a:gd name="connsiteX14" fmla="*/ 3277524 w 5146412"/>
              <a:gd name="connsiteY14" fmla="*/ 3104010 h 3217752"/>
              <a:gd name="connsiteX15" fmla="*/ 3176090 w 5146412"/>
              <a:gd name="connsiteY15" fmla="*/ 3114160 h 3217752"/>
              <a:gd name="connsiteX16" fmla="*/ 3085262 w 5146412"/>
              <a:gd name="connsiteY16" fmla="*/ 3032724 h 3217752"/>
              <a:gd name="connsiteX17" fmla="*/ 2985980 w 5146412"/>
              <a:gd name="connsiteY17" fmla="*/ 3051172 h 3217752"/>
              <a:gd name="connsiteX18" fmla="*/ 2850728 w 5146412"/>
              <a:gd name="connsiteY18" fmla="*/ 2926590 h 3217752"/>
              <a:gd name="connsiteX19" fmla="*/ 2761802 w 5146412"/>
              <a:gd name="connsiteY19" fmla="*/ 2961364 h 3217752"/>
              <a:gd name="connsiteX20" fmla="*/ 2725028 w 5146412"/>
              <a:gd name="connsiteY20" fmla="*/ 3016292 h 3217752"/>
              <a:gd name="connsiteX21" fmla="*/ 2655715 w 5146412"/>
              <a:gd name="connsiteY21" fmla="*/ 3065266 h 3217752"/>
              <a:gd name="connsiteX22" fmla="*/ 2544911 w 5146412"/>
              <a:gd name="connsiteY22" fmla="*/ 3113860 h 3217752"/>
              <a:gd name="connsiteX23" fmla="*/ 2400064 w 5146412"/>
              <a:gd name="connsiteY23" fmla="*/ 3080695 h 3217752"/>
              <a:gd name="connsiteX24" fmla="*/ 2315889 w 5146412"/>
              <a:gd name="connsiteY24" fmla="*/ 3111542 h 3217752"/>
              <a:gd name="connsiteX25" fmla="*/ 2114008 w 5146412"/>
              <a:gd name="connsiteY25" fmla="*/ 3043599 h 3217752"/>
              <a:gd name="connsiteX26" fmla="*/ 1957882 w 5146412"/>
              <a:gd name="connsiteY26" fmla="*/ 3061645 h 3217752"/>
              <a:gd name="connsiteX27" fmla="*/ 1890741 w 5146412"/>
              <a:gd name="connsiteY27" fmla="*/ 3105493 h 3217752"/>
              <a:gd name="connsiteX28" fmla="*/ 1706645 w 5146412"/>
              <a:gd name="connsiteY28" fmla="*/ 3104270 h 3217752"/>
              <a:gd name="connsiteX29" fmla="*/ 1602638 w 5146412"/>
              <a:gd name="connsiteY29" fmla="*/ 3026265 h 3217752"/>
              <a:gd name="connsiteX30" fmla="*/ 1476997 w 5146412"/>
              <a:gd name="connsiteY30" fmla="*/ 3117681 h 3217752"/>
              <a:gd name="connsiteX31" fmla="*/ 1370926 w 5146412"/>
              <a:gd name="connsiteY31" fmla="*/ 3210306 h 3217752"/>
              <a:gd name="connsiteX32" fmla="*/ 1290131 w 5146412"/>
              <a:gd name="connsiteY32" fmla="*/ 3214284 h 3217752"/>
              <a:gd name="connsiteX33" fmla="*/ 1255945 w 5146412"/>
              <a:gd name="connsiteY33" fmla="*/ 3156274 h 3217752"/>
              <a:gd name="connsiteX34" fmla="*/ 1147604 w 5146412"/>
              <a:gd name="connsiteY34" fmla="*/ 3156273 h 3217752"/>
              <a:gd name="connsiteX35" fmla="*/ 1069393 w 5146412"/>
              <a:gd name="connsiteY35" fmla="*/ 3119397 h 3217752"/>
              <a:gd name="connsiteX36" fmla="*/ 974258 w 5146412"/>
              <a:gd name="connsiteY36" fmla="*/ 3160608 h 3217752"/>
              <a:gd name="connsiteX37" fmla="*/ 855874 w 5146412"/>
              <a:gd name="connsiteY37" fmla="*/ 3162849 h 3217752"/>
              <a:gd name="connsiteX38" fmla="*/ 796855 w 5146412"/>
              <a:gd name="connsiteY38" fmla="*/ 3206281 h 3217752"/>
              <a:gd name="connsiteX39" fmla="*/ 728653 w 5146412"/>
              <a:gd name="connsiteY39" fmla="*/ 3162850 h 3217752"/>
              <a:gd name="connsiteX40" fmla="*/ 644901 w 5146412"/>
              <a:gd name="connsiteY40" fmla="*/ 3169275 h 3217752"/>
              <a:gd name="connsiteX41" fmla="*/ 569627 w 5146412"/>
              <a:gd name="connsiteY41" fmla="*/ 3138996 h 3217752"/>
              <a:gd name="connsiteX42" fmla="*/ 501836 w 5146412"/>
              <a:gd name="connsiteY42" fmla="*/ 3079281 h 3217752"/>
              <a:gd name="connsiteX43" fmla="*/ 419551 w 5146412"/>
              <a:gd name="connsiteY43" fmla="*/ 3169275 h 3217752"/>
              <a:gd name="connsiteX44" fmla="*/ 284822 w 5146412"/>
              <a:gd name="connsiteY44" fmla="*/ 3206280 h 3217752"/>
              <a:gd name="connsiteX45" fmla="*/ 172534 w 5146412"/>
              <a:gd name="connsiteY45" fmla="*/ 3182276 h 3217752"/>
              <a:gd name="connsiteX46" fmla="*/ 77470 w 5146412"/>
              <a:gd name="connsiteY46" fmla="*/ 3205575 h 3217752"/>
              <a:gd name="connsiteX47" fmla="*/ 15297 w 5146412"/>
              <a:gd name="connsiteY47" fmla="*/ 3074911 h 3217752"/>
              <a:gd name="connsiteX48" fmla="*/ 2759 w 5146412"/>
              <a:gd name="connsiteY48" fmla="*/ 599254 h 3217752"/>
              <a:gd name="connsiteX0" fmla="*/ 2759 w 5335458"/>
              <a:gd name="connsiteY0" fmla="*/ 218800 h 3384643"/>
              <a:gd name="connsiteX1" fmla="*/ 4967686 w 5335458"/>
              <a:gd name="connsiteY1" fmla="*/ 225472 h 3384643"/>
              <a:gd name="connsiteX2" fmla="*/ 4967687 w 5335458"/>
              <a:gd name="connsiteY2" fmla="*/ 3241802 h 3384643"/>
              <a:gd name="connsiteX3" fmla="*/ 4908616 w 5335458"/>
              <a:gd name="connsiteY3" fmla="*/ 3341331 h 3384643"/>
              <a:gd name="connsiteX4" fmla="*/ 4776770 w 5335458"/>
              <a:gd name="connsiteY4" fmla="*/ 3371757 h 3384643"/>
              <a:gd name="connsiteX5" fmla="*/ 4584254 w 5335458"/>
              <a:gd name="connsiteY5" fmla="*/ 3283579 h 3384643"/>
              <a:gd name="connsiteX6" fmla="*/ 4414309 w 5335458"/>
              <a:gd name="connsiteY6" fmla="*/ 3333657 h 3384643"/>
              <a:gd name="connsiteX7" fmla="*/ 4224110 w 5335458"/>
              <a:gd name="connsiteY7" fmla="*/ 3304735 h 3384643"/>
              <a:gd name="connsiteX8" fmla="*/ 4011640 w 5335458"/>
              <a:gd name="connsiteY8" fmla="*/ 3288605 h 3384643"/>
              <a:gd name="connsiteX9" fmla="*/ 3851802 w 5335458"/>
              <a:gd name="connsiteY9" fmla="*/ 3171487 h 3384643"/>
              <a:gd name="connsiteX10" fmla="*/ 3704457 w 5335458"/>
              <a:gd name="connsiteY10" fmla="*/ 3206156 h 3384643"/>
              <a:gd name="connsiteX11" fmla="*/ 3590855 w 5335458"/>
              <a:gd name="connsiteY11" fmla="*/ 3285084 h 3384643"/>
              <a:gd name="connsiteX12" fmla="*/ 3527149 w 5335458"/>
              <a:gd name="connsiteY12" fmla="*/ 3225566 h 3384643"/>
              <a:gd name="connsiteX13" fmla="*/ 3379434 w 5335458"/>
              <a:gd name="connsiteY13" fmla="*/ 3284162 h 3384643"/>
              <a:gd name="connsiteX14" fmla="*/ 3277524 w 5335458"/>
              <a:gd name="connsiteY14" fmla="*/ 3270901 h 3384643"/>
              <a:gd name="connsiteX15" fmla="*/ 3176090 w 5335458"/>
              <a:gd name="connsiteY15" fmla="*/ 3281051 h 3384643"/>
              <a:gd name="connsiteX16" fmla="*/ 3085262 w 5335458"/>
              <a:gd name="connsiteY16" fmla="*/ 3199615 h 3384643"/>
              <a:gd name="connsiteX17" fmla="*/ 2985980 w 5335458"/>
              <a:gd name="connsiteY17" fmla="*/ 3218063 h 3384643"/>
              <a:gd name="connsiteX18" fmla="*/ 2850728 w 5335458"/>
              <a:gd name="connsiteY18" fmla="*/ 3093481 h 3384643"/>
              <a:gd name="connsiteX19" fmla="*/ 2761802 w 5335458"/>
              <a:gd name="connsiteY19" fmla="*/ 3128255 h 3384643"/>
              <a:gd name="connsiteX20" fmla="*/ 2725028 w 5335458"/>
              <a:gd name="connsiteY20" fmla="*/ 3183183 h 3384643"/>
              <a:gd name="connsiteX21" fmla="*/ 2655715 w 5335458"/>
              <a:gd name="connsiteY21" fmla="*/ 3232157 h 3384643"/>
              <a:gd name="connsiteX22" fmla="*/ 2544911 w 5335458"/>
              <a:gd name="connsiteY22" fmla="*/ 3280751 h 3384643"/>
              <a:gd name="connsiteX23" fmla="*/ 2400064 w 5335458"/>
              <a:gd name="connsiteY23" fmla="*/ 3247586 h 3384643"/>
              <a:gd name="connsiteX24" fmla="*/ 2315889 w 5335458"/>
              <a:gd name="connsiteY24" fmla="*/ 3278433 h 3384643"/>
              <a:gd name="connsiteX25" fmla="*/ 2114008 w 5335458"/>
              <a:gd name="connsiteY25" fmla="*/ 3210490 h 3384643"/>
              <a:gd name="connsiteX26" fmla="*/ 1957882 w 5335458"/>
              <a:gd name="connsiteY26" fmla="*/ 3228536 h 3384643"/>
              <a:gd name="connsiteX27" fmla="*/ 1890741 w 5335458"/>
              <a:gd name="connsiteY27" fmla="*/ 3272384 h 3384643"/>
              <a:gd name="connsiteX28" fmla="*/ 1706645 w 5335458"/>
              <a:gd name="connsiteY28" fmla="*/ 3271161 h 3384643"/>
              <a:gd name="connsiteX29" fmla="*/ 1602638 w 5335458"/>
              <a:gd name="connsiteY29" fmla="*/ 3193156 h 3384643"/>
              <a:gd name="connsiteX30" fmla="*/ 1476997 w 5335458"/>
              <a:gd name="connsiteY30" fmla="*/ 3284572 h 3384643"/>
              <a:gd name="connsiteX31" fmla="*/ 1370926 w 5335458"/>
              <a:gd name="connsiteY31" fmla="*/ 3377197 h 3384643"/>
              <a:gd name="connsiteX32" fmla="*/ 1290131 w 5335458"/>
              <a:gd name="connsiteY32" fmla="*/ 3381175 h 3384643"/>
              <a:gd name="connsiteX33" fmla="*/ 1255945 w 5335458"/>
              <a:gd name="connsiteY33" fmla="*/ 3323165 h 3384643"/>
              <a:gd name="connsiteX34" fmla="*/ 1147604 w 5335458"/>
              <a:gd name="connsiteY34" fmla="*/ 3323164 h 3384643"/>
              <a:gd name="connsiteX35" fmla="*/ 1069393 w 5335458"/>
              <a:gd name="connsiteY35" fmla="*/ 3286288 h 3384643"/>
              <a:gd name="connsiteX36" fmla="*/ 974258 w 5335458"/>
              <a:gd name="connsiteY36" fmla="*/ 3327499 h 3384643"/>
              <a:gd name="connsiteX37" fmla="*/ 855874 w 5335458"/>
              <a:gd name="connsiteY37" fmla="*/ 3329740 h 3384643"/>
              <a:gd name="connsiteX38" fmla="*/ 796855 w 5335458"/>
              <a:gd name="connsiteY38" fmla="*/ 3373172 h 3384643"/>
              <a:gd name="connsiteX39" fmla="*/ 728653 w 5335458"/>
              <a:gd name="connsiteY39" fmla="*/ 3329741 h 3384643"/>
              <a:gd name="connsiteX40" fmla="*/ 644901 w 5335458"/>
              <a:gd name="connsiteY40" fmla="*/ 3336166 h 3384643"/>
              <a:gd name="connsiteX41" fmla="*/ 569627 w 5335458"/>
              <a:gd name="connsiteY41" fmla="*/ 3305887 h 3384643"/>
              <a:gd name="connsiteX42" fmla="*/ 501836 w 5335458"/>
              <a:gd name="connsiteY42" fmla="*/ 3246172 h 3384643"/>
              <a:gd name="connsiteX43" fmla="*/ 419551 w 5335458"/>
              <a:gd name="connsiteY43" fmla="*/ 3336166 h 3384643"/>
              <a:gd name="connsiteX44" fmla="*/ 284822 w 5335458"/>
              <a:gd name="connsiteY44" fmla="*/ 3373171 h 3384643"/>
              <a:gd name="connsiteX45" fmla="*/ 172534 w 5335458"/>
              <a:gd name="connsiteY45" fmla="*/ 3349167 h 3384643"/>
              <a:gd name="connsiteX46" fmla="*/ 77470 w 5335458"/>
              <a:gd name="connsiteY46" fmla="*/ 3372466 h 3384643"/>
              <a:gd name="connsiteX47" fmla="*/ 15297 w 5335458"/>
              <a:gd name="connsiteY47" fmla="*/ 3241802 h 3384643"/>
              <a:gd name="connsiteX48" fmla="*/ 2759 w 5335458"/>
              <a:gd name="connsiteY48" fmla="*/ 218800 h 3384643"/>
              <a:gd name="connsiteX0" fmla="*/ 0 w 5332699"/>
              <a:gd name="connsiteY0" fmla="*/ 218800 h 3384643"/>
              <a:gd name="connsiteX1" fmla="*/ 4964927 w 5332699"/>
              <a:gd name="connsiteY1" fmla="*/ 225472 h 3384643"/>
              <a:gd name="connsiteX2" fmla="*/ 4964928 w 5332699"/>
              <a:gd name="connsiteY2" fmla="*/ 3241802 h 3384643"/>
              <a:gd name="connsiteX3" fmla="*/ 4905857 w 5332699"/>
              <a:gd name="connsiteY3" fmla="*/ 3341331 h 3384643"/>
              <a:gd name="connsiteX4" fmla="*/ 4774011 w 5332699"/>
              <a:gd name="connsiteY4" fmla="*/ 3371757 h 3384643"/>
              <a:gd name="connsiteX5" fmla="*/ 4581495 w 5332699"/>
              <a:gd name="connsiteY5" fmla="*/ 3283579 h 3384643"/>
              <a:gd name="connsiteX6" fmla="*/ 4411550 w 5332699"/>
              <a:gd name="connsiteY6" fmla="*/ 3333657 h 3384643"/>
              <a:gd name="connsiteX7" fmla="*/ 4221351 w 5332699"/>
              <a:gd name="connsiteY7" fmla="*/ 3304735 h 3384643"/>
              <a:gd name="connsiteX8" fmla="*/ 4008881 w 5332699"/>
              <a:gd name="connsiteY8" fmla="*/ 3288605 h 3384643"/>
              <a:gd name="connsiteX9" fmla="*/ 3849043 w 5332699"/>
              <a:gd name="connsiteY9" fmla="*/ 3171487 h 3384643"/>
              <a:gd name="connsiteX10" fmla="*/ 3701698 w 5332699"/>
              <a:gd name="connsiteY10" fmla="*/ 3206156 h 3384643"/>
              <a:gd name="connsiteX11" fmla="*/ 3588096 w 5332699"/>
              <a:gd name="connsiteY11" fmla="*/ 3285084 h 3384643"/>
              <a:gd name="connsiteX12" fmla="*/ 3524390 w 5332699"/>
              <a:gd name="connsiteY12" fmla="*/ 3225566 h 3384643"/>
              <a:gd name="connsiteX13" fmla="*/ 3376675 w 5332699"/>
              <a:gd name="connsiteY13" fmla="*/ 3284162 h 3384643"/>
              <a:gd name="connsiteX14" fmla="*/ 3274765 w 5332699"/>
              <a:gd name="connsiteY14" fmla="*/ 3270901 h 3384643"/>
              <a:gd name="connsiteX15" fmla="*/ 3173331 w 5332699"/>
              <a:gd name="connsiteY15" fmla="*/ 3281051 h 3384643"/>
              <a:gd name="connsiteX16" fmla="*/ 3082503 w 5332699"/>
              <a:gd name="connsiteY16" fmla="*/ 3199615 h 3384643"/>
              <a:gd name="connsiteX17" fmla="*/ 2983221 w 5332699"/>
              <a:gd name="connsiteY17" fmla="*/ 3218063 h 3384643"/>
              <a:gd name="connsiteX18" fmla="*/ 2847969 w 5332699"/>
              <a:gd name="connsiteY18" fmla="*/ 3093481 h 3384643"/>
              <a:gd name="connsiteX19" fmla="*/ 2759043 w 5332699"/>
              <a:gd name="connsiteY19" fmla="*/ 3128255 h 3384643"/>
              <a:gd name="connsiteX20" fmla="*/ 2722269 w 5332699"/>
              <a:gd name="connsiteY20" fmla="*/ 3183183 h 3384643"/>
              <a:gd name="connsiteX21" fmla="*/ 2652956 w 5332699"/>
              <a:gd name="connsiteY21" fmla="*/ 3232157 h 3384643"/>
              <a:gd name="connsiteX22" fmla="*/ 2542152 w 5332699"/>
              <a:gd name="connsiteY22" fmla="*/ 3280751 h 3384643"/>
              <a:gd name="connsiteX23" fmla="*/ 2397305 w 5332699"/>
              <a:gd name="connsiteY23" fmla="*/ 3247586 h 3384643"/>
              <a:gd name="connsiteX24" fmla="*/ 2313130 w 5332699"/>
              <a:gd name="connsiteY24" fmla="*/ 3278433 h 3384643"/>
              <a:gd name="connsiteX25" fmla="*/ 2111249 w 5332699"/>
              <a:gd name="connsiteY25" fmla="*/ 3210490 h 3384643"/>
              <a:gd name="connsiteX26" fmla="*/ 1955123 w 5332699"/>
              <a:gd name="connsiteY26" fmla="*/ 3228536 h 3384643"/>
              <a:gd name="connsiteX27" fmla="*/ 1887982 w 5332699"/>
              <a:gd name="connsiteY27" fmla="*/ 3272384 h 3384643"/>
              <a:gd name="connsiteX28" fmla="*/ 1703886 w 5332699"/>
              <a:gd name="connsiteY28" fmla="*/ 3271161 h 3384643"/>
              <a:gd name="connsiteX29" fmla="*/ 1599879 w 5332699"/>
              <a:gd name="connsiteY29" fmla="*/ 3193156 h 3384643"/>
              <a:gd name="connsiteX30" fmla="*/ 1474238 w 5332699"/>
              <a:gd name="connsiteY30" fmla="*/ 3284572 h 3384643"/>
              <a:gd name="connsiteX31" fmla="*/ 1368167 w 5332699"/>
              <a:gd name="connsiteY31" fmla="*/ 3377197 h 3384643"/>
              <a:gd name="connsiteX32" fmla="*/ 1287372 w 5332699"/>
              <a:gd name="connsiteY32" fmla="*/ 3381175 h 3384643"/>
              <a:gd name="connsiteX33" fmla="*/ 1253186 w 5332699"/>
              <a:gd name="connsiteY33" fmla="*/ 3323165 h 3384643"/>
              <a:gd name="connsiteX34" fmla="*/ 1144845 w 5332699"/>
              <a:gd name="connsiteY34" fmla="*/ 3323164 h 3384643"/>
              <a:gd name="connsiteX35" fmla="*/ 1066634 w 5332699"/>
              <a:gd name="connsiteY35" fmla="*/ 3286288 h 3384643"/>
              <a:gd name="connsiteX36" fmla="*/ 971499 w 5332699"/>
              <a:gd name="connsiteY36" fmla="*/ 3327499 h 3384643"/>
              <a:gd name="connsiteX37" fmla="*/ 853115 w 5332699"/>
              <a:gd name="connsiteY37" fmla="*/ 3329740 h 3384643"/>
              <a:gd name="connsiteX38" fmla="*/ 794096 w 5332699"/>
              <a:gd name="connsiteY38" fmla="*/ 3373172 h 3384643"/>
              <a:gd name="connsiteX39" fmla="*/ 725894 w 5332699"/>
              <a:gd name="connsiteY39" fmla="*/ 3329741 h 3384643"/>
              <a:gd name="connsiteX40" fmla="*/ 642142 w 5332699"/>
              <a:gd name="connsiteY40" fmla="*/ 3336166 h 3384643"/>
              <a:gd name="connsiteX41" fmla="*/ 566868 w 5332699"/>
              <a:gd name="connsiteY41" fmla="*/ 3305887 h 3384643"/>
              <a:gd name="connsiteX42" fmla="*/ 499077 w 5332699"/>
              <a:gd name="connsiteY42" fmla="*/ 3246172 h 3384643"/>
              <a:gd name="connsiteX43" fmla="*/ 416792 w 5332699"/>
              <a:gd name="connsiteY43" fmla="*/ 3336166 h 3384643"/>
              <a:gd name="connsiteX44" fmla="*/ 282063 w 5332699"/>
              <a:gd name="connsiteY44" fmla="*/ 3373171 h 3384643"/>
              <a:gd name="connsiteX45" fmla="*/ 169775 w 5332699"/>
              <a:gd name="connsiteY45" fmla="*/ 3349167 h 3384643"/>
              <a:gd name="connsiteX46" fmla="*/ 74711 w 5332699"/>
              <a:gd name="connsiteY46" fmla="*/ 3372466 h 3384643"/>
              <a:gd name="connsiteX47" fmla="*/ 12538 w 5332699"/>
              <a:gd name="connsiteY47" fmla="*/ 3241802 h 3384643"/>
              <a:gd name="connsiteX48" fmla="*/ 0 w 5332699"/>
              <a:gd name="connsiteY48" fmla="*/ 218800 h 3384643"/>
              <a:gd name="connsiteX0" fmla="*/ 317204 w 5295970"/>
              <a:gd name="connsiteY0" fmla="*/ 126494 h 3443135"/>
              <a:gd name="connsiteX1" fmla="*/ 4952607 w 5295970"/>
              <a:gd name="connsiteY1" fmla="*/ 283964 h 3443135"/>
              <a:gd name="connsiteX2" fmla="*/ 4952608 w 5295970"/>
              <a:gd name="connsiteY2" fmla="*/ 3300294 h 3443135"/>
              <a:gd name="connsiteX3" fmla="*/ 4893537 w 5295970"/>
              <a:gd name="connsiteY3" fmla="*/ 3399823 h 3443135"/>
              <a:gd name="connsiteX4" fmla="*/ 4761691 w 5295970"/>
              <a:gd name="connsiteY4" fmla="*/ 3430249 h 3443135"/>
              <a:gd name="connsiteX5" fmla="*/ 4569175 w 5295970"/>
              <a:gd name="connsiteY5" fmla="*/ 3342071 h 3443135"/>
              <a:gd name="connsiteX6" fmla="*/ 4399230 w 5295970"/>
              <a:gd name="connsiteY6" fmla="*/ 3392149 h 3443135"/>
              <a:gd name="connsiteX7" fmla="*/ 4209031 w 5295970"/>
              <a:gd name="connsiteY7" fmla="*/ 3363227 h 3443135"/>
              <a:gd name="connsiteX8" fmla="*/ 3996561 w 5295970"/>
              <a:gd name="connsiteY8" fmla="*/ 3347097 h 3443135"/>
              <a:gd name="connsiteX9" fmla="*/ 3836723 w 5295970"/>
              <a:gd name="connsiteY9" fmla="*/ 3229979 h 3443135"/>
              <a:gd name="connsiteX10" fmla="*/ 3689378 w 5295970"/>
              <a:gd name="connsiteY10" fmla="*/ 3264648 h 3443135"/>
              <a:gd name="connsiteX11" fmla="*/ 3575776 w 5295970"/>
              <a:gd name="connsiteY11" fmla="*/ 3343576 h 3443135"/>
              <a:gd name="connsiteX12" fmla="*/ 3512070 w 5295970"/>
              <a:gd name="connsiteY12" fmla="*/ 3284058 h 3443135"/>
              <a:gd name="connsiteX13" fmla="*/ 3364355 w 5295970"/>
              <a:gd name="connsiteY13" fmla="*/ 3342654 h 3443135"/>
              <a:gd name="connsiteX14" fmla="*/ 3262445 w 5295970"/>
              <a:gd name="connsiteY14" fmla="*/ 3329393 h 3443135"/>
              <a:gd name="connsiteX15" fmla="*/ 3161011 w 5295970"/>
              <a:gd name="connsiteY15" fmla="*/ 3339543 h 3443135"/>
              <a:gd name="connsiteX16" fmla="*/ 3070183 w 5295970"/>
              <a:gd name="connsiteY16" fmla="*/ 3258107 h 3443135"/>
              <a:gd name="connsiteX17" fmla="*/ 2970901 w 5295970"/>
              <a:gd name="connsiteY17" fmla="*/ 3276555 h 3443135"/>
              <a:gd name="connsiteX18" fmla="*/ 2835649 w 5295970"/>
              <a:gd name="connsiteY18" fmla="*/ 3151973 h 3443135"/>
              <a:gd name="connsiteX19" fmla="*/ 2746723 w 5295970"/>
              <a:gd name="connsiteY19" fmla="*/ 3186747 h 3443135"/>
              <a:gd name="connsiteX20" fmla="*/ 2709949 w 5295970"/>
              <a:gd name="connsiteY20" fmla="*/ 3241675 h 3443135"/>
              <a:gd name="connsiteX21" fmla="*/ 2640636 w 5295970"/>
              <a:gd name="connsiteY21" fmla="*/ 3290649 h 3443135"/>
              <a:gd name="connsiteX22" fmla="*/ 2529832 w 5295970"/>
              <a:gd name="connsiteY22" fmla="*/ 3339243 h 3443135"/>
              <a:gd name="connsiteX23" fmla="*/ 2384985 w 5295970"/>
              <a:gd name="connsiteY23" fmla="*/ 3306078 h 3443135"/>
              <a:gd name="connsiteX24" fmla="*/ 2300810 w 5295970"/>
              <a:gd name="connsiteY24" fmla="*/ 3336925 h 3443135"/>
              <a:gd name="connsiteX25" fmla="*/ 2098929 w 5295970"/>
              <a:gd name="connsiteY25" fmla="*/ 3268982 h 3443135"/>
              <a:gd name="connsiteX26" fmla="*/ 1942803 w 5295970"/>
              <a:gd name="connsiteY26" fmla="*/ 3287028 h 3443135"/>
              <a:gd name="connsiteX27" fmla="*/ 1875662 w 5295970"/>
              <a:gd name="connsiteY27" fmla="*/ 3330876 h 3443135"/>
              <a:gd name="connsiteX28" fmla="*/ 1691566 w 5295970"/>
              <a:gd name="connsiteY28" fmla="*/ 3329653 h 3443135"/>
              <a:gd name="connsiteX29" fmla="*/ 1587559 w 5295970"/>
              <a:gd name="connsiteY29" fmla="*/ 3251648 h 3443135"/>
              <a:gd name="connsiteX30" fmla="*/ 1461918 w 5295970"/>
              <a:gd name="connsiteY30" fmla="*/ 3343064 h 3443135"/>
              <a:gd name="connsiteX31" fmla="*/ 1355847 w 5295970"/>
              <a:gd name="connsiteY31" fmla="*/ 3435689 h 3443135"/>
              <a:gd name="connsiteX32" fmla="*/ 1275052 w 5295970"/>
              <a:gd name="connsiteY32" fmla="*/ 3439667 h 3443135"/>
              <a:gd name="connsiteX33" fmla="*/ 1240866 w 5295970"/>
              <a:gd name="connsiteY33" fmla="*/ 3381657 h 3443135"/>
              <a:gd name="connsiteX34" fmla="*/ 1132525 w 5295970"/>
              <a:gd name="connsiteY34" fmla="*/ 3381656 h 3443135"/>
              <a:gd name="connsiteX35" fmla="*/ 1054314 w 5295970"/>
              <a:gd name="connsiteY35" fmla="*/ 3344780 h 3443135"/>
              <a:gd name="connsiteX36" fmla="*/ 959179 w 5295970"/>
              <a:gd name="connsiteY36" fmla="*/ 3385991 h 3443135"/>
              <a:gd name="connsiteX37" fmla="*/ 840795 w 5295970"/>
              <a:gd name="connsiteY37" fmla="*/ 3388232 h 3443135"/>
              <a:gd name="connsiteX38" fmla="*/ 781776 w 5295970"/>
              <a:gd name="connsiteY38" fmla="*/ 3431664 h 3443135"/>
              <a:gd name="connsiteX39" fmla="*/ 713574 w 5295970"/>
              <a:gd name="connsiteY39" fmla="*/ 3388233 h 3443135"/>
              <a:gd name="connsiteX40" fmla="*/ 629822 w 5295970"/>
              <a:gd name="connsiteY40" fmla="*/ 3394658 h 3443135"/>
              <a:gd name="connsiteX41" fmla="*/ 554548 w 5295970"/>
              <a:gd name="connsiteY41" fmla="*/ 3364379 h 3443135"/>
              <a:gd name="connsiteX42" fmla="*/ 486757 w 5295970"/>
              <a:gd name="connsiteY42" fmla="*/ 3304664 h 3443135"/>
              <a:gd name="connsiteX43" fmla="*/ 404472 w 5295970"/>
              <a:gd name="connsiteY43" fmla="*/ 3394658 h 3443135"/>
              <a:gd name="connsiteX44" fmla="*/ 269743 w 5295970"/>
              <a:gd name="connsiteY44" fmla="*/ 3431663 h 3443135"/>
              <a:gd name="connsiteX45" fmla="*/ 157455 w 5295970"/>
              <a:gd name="connsiteY45" fmla="*/ 3407659 h 3443135"/>
              <a:gd name="connsiteX46" fmla="*/ 62391 w 5295970"/>
              <a:gd name="connsiteY46" fmla="*/ 3430958 h 3443135"/>
              <a:gd name="connsiteX47" fmla="*/ 218 w 5295970"/>
              <a:gd name="connsiteY47" fmla="*/ 3300294 h 3443135"/>
              <a:gd name="connsiteX48" fmla="*/ 317204 w 5295970"/>
              <a:gd name="connsiteY48" fmla="*/ 126494 h 3443135"/>
              <a:gd name="connsiteX0" fmla="*/ 389809 w 5290593"/>
              <a:gd name="connsiteY0" fmla="*/ 83274 h 3483694"/>
              <a:gd name="connsiteX1" fmla="*/ 4952607 w 5290593"/>
              <a:gd name="connsiteY1" fmla="*/ 324523 h 3483694"/>
              <a:gd name="connsiteX2" fmla="*/ 4952608 w 5290593"/>
              <a:gd name="connsiteY2" fmla="*/ 3340853 h 3483694"/>
              <a:gd name="connsiteX3" fmla="*/ 4893537 w 5290593"/>
              <a:gd name="connsiteY3" fmla="*/ 3440382 h 3483694"/>
              <a:gd name="connsiteX4" fmla="*/ 4761691 w 5290593"/>
              <a:gd name="connsiteY4" fmla="*/ 3470808 h 3483694"/>
              <a:gd name="connsiteX5" fmla="*/ 4569175 w 5290593"/>
              <a:gd name="connsiteY5" fmla="*/ 3382630 h 3483694"/>
              <a:gd name="connsiteX6" fmla="*/ 4399230 w 5290593"/>
              <a:gd name="connsiteY6" fmla="*/ 3432708 h 3483694"/>
              <a:gd name="connsiteX7" fmla="*/ 4209031 w 5290593"/>
              <a:gd name="connsiteY7" fmla="*/ 3403786 h 3483694"/>
              <a:gd name="connsiteX8" fmla="*/ 3996561 w 5290593"/>
              <a:gd name="connsiteY8" fmla="*/ 3387656 h 3483694"/>
              <a:gd name="connsiteX9" fmla="*/ 3836723 w 5290593"/>
              <a:gd name="connsiteY9" fmla="*/ 3270538 h 3483694"/>
              <a:gd name="connsiteX10" fmla="*/ 3689378 w 5290593"/>
              <a:gd name="connsiteY10" fmla="*/ 3305207 h 3483694"/>
              <a:gd name="connsiteX11" fmla="*/ 3575776 w 5290593"/>
              <a:gd name="connsiteY11" fmla="*/ 3384135 h 3483694"/>
              <a:gd name="connsiteX12" fmla="*/ 3512070 w 5290593"/>
              <a:gd name="connsiteY12" fmla="*/ 3324617 h 3483694"/>
              <a:gd name="connsiteX13" fmla="*/ 3364355 w 5290593"/>
              <a:gd name="connsiteY13" fmla="*/ 3383213 h 3483694"/>
              <a:gd name="connsiteX14" fmla="*/ 3262445 w 5290593"/>
              <a:gd name="connsiteY14" fmla="*/ 3369952 h 3483694"/>
              <a:gd name="connsiteX15" fmla="*/ 3161011 w 5290593"/>
              <a:gd name="connsiteY15" fmla="*/ 3380102 h 3483694"/>
              <a:gd name="connsiteX16" fmla="*/ 3070183 w 5290593"/>
              <a:gd name="connsiteY16" fmla="*/ 3298666 h 3483694"/>
              <a:gd name="connsiteX17" fmla="*/ 2970901 w 5290593"/>
              <a:gd name="connsiteY17" fmla="*/ 3317114 h 3483694"/>
              <a:gd name="connsiteX18" fmla="*/ 2835649 w 5290593"/>
              <a:gd name="connsiteY18" fmla="*/ 3192532 h 3483694"/>
              <a:gd name="connsiteX19" fmla="*/ 2746723 w 5290593"/>
              <a:gd name="connsiteY19" fmla="*/ 3227306 h 3483694"/>
              <a:gd name="connsiteX20" fmla="*/ 2709949 w 5290593"/>
              <a:gd name="connsiteY20" fmla="*/ 3282234 h 3483694"/>
              <a:gd name="connsiteX21" fmla="*/ 2640636 w 5290593"/>
              <a:gd name="connsiteY21" fmla="*/ 3331208 h 3483694"/>
              <a:gd name="connsiteX22" fmla="*/ 2529832 w 5290593"/>
              <a:gd name="connsiteY22" fmla="*/ 3379802 h 3483694"/>
              <a:gd name="connsiteX23" fmla="*/ 2384985 w 5290593"/>
              <a:gd name="connsiteY23" fmla="*/ 3346637 h 3483694"/>
              <a:gd name="connsiteX24" fmla="*/ 2300810 w 5290593"/>
              <a:gd name="connsiteY24" fmla="*/ 3377484 h 3483694"/>
              <a:gd name="connsiteX25" fmla="*/ 2098929 w 5290593"/>
              <a:gd name="connsiteY25" fmla="*/ 3309541 h 3483694"/>
              <a:gd name="connsiteX26" fmla="*/ 1942803 w 5290593"/>
              <a:gd name="connsiteY26" fmla="*/ 3327587 h 3483694"/>
              <a:gd name="connsiteX27" fmla="*/ 1875662 w 5290593"/>
              <a:gd name="connsiteY27" fmla="*/ 3371435 h 3483694"/>
              <a:gd name="connsiteX28" fmla="*/ 1691566 w 5290593"/>
              <a:gd name="connsiteY28" fmla="*/ 3370212 h 3483694"/>
              <a:gd name="connsiteX29" fmla="*/ 1587559 w 5290593"/>
              <a:gd name="connsiteY29" fmla="*/ 3292207 h 3483694"/>
              <a:gd name="connsiteX30" fmla="*/ 1461918 w 5290593"/>
              <a:gd name="connsiteY30" fmla="*/ 3383623 h 3483694"/>
              <a:gd name="connsiteX31" fmla="*/ 1355847 w 5290593"/>
              <a:gd name="connsiteY31" fmla="*/ 3476248 h 3483694"/>
              <a:gd name="connsiteX32" fmla="*/ 1275052 w 5290593"/>
              <a:gd name="connsiteY32" fmla="*/ 3480226 h 3483694"/>
              <a:gd name="connsiteX33" fmla="*/ 1240866 w 5290593"/>
              <a:gd name="connsiteY33" fmla="*/ 3422216 h 3483694"/>
              <a:gd name="connsiteX34" fmla="*/ 1132525 w 5290593"/>
              <a:gd name="connsiteY34" fmla="*/ 3422215 h 3483694"/>
              <a:gd name="connsiteX35" fmla="*/ 1054314 w 5290593"/>
              <a:gd name="connsiteY35" fmla="*/ 3385339 h 3483694"/>
              <a:gd name="connsiteX36" fmla="*/ 959179 w 5290593"/>
              <a:gd name="connsiteY36" fmla="*/ 3426550 h 3483694"/>
              <a:gd name="connsiteX37" fmla="*/ 840795 w 5290593"/>
              <a:gd name="connsiteY37" fmla="*/ 3428791 h 3483694"/>
              <a:gd name="connsiteX38" fmla="*/ 781776 w 5290593"/>
              <a:gd name="connsiteY38" fmla="*/ 3472223 h 3483694"/>
              <a:gd name="connsiteX39" fmla="*/ 713574 w 5290593"/>
              <a:gd name="connsiteY39" fmla="*/ 3428792 h 3483694"/>
              <a:gd name="connsiteX40" fmla="*/ 629822 w 5290593"/>
              <a:gd name="connsiteY40" fmla="*/ 3435217 h 3483694"/>
              <a:gd name="connsiteX41" fmla="*/ 554548 w 5290593"/>
              <a:gd name="connsiteY41" fmla="*/ 3404938 h 3483694"/>
              <a:gd name="connsiteX42" fmla="*/ 486757 w 5290593"/>
              <a:gd name="connsiteY42" fmla="*/ 3345223 h 3483694"/>
              <a:gd name="connsiteX43" fmla="*/ 404472 w 5290593"/>
              <a:gd name="connsiteY43" fmla="*/ 3435217 h 3483694"/>
              <a:gd name="connsiteX44" fmla="*/ 269743 w 5290593"/>
              <a:gd name="connsiteY44" fmla="*/ 3472222 h 3483694"/>
              <a:gd name="connsiteX45" fmla="*/ 157455 w 5290593"/>
              <a:gd name="connsiteY45" fmla="*/ 3448218 h 3483694"/>
              <a:gd name="connsiteX46" fmla="*/ 62391 w 5290593"/>
              <a:gd name="connsiteY46" fmla="*/ 3471517 h 3483694"/>
              <a:gd name="connsiteX47" fmla="*/ 218 w 5290593"/>
              <a:gd name="connsiteY47" fmla="*/ 3340853 h 3483694"/>
              <a:gd name="connsiteX48" fmla="*/ 389809 w 5290593"/>
              <a:gd name="connsiteY48" fmla="*/ 83274 h 3483694"/>
              <a:gd name="connsiteX0" fmla="*/ 410334 w 5311118"/>
              <a:gd name="connsiteY0" fmla="*/ 140362 h 3679332"/>
              <a:gd name="connsiteX1" fmla="*/ 4973132 w 5311118"/>
              <a:gd name="connsiteY1" fmla="*/ 381611 h 3679332"/>
              <a:gd name="connsiteX2" fmla="*/ 4973133 w 5311118"/>
              <a:gd name="connsiteY2" fmla="*/ 3397941 h 3679332"/>
              <a:gd name="connsiteX3" fmla="*/ 4914062 w 5311118"/>
              <a:gd name="connsiteY3" fmla="*/ 3497470 h 3679332"/>
              <a:gd name="connsiteX4" fmla="*/ 4782216 w 5311118"/>
              <a:gd name="connsiteY4" fmla="*/ 3527896 h 3679332"/>
              <a:gd name="connsiteX5" fmla="*/ 4589700 w 5311118"/>
              <a:gd name="connsiteY5" fmla="*/ 3439718 h 3679332"/>
              <a:gd name="connsiteX6" fmla="*/ 4419755 w 5311118"/>
              <a:gd name="connsiteY6" fmla="*/ 3489796 h 3679332"/>
              <a:gd name="connsiteX7" fmla="*/ 4229556 w 5311118"/>
              <a:gd name="connsiteY7" fmla="*/ 3460874 h 3679332"/>
              <a:gd name="connsiteX8" fmla="*/ 4017086 w 5311118"/>
              <a:gd name="connsiteY8" fmla="*/ 3444744 h 3679332"/>
              <a:gd name="connsiteX9" fmla="*/ 3857248 w 5311118"/>
              <a:gd name="connsiteY9" fmla="*/ 3327626 h 3679332"/>
              <a:gd name="connsiteX10" fmla="*/ 3709903 w 5311118"/>
              <a:gd name="connsiteY10" fmla="*/ 3362295 h 3679332"/>
              <a:gd name="connsiteX11" fmla="*/ 3596301 w 5311118"/>
              <a:gd name="connsiteY11" fmla="*/ 3441223 h 3679332"/>
              <a:gd name="connsiteX12" fmla="*/ 3532595 w 5311118"/>
              <a:gd name="connsiteY12" fmla="*/ 3381705 h 3679332"/>
              <a:gd name="connsiteX13" fmla="*/ 3384880 w 5311118"/>
              <a:gd name="connsiteY13" fmla="*/ 3440301 h 3679332"/>
              <a:gd name="connsiteX14" fmla="*/ 3282970 w 5311118"/>
              <a:gd name="connsiteY14" fmla="*/ 3427040 h 3679332"/>
              <a:gd name="connsiteX15" fmla="*/ 3181536 w 5311118"/>
              <a:gd name="connsiteY15" fmla="*/ 3437190 h 3679332"/>
              <a:gd name="connsiteX16" fmla="*/ 3090708 w 5311118"/>
              <a:gd name="connsiteY16" fmla="*/ 3355754 h 3679332"/>
              <a:gd name="connsiteX17" fmla="*/ 2991426 w 5311118"/>
              <a:gd name="connsiteY17" fmla="*/ 3374202 h 3679332"/>
              <a:gd name="connsiteX18" fmla="*/ 2856174 w 5311118"/>
              <a:gd name="connsiteY18" fmla="*/ 3249620 h 3679332"/>
              <a:gd name="connsiteX19" fmla="*/ 2767248 w 5311118"/>
              <a:gd name="connsiteY19" fmla="*/ 3284394 h 3679332"/>
              <a:gd name="connsiteX20" fmla="*/ 2730474 w 5311118"/>
              <a:gd name="connsiteY20" fmla="*/ 3339322 h 3679332"/>
              <a:gd name="connsiteX21" fmla="*/ 2661161 w 5311118"/>
              <a:gd name="connsiteY21" fmla="*/ 3388296 h 3679332"/>
              <a:gd name="connsiteX22" fmla="*/ 2550357 w 5311118"/>
              <a:gd name="connsiteY22" fmla="*/ 3436890 h 3679332"/>
              <a:gd name="connsiteX23" fmla="*/ 2405510 w 5311118"/>
              <a:gd name="connsiteY23" fmla="*/ 3403725 h 3679332"/>
              <a:gd name="connsiteX24" fmla="*/ 2321335 w 5311118"/>
              <a:gd name="connsiteY24" fmla="*/ 3434572 h 3679332"/>
              <a:gd name="connsiteX25" fmla="*/ 2119454 w 5311118"/>
              <a:gd name="connsiteY25" fmla="*/ 3366629 h 3679332"/>
              <a:gd name="connsiteX26" fmla="*/ 1963328 w 5311118"/>
              <a:gd name="connsiteY26" fmla="*/ 3384675 h 3679332"/>
              <a:gd name="connsiteX27" fmla="*/ 1896187 w 5311118"/>
              <a:gd name="connsiteY27" fmla="*/ 3428523 h 3679332"/>
              <a:gd name="connsiteX28" fmla="*/ 1712091 w 5311118"/>
              <a:gd name="connsiteY28" fmla="*/ 3427300 h 3679332"/>
              <a:gd name="connsiteX29" fmla="*/ 1608084 w 5311118"/>
              <a:gd name="connsiteY29" fmla="*/ 3349295 h 3679332"/>
              <a:gd name="connsiteX30" fmla="*/ 1482443 w 5311118"/>
              <a:gd name="connsiteY30" fmla="*/ 3440711 h 3679332"/>
              <a:gd name="connsiteX31" fmla="*/ 1376372 w 5311118"/>
              <a:gd name="connsiteY31" fmla="*/ 3533336 h 3679332"/>
              <a:gd name="connsiteX32" fmla="*/ 1295577 w 5311118"/>
              <a:gd name="connsiteY32" fmla="*/ 3537314 h 3679332"/>
              <a:gd name="connsiteX33" fmla="*/ 1261391 w 5311118"/>
              <a:gd name="connsiteY33" fmla="*/ 3479304 h 3679332"/>
              <a:gd name="connsiteX34" fmla="*/ 1153050 w 5311118"/>
              <a:gd name="connsiteY34" fmla="*/ 3479303 h 3679332"/>
              <a:gd name="connsiteX35" fmla="*/ 1074839 w 5311118"/>
              <a:gd name="connsiteY35" fmla="*/ 3442427 h 3679332"/>
              <a:gd name="connsiteX36" fmla="*/ 979704 w 5311118"/>
              <a:gd name="connsiteY36" fmla="*/ 3483638 h 3679332"/>
              <a:gd name="connsiteX37" fmla="*/ 861320 w 5311118"/>
              <a:gd name="connsiteY37" fmla="*/ 3485879 h 3679332"/>
              <a:gd name="connsiteX38" fmla="*/ 802301 w 5311118"/>
              <a:gd name="connsiteY38" fmla="*/ 3529311 h 3679332"/>
              <a:gd name="connsiteX39" fmla="*/ 734099 w 5311118"/>
              <a:gd name="connsiteY39" fmla="*/ 3485880 h 3679332"/>
              <a:gd name="connsiteX40" fmla="*/ 650347 w 5311118"/>
              <a:gd name="connsiteY40" fmla="*/ 3492305 h 3679332"/>
              <a:gd name="connsiteX41" fmla="*/ 575073 w 5311118"/>
              <a:gd name="connsiteY41" fmla="*/ 3462026 h 3679332"/>
              <a:gd name="connsiteX42" fmla="*/ 507282 w 5311118"/>
              <a:gd name="connsiteY42" fmla="*/ 3402311 h 3679332"/>
              <a:gd name="connsiteX43" fmla="*/ 424997 w 5311118"/>
              <a:gd name="connsiteY43" fmla="*/ 3492305 h 3679332"/>
              <a:gd name="connsiteX44" fmla="*/ 290268 w 5311118"/>
              <a:gd name="connsiteY44" fmla="*/ 3529310 h 3679332"/>
              <a:gd name="connsiteX45" fmla="*/ 177980 w 5311118"/>
              <a:gd name="connsiteY45" fmla="*/ 3505306 h 3679332"/>
              <a:gd name="connsiteX46" fmla="*/ 82916 w 5311118"/>
              <a:gd name="connsiteY46" fmla="*/ 3528605 h 3679332"/>
              <a:gd name="connsiteX47" fmla="*/ 20743 w 5311118"/>
              <a:gd name="connsiteY47" fmla="*/ 3397941 h 3679332"/>
              <a:gd name="connsiteX48" fmla="*/ 173300 w 5311118"/>
              <a:gd name="connsiteY48" fmla="*/ 1282030 h 3679332"/>
              <a:gd name="connsiteX49" fmla="*/ 410334 w 5311118"/>
              <a:gd name="connsiteY49" fmla="*/ 140362 h 3679332"/>
              <a:gd name="connsiteX0" fmla="*/ 485034 w 5385818"/>
              <a:gd name="connsiteY0" fmla="*/ 288627 h 3827597"/>
              <a:gd name="connsiteX1" fmla="*/ 5047832 w 5385818"/>
              <a:gd name="connsiteY1" fmla="*/ 529876 h 3827597"/>
              <a:gd name="connsiteX2" fmla="*/ 5047833 w 5385818"/>
              <a:gd name="connsiteY2" fmla="*/ 3546206 h 3827597"/>
              <a:gd name="connsiteX3" fmla="*/ 4988762 w 5385818"/>
              <a:gd name="connsiteY3" fmla="*/ 3645735 h 3827597"/>
              <a:gd name="connsiteX4" fmla="*/ 4856916 w 5385818"/>
              <a:gd name="connsiteY4" fmla="*/ 3676161 h 3827597"/>
              <a:gd name="connsiteX5" fmla="*/ 4664400 w 5385818"/>
              <a:gd name="connsiteY5" fmla="*/ 3587983 h 3827597"/>
              <a:gd name="connsiteX6" fmla="*/ 4494455 w 5385818"/>
              <a:gd name="connsiteY6" fmla="*/ 3638061 h 3827597"/>
              <a:gd name="connsiteX7" fmla="*/ 4304256 w 5385818"/>
              <a:gd name="connsiteY7" fmla="*/ 3609139 h 3827597"/>
              <a:gd name="connsiteX8" fmla="*/ 4091786 w 5385818"/>
              <a:gd name="connsiteY8" fmla="*/ 3593009 h 3827597"/>
              <a:gd name="connsiteX9" fmla="*/ 3931948 w 5385818"/>
              <a:gd name="connsiteY9" fmla="*/ 3475891 h 3827597"/>
              <a:gd name="connsiteX10" fmla="*/ 3784603 w 5385818"/>
              <a:gd name="connsiteY10" fmla="*/ 3510560 h 3827597"/>
              <a:gd name="connsiteX11" fmla="*/ 3671001 w 5385818"/>
              <a:gd name="connsiteY11" fmla="*/ 3589488 h 3827597"/>
              <a:gd name="connsiteX12" fmla="*/ 3607295 w 5385818"/>
              <a:gd name="connsiteY12" fmla="*/ 3529970 h 3827597"/>
              <a:gd name="connsiteX13" fmla="*/ 3459580 w 5385818"/>
              <a:gd name="connsiteY13" fmla="*/ 3588566 h 3827597"/>
              <a:gd name="connsiteX14" fmla="*/ 3357670 w 5385818"/>
              <a:gd name="connsiteY14" fmla="*/ 3575305 h 3827597"/>
              <a:gd name="connsiteX15" fmla="*/ 3256236 w 5385818"/>
              <a:gd name="connsiteY15" fmla="*/ 3585455 h 3827597"/>
              <a:gd name="connsiteX16" fmla="*/ 3165408 w 5385818"/>
              <a:gd name="connsiteY16" fmla="*/ 3504019 h 3827597"/>
              <a:gd name="connsiteX17" fmla="*/ 3066126 w 5385818"/>
              <a:gd name="connsiteY17" fmla="*/ 3522467 h 3827597"/>
              <a:gd name="connsiteX18" fmla="*/ 2930874 w 5385818"/>
              <a:gd name="connsiteY18" fmla="*/ 3397885 h 3827597"/>
              <a:gd name="connsiteX19" fmla="*/ 2841948 w 5385818"/>
              <a:gd name="connsiteY19" fmla="*/ 3432659 h 3827597"/>
              <a:gd name="connsiteX20" fmla="*/ 2805174 w 5385818"/>
              <a:gd name="connsiteY20" fmla="*/ 3487587 h 3827597"/>
              <a:gd name="connsiteX21" fmla="*/ 2735861 w 5385818"/>
              <a:gd name="connsiteY21" fmla="*/ 3536561 h 3827597"/>
              <a:gd name="connsiteX22" fmla="*/ 2625057 w 5385818"/>
              <a:gd name="connsiteY22" fmla="*/ 3585155 h 3827597"/>
              <a:gd name="connsiteX23" fmla="*/ 2480210 w 5385818"/>
              <a:gd name="connsiteY23" fmla="*/ 3551990 h 3827597"/>
              <a:gd name="connsiteX24" fmla="*/ 2396035 w 5385818"/>
              <a:gd name="connsiteY24" fmla="*/ 3582837 h 3827597"/>
              <a:gd name="connsiteX25" fmla="*/ 2194154 w 5385818"/>
              <a:gd name="connsiteY25" fmla="*/ 3514894 h 3827597"/>
              <a:gd name="connsiteX26" fmla="*/ 2038028 w 5385818"/>
              <a:gd name="connsiteY26" fmla="*/ 3532940 h 3827597"/>
              <a:gd name="connsiteX27" fmla="*/ 1970887 w 5385818"/>
              <a:gd name="connsiteY27" fmla="*/ 3576788 h 3827597"/>
              <a:gd name="connsiteX28" fmla="*/ 1786791 w 5385818"/>
              <a:gd name="connsiteY28" fmla="*/ 3575565 h 3827597"/>
              <a:gd name="connsiteX29" fmla="*/ 1682784 w 5385818"/>
              <a:gd name="connsiteY29" fmla="*/ 3497560 h 3827597"/>
              <a:gd name="connsiteX30" fmla="*/ 1557143 w 5385818"/>
              <a:gd name="connsiteY30" fmla="*/ 3588976 h 3827597"/>
              <a:gd name="connsiteX31" fmla="*/ 1451072 w 5385818"/>
              <a:gd name="connsiteY31" fmla="*/ 3681601 h 3827597"/>
              <a:gd name="connsiteX32" fmla="*/ 1370277 w 5385818"/>
              <a:gd name="connsiteY32" fmla="*/ 3685579 h 3827597"/>
              <a:gd name="connsiteX33" fmla="*/ 1336091 w 5385818"/>
              <a:gd name="connsiteY33" fmla="*/ 3627569 h 3827597"/>
              <a:gd name="connsiteX34" fmla="*/ 1227750 w 5385818"/>
              <a:gd name="connsiteY34" fmla="*/ 3627568 h 3827597"/>
              <a:gd name="connsiteX35" fmla="*/ 1149539 w 5385818"/>
              <a:gd name="connsiteY35" fmla="*/ 3590692 h 3827597"/>
              <a:gd name="connsiteX36" fmla="*/ 1054404 w 5385818"/>
              <a:gd name="connsiteY36" fmla="*/ 3631903 h 3827597"/>
              <a:gd name="connsiteX37" fmla="*/ 936020 w 5385818"/>
              <a:gd name="connsiteY37" fmla="*/ 3634144 h 3827597"/>
              <a:gd name="connsiteX38" fmla="*/ 877001 w 5385818"/>
              <a:gd name="connsiteY38" fmla="*/ 3677576 h 3827597"/>
              <a:gd name="connsiteX39" fmla="*/ 808799 w 5385818"/>
              <a:gd name="connsiteY39" fmla="*/ 3634145 h 3827597"/>
              <a:gd name="connsiteX40" fmla="*/ 725047 w 5385818"/>
              <a:gd name="connsiteY40" fmla="*/ 3640570 h 3827597"/>
              <a:gd name="connsiteX41" fmla="*/ 649773 w 5385818"/>
              <a:gd name="connsiteY41" fmla="*/ 3610291 h 3827597"/>
              <a:gd name="connsiteX42" fmla="*/ 581982 w 5385818"/>
              <a:gd name="connsiteY42" fmla="*/ 3550576 h 3827597"/>
              <a:gd name="connsiteX43" fmla="*/ 499697 w 5385818"/>
              <a:gd name="connsiteY43" fmla="*/ 3640570 h 3827597"/>
              <a:gd name="connsiteX44" fmla="*/ 364968 w 5385818"/>
              <a:gd name="connsiteY44" fmla="*/ 3677575 h 3827597"/>
              <a:gd name="connsiteX45" fmla="*/ 252680 w 5385818"/>
              <a:gd name="connsiteY45" fmla="*/ 3653571 h 3827597"/>
              <a:gd name="connsiteX46" fmla="*/ 157616 w 5385818"/>
              <a:gd name="connsiteY46" fmla="*/ 3676870 h 3827597"/>
              <a:gd name="connsiteX47" fmla="*/ 95443 w 5385818"/>
              <a:gd name="connsiteY47" fmla="*/ 3546206 h 3827597"/>
              <a:gd name="connsiteX48" fmla="*/ 485034 w 5385818"/>
              <a:gd name="connsiteY48" fmla="*/ 288627 h 3827597"/>
              <a:gd name="connsiteX0" fmla="*/ 351970 w 5684669"/>
              <a:gd name="connsiteY0" fmla="*/ 376566 h 3675374"/>
              <a:gd name="connsiteX1" fmla="*/ 5316897 w 5684669"/>
              <a:gd name="connsiteY1" fmla="*/ 377653 h 3675374"/>
              <a:gd name="connsiteX2" fmla="*/ 5316898 w 5684669"/>
              <a:gd name="connsiteY2" fmla="*/ 3393983 h 3675374"/>
              <a:gd name="connsiteX3" fmla="*/ 5257827 w 5684669"/>
              <a:gd name="connsiteY3" fmla="*/ 3493512 h 3675374"/>
              <a:gd name="connsiteX4" fmla="*/ 5125981 w 5684669"/>
              <a:gd name="connsiteY4" fmla="*/ 3523938 h 3675374"/>
              <a:gd name="connsiteX5" fmla="*/ 4933465 w 5684669"/>
              <a:gd name="connsiteY5" fmla="*/ 3435760 h 3675374"/>
              <a:gd name="connsiteX6" fmla="*/ 4763520 w 5684669"/>
              <a:gd name="connsiteY6" fmla="*/ 3485838 h 3675374"/>
              <a:gd name="connsiteX7" fmla="*/ 4573321 w 5684669"/>
              <a:gd name="connsiteY7" fmla="*/ 3456916 h 3675374"/>
              <a:gd name="connsiteX8" fmla="*/ 4360851 w 5684669"/>
              <a:gd name="connsiteY8" fmla="*/ 3440786 h 3675374"/>
              <a:gd name="connsiteX9" fmla="*/ 4201013 w 5684669"/>
              <a:gd name="connsiteY9" fmla="*/ 3323668 h 3675374"/>
              <a:gd name="connsiteX10" fmla="*/ 4053668 w 5684669"/>
              <a:gd name="connsiteY10" fmla="*/ 3358337 h 3675374"/>
              <a:gd name="connsiteX11" fmla="*/ 3940066 w 5684669"/>
              <a:gd name="connsiteY11" fmla="*/ 3437265 h 3675374"/>
              <a:gd name="connsiteX12" fmla="*/ 3876360 w 5684669"/>
              <a:gd name="connsiteY12" fmla="*/ 3377747 h 3675374"/>
              <a:gd name="connsiteX13" fmla="*/ 3728645 w 5684669"/>
              <a:gd name="connsiteY13" fmla="*/ 3436343 h 3675374"/>
              <a:gd name="connsiteX14" fmla="*/ 3626735 w 5684669"/>
              <a:gd name="connsiteY14" fmla="*/ 3423082 h 3675374"/>
              <a:gd name="connsiteX15" fmla="*/ 3525301 w 5684669"/>
              <a:gd name="connsiteY15" fmla="*/ 3433232 h 3675374"/>
              <a:gd name="connsiteX16" fmla="*/ 3434473 w 5684669"/>
              <a:gd name="connsiteY16" fmla="*/ 3351796 h 3675374"/>
              <a:gd name="connsiteX17" fmla="*/ 3335191 w 5684669"/>
              <a:gd name="connsiteY17" fmla="*/ 3370244 h 3675374"/>
              <a:gd name="connsiteX18" fmla="*/ 3199939 w 5684669"/>
              <a:gd name="connsiteY18" fmla="*/ 3245662 h 3675374"/>
              <a:gd name="connsiteX19" fmla="*/ 3111013 w 5684669"/>
              <a:gd name="connsiteY19" fmla="*/ 3280436 h 3675374"/>
              <a:gd name="connsiteX20" fmla="*/ 3074239 w 5684669"/>
              <a:gd name="connsiteY20" fmla="*/ 3335364 h 3675374"/>
              <a:gd name="connsiteX21" fmla="*/ 3004926 w 5684669"/>
              <a:gd name="connsiteY21" fmla="*/ 3384338 h 3675374"/>
              <a:gd name="connsiteX22" fmla="*/ 2894122 w 5684669"/>
              <a:gd name="connsiteY22" fmla="*/ 3432932 h 3675374"/>
              <a:gd name="connsiteX23" fmla="*/ 2749275 w 5684669"/>
              <a:gd name="connsiteY23" fmla="*/ 3399767 h 3675374"/>
              <a:gd name="connsiteX24" fmla="*/ 2665100 w 5684669"/>
              <a:gd name="connsiteY24" fmla="*/ 3430614 h 3675374"/>
              <a:gd name="connsiteX25" fmla="*/ 2463219 w 5684669"/>
              <a:gd name="connsiteY25" fmla="*/ 3362671 h 3675374"/>
              <a:gd name="connsiteX26" fmla="*/ 2307093 w 5684669"/>
              <a:gd name="connsiteY26" fmla="*/ 3380717 h 3675374"/>
              <a:gd name="connsiteX27" fmla="*/ 2239952 w 5684669"/>
              <a:gd name="connsiteY27" fmla="*/ 3424565 h 3675374"/>
              <a:gd name="connsiteX28" fmla="*/ 2055856 w 5684669"/>
              <a:gd name="connsiteY28" fmla="*/ 3423342 h 3675374"/>
              <a:gd name="connsiteX29" fmla="*/ 1951849 w 5684669"/>
              <a:gd name="connsiteY29" fmla="*/ 3345337 h 3675374"/>
              <a:gd name="connsiteX30" fmla="*/ 1826208 w 5684669"/>
              <a:gd name="connsiteY30" fmla="*/ 3436753 h 3675374"/>
              <a:gd name="connsiteX31" fmla="*/ 1720137 w 5684669"/>
              <a:gd name="connsiteY31" fmla="*/ 3529378 h 3675374"/>
              <a:gd name="connsiteX32" fmla="*/ 1639342 w 5684669"/>
              <a:gd name="connsiteY32" fmla="*/ 3533356 h 3675374"/>
              <a:gd name="connsiteX33" fmla="*/ 1605156 w 5684669"/>
              <a:gd name="connsiteY33" fmla="*/ 3475346 h 3675374"/>
              <a:gd name="connsiteX34" fmla="*/ 1496815 w 5684669"/>
              <a:gd name="connsiteY34" fmla="*/ 3475345 h 3675374"/>
              <a:gd name="connsiteX35" fmla="*/ 1418604 w 5684669"/>
              <a:gd name="connsiteY35" fmla="*/ 3438469 h 3675374"/>
              <a:gd name="connsiteX36" fmla="*/ 1323469 w 5684669"/>
              <a:gd name="connsiteY36" fmla="*/ 3479680 h 3675374"/>
              <a:gd name="connsiteX37" fmla="*/ 1205085 w 5684669"/>
              <a:gd name="connsiteY37" fmla="*/ 3481921 h 3675374"/>
              <a:gd name="connsiteX38" fmla="*/ 1146066 w 5684669"/>
              <a:gd name="connsiteY38" fmla="*/ 3525353 h 3675374"/>
              <a:gd name="connsiteX39" fmla="*/ 1077864 w 5684669"/>
              <a:gd name="connsiteY39" fmla="*/ 3481922 h 3675374"/>
              <a:gd name="connsiteX40" fmla="*/ 994112 w 5684669"/>
              <a:gd name="connsiteY40" fmla="*/ 3488347 h 3675374"/>
              <a:gd name="connsiteX41" fmla="*/ 918838 w 5684669"/>
              <a:gd name="connsiteY41" fmla="*/ 3458068 h 3675374"/>
              <a:gd name="connsiteX42" fmla="*/ 851047 w 5684669"/>
              <a:gd name="connsiteY42" fmla="*/ 3398353 h 3675374"/>
              <a:gd name="connsiteX43" fmla="*/ 768762 w 5684669"/>
              <a:gd name="connsiteY43" fmla="*/ 3488347 h 3675374"/>
              <a:gd name="connsiteX44" fmla="*/ 634033 w 5684669"/>
              <a:gd name="connsiteY44" fmla="*/ 3525352 h 3675374"/>
              <a:gd name="connsiteX45" fmla="*/ 521745 w 5684669"/>
              <a:gd name="connsiteY45" fmla="*/ 3501348 h 3675374"/>
              <a:gd name="connsiteX46" fmla="*/ 426681 w 5684669"/>
              <a:gd name="connsiteY46" fmla="*/ 3524647 h 3675374"/>
              <a:gd name="connsiteX47" fmla="*/ 364508 w 5684669"/>
              <a:gd name="connsiteY47" fmla="*/ 3393983 h 3675374"/>
              <a:gd name="connsiteX48" fmla="*/ 351970 w 5684669"/>
              <a:gd name="connsiteY48" fmla="*/ 376566 h 3675374"/>
              <a:gd name="connsiteX0" fmla="*/ 351970 w 5684669"/>
              <a:gd name="connsiteY0" fmla="*/ 376566 h 3675374"/>
              <a:gd name="connsiteX1" fmla="*/ 5316897 w 5684669"/>
              <a:gd name="connsiteY1" fmla="*/ 377653 h 3675374"/>
              <a:gd name="connsiteX2" fmla="*/ 5316898 w 5684669"/>
              <a:gd name="connsiteY2" fmla="*/ 3393983 h 3675374"/>
              <a:gd name="connsiteX3" fmla="*/ 5257827 w 5684669"/>
              <a:gd name="connsiteY3" fmla="*/ 3493512 h 3675374"/>
              <a:gd name="connsiteX4" fmla="*/ 5125981 w 5684669"/>
              <a:gd name="connsiteY4" fmla="*/ 3523938 h 3675374"/>
              <a:gd name="connsiteX5" fmla="*/ 4933465 w 5684669"/>
              <a:gd name="connsiteY5" fmla="*/ 3435760 h 3675374"/>
              <a:gd name="connsiteX6" fmla="*/ 4763520 w 5684669"/>
              <a:gd name="connsiteY6" fmla="*/ 3485838 h 3675374"/>
              <a:gd name="connsiteX7" fmla="*/ 4573321 w 5684669"/>
              <a:gd name="connsiteY7" fmla="*/ 3456916 h 3675374"/>
              <a:gd name="connsiteX8" fmla="*/ 4360851 w 5684669"/>
              <a:gd name="connsiteY8" fmla="*/ 3440786 h 3675374"/>
              <a:gd name="connsiteX9" fmla="*/ 4201013 w 5684669"/>
              <a:gd name="connsiteY9" fmla="*/ 3323668 h 3675374"/>
              <a:gd name="connsiteX10" fmla="*/ 4053668 w 5684669"/>
              <a:gd name="connsiteY10" fmla="*/ 3358337 h 3675374"/>
              <a:gd name="connsiteX11" fmla="*/ 3940066 w 5684669"/>
              <a:gd name="connsiteY11" fmla="*/ 3437265 h 3675374"/>
              <a:gd name="connsiteX12" fmla="*/ 3876360 w 5684669"/>
              <a:gd name="connsiteY12" fmla="*/ 3377747 h 3675374"/>
              <a:gd name="connsiteX13" fmla="*/ 3728645 w 5684669"/>
              <a:gd name="connsiteY13" fmla="*/ 3436343 h 3675374"/>
              <a:gd name="connsiteX14" fmla="*/ 3626735 w 5684669"/>
              <a:gd name="connsiteY14" fmla="*/ 3423082 h 3675374"/>
              <a:gd name="connsiteX15" fmla="*/ 3525301 w 5684669"/>
              <a:gd name="connsiteY15" fmla="*/ 3433232 h 3675374"/>
              <a:gd name="connsiteX16" fmla="*/ 3434473 w 5684669"/>
              <a:gd name="connsiteY16" fmla="*/ 3351796 h 3675374"/>
              <a:gd name="connsiteX17" fmla="*/ 3335191 w 5684669"/>
              <a:gd name="connsiteY17" fmla="*/ 3370244 h 3675374"/>
              <a:gd name="connsiteX18" fmla="*/ 3199939 w 5684669"/>
              <a:gd name="connsiteY18" fmla="*/ 3245662 h 3675374"/>
              <a:gd name="connsiteX19" fmla="*/ 3111013 w 5684669"/>
              <a:gd name="connsiteY19" fmla="*/ 3280436 h 3675374"/>
              <a:gd name="connsiteX20" fmla="*/ 3074239 w 5684669"/>
              <a:gd name="connsiteY20" fmla="*/ 3335364 h 3675374"/>
              <a:gd name="connsiteX21" fmla="*/ 3004926 w 5684669"/>
              <a:gd name="connsiteY21" fmla="*/ 3384338 h 3675374"/>
              <a:gd name="connsiteX22" fmla="*/ 2894122 w 5684669"/>
              <a:gd name="connsiteY22" fmla="*/ 3432932 h 3675374"/>
              <a:gd name="connsiteX23" fmla="*/ 2749275 w 5684669"/>
              <a:gd name="connsiteY23" fmla="*/ 3399767 h 3675374"/>
              <a:gd name="connsiteX24" fmla="*/ 2665100 w 5684669"/>
              <a:gd name="connsiteY24" fmla="*/ 3430614 h 3675374"/>
              <a:gd name="connsiteX25" fmla="*/ 2463219 w 5684669"/>
              <a:gd name="connsiteY25" fmla="*/ 3362671 h 3675374"/>
              <a:gd name="connsiteX26" fmla="*/ 2307093 w 5684669"/>
              <a:gd name="connsiteY26" fmla="*/ 3380717 h 3675374"/>
              <a:gd name="connsiteX27" fmla="*/ 2239952 w 5684669"/>
              <a:gd name="connsiteY27" fmla="*/ 3424565 h 3675374"/>
              <a:gd name="connsiteX28" fmla="*/ 2055856 w 5684669"/>
              <a:gd name="connsiteY28" fmla="*/ 3423342 h 3675374"/>
              <a:gd name="connsiteX29" fmla="*/ 1951849 w 5684669"/>
              <a:gd name="connsiteY29" fmla="*/ 3345337 h 3675374"/>
              <a:gd name="connsiteX30" fmla="*/ 1826208 w 5684669"/>
              <a:gd name="connsiteY30" fmla="*/ 3436753 h 3675374"/>
              <a:gd name="connsiteX31" fmla="*/ 1720137 w 5684669"/>
              <a:gd name="connsiteY31" fmla="*/ 3529378 h 3675374"/>
              <a:gd name="connsiteX32" fmla="*/ 1639342 w 5684669"/>
              <a:gd name="connsiteY32" fmla="*/ 3533356 h 3675374"/>
              <a:gd name="connsiteX33" fmla="*/ 1605156 w 5684669"/>
              <a:gd name="connsiteY33" fmla="*/ 3475346 h 3675374"/>
              <a:gd name="connsiteX34" fmla="*/ 1496815 w 5684669"/>
              <a:gd name="connsiteY34" fmla="*/ 3475345 h 3675374"/>
              <a:gd name="connsiteX35" fmla="*/ 1418604 w 5684669"/>
              <a:gd name="connsiteY35" fmla="*/ 3438469 h 3675374"/>
              <a:gd name="connsiteX36" fmla="*/ 1323469 w 5684669"/>
              <a:gd name="connsiteY36" fmla="*/ 3479680 h 3675374"/>
              <a:gd name="connsiteX37" fmla="*/ 1205085 w 5684669"/>
              <a:gd name="connsiteY37" fmla="*/ 3481921 h 3675374"/>
              <a:gd name="connsiteX38" fmla="*/ 1146066 w 5684669"/>
              <a:gd name="connsiteY38" fmla="*/ 3525353 h 3675374"/>
              <a:gd name="connsiteX39" fmla="*/ 1077864 w 5684669"/>
              <a:gd name="connsiteY39" fmla="*/ 3481922 h 3675374"/>
              <a:gd name="connsiteX40" fmla="*/ 994112 w 5684669"/>
              <a:gd name="connsiteY40" fmla="*/ 3488347 h 3675374"/>
              <a:gd name="connsiteX41" fmla="*/ 918838 w 5684669"/>
              <a:gd name="connsiteY41" fmla="*/ 3458068 h 3675374"/>
              <a:gd name="connsiteX42" fmla="*/ 851047 w 5684669"/>
              <a:gd name="connsiteY42" fmla="*/ 3398353 h 3675374"/>
              <a:gd name="connsiteX43" fmla="*/ 768762 w 5684669"/>
              <a:gd name="connsiteY43" fmla="*/ 3488347 h 3675374"/>
              <a:gd name="connsiteX44" fmla="*/ 634033 w 5684669"/>
              <a:gd name="connsiteY44" fmla="*/ 3525352 h 3675374"/>
              <a:gd name="connsiteX45" fmla="*/ 521745 w 5684669"/>
              <a:gd name="connsiteY45" fmla="*/ 3501348 h 3675374"/>
              <a:gd name="connsiteX46" fmla="*/ 426681 w 5684669"/>
              <a:gd name="connsiteY46" fmla="*/ 3524647 h 3675374"/>
              <a:gd name="connsiteX47" fmla="*/ 364508 w 5684669"/>
              <a:gd name="connsiteY47" fmla="*/ 3393983 h 3675374"/>
              <a:gd name="connsiteX48" fmla="*/ 351970 w 5684669"/>
              <a:gd name="connsiteY48" fmla="*/ 376566 h 3675374"/>
              <a:gd name="connsiteX0" fmla="*/ 351970 w 5684669"/>
              <a:gd name="connsiteY0" fmla="*/ 223972 h 3522780"/>
              <a:gd name="connsiteX1" fmla="*/ 5316897 w 5684669"/>
              <a:gd name="connsiteY1" fmla="*/ 225059 h 3522780"/>
              <a:gd name="connsiteX2" fmla="*/ 5316898 w 5684669"/>
              <a:gd name="connsiteY2" fmla="*/ 3241389 h 3522780"/>
              <a:gd name="connsiteX3" fmla="*/ 5257827 w 5684669"/>
              <a:gd name="connsiteY3" fmla="*/ 3340918 h 3522780"/>
              <a:gd name="connsiteX4" fmla="*/ 5125981 w 5684669"/>
              <a:gd name="connsiteY4" fmla="*/ 3371344 h 3522780"/>
              <a:gd name="connsiteX5" fmla="*/ 4933465 w 5684669"/>
              <a:gd name="connsiteY5" fmla="*/ 3283166 h 3522780"/>
              <a:gd name="connsiteX6" fmla="*/ 4763520 w 5684669"/>
              <a:gd name="connsiteY6" fmla="*/ 3333244 h 3522780"/>
              <a:gd name="connsiteX7" fmla="*/ 4573321 w 5684669"/>
              <a:gd name="connsiteY7" fmla="*/ 3304322 h 3522780"/>
              <a:gd name="connsiteX8" fmla="*/ 4360851 w 5684669"/>
              <a:gd name="connsiteY8" fmla="*/ 3288192 h 3522780"/>
              <a:gd name="connsiteX9" fmla="*/ 4201013 w 5684669"/>
              <a:gd name="connsiteY9" fmla="*/ 3171074 h 3522780"/>
              <a:gd name="connsiteX10" fmla="*/ 4053668 w 5684669"/>
              <a:gd name="connsiteY10" fmla="*/ 3205743 h 3522780"/>
              <a:gd name="connsiteX11" fmla="*/ 3940066 w 5684669"/>
              <a:gd name="connsiteY11" fmla="*/ 3284671 h 3522780"/>
              <a:gd name="connsiteX12" fmla="*/ 3876360 w 5684669"/>
              <a:gd name="connsiteY12" fmla="*/ 3225153 h 3522780"/>
              <a:gd name="connsiteX13" fmla="*/ 3728645 w 5684669"/>
              <a:gd name="connsiteY13" fmla="*/ 3283749 h 3522780"/>
              <a:gd name="connsiteX14" fmla="*/ 3626735 w 5684669"/>
              <a:gd name="connsiteY14" fmla="*/ 3270488 h 3522780"/>
              <a:gd name="connsiteX15" fmla="*/ 3525301 w 5684669"/>
              <a:gd name="connsiteY15" fmla="*/ 3280638 h 3522780"/>
              <a:gd name="connsiteX16" fmla="*/ 3434473 w 5684669"/>
              <a:gd name="connsiteY16" fmla="*/ 3199202 h 3522780"/>
              <a:gd name="connsiteX17" fmla="*/ 3335191 w 5684669"/>
              <a:gd name="connsiteY17" fmla="*/ 3217650 h 3522780"/>
              <a:gd name="connsiteX18" fmla="*/ 3199939 w 5684669"/>
              <a:gd name="connsiteY18" fmla="*/ 3093068 h 3522780"/>
              <a:gd name="connsiteX19" fmla="*/ 3111013 w 5684669"/>
              <a:gd name="connsiteY19" fmla="*/ 3127842 h 3522780"/>
              <a:gd name="connsiteX20" fmla="*/ 3074239 w 5684669"/>
              <a:gd name="connsiteY20" fmla="*/ 3182770 h 3522780"/>
              <a:gd name="connsiteX21" fmla="*/ 3004926 w 5684669"/>
              <a:gd name="connsiteY21" fmla="*/ 3231744 h 3522780"/>
              <a:gd name="connsiteX22" fmla="*/ 2894122 w 5684669"/>
              <a:gd name="connsiteY22" fmla="*/ 3280338 h 3522780"/>
              <a:gd name="connsiteX23" fmla="*/ 2749275 w 5684669"/>
              <a:gd name="connsiteY23" fmla="*/ 3247173 h 3522780"/>
              <a:gd name="connsiteX24" fmla="*/ 2665100 w 5684669"/>
              <a:gd name="connsiteY24" fmla="*/ 3278020 h 3522780"/>
              <a:gd name="connsiteX25" fmla="*/ 2463219 w 5684669"/>
              <a:gd name="connsiteY25" fmla="*/ 3210077 h 3522780"/>
              <a:gd name="connsiteX26" fmla="*/ 2307093 w 5684669"/>
              <a:gd name="connsiteY26" fmla="*/ 3228123 h 3522780"/>
              <a:gd name="connsiteX27" fmla="*/ 2239952 w 5684669"/>
              <a:gd name="connsiteY27" fmla="*/ 3271971 h 3522780"/>
              <a:gd name="connsiteX28" fmla="*/ 2055856 w 5684669"/>
              <a:gd name="connsiteY28" fmla="*/ 3270748 h 3522780"/>
              <a:gd name="connsiteX29" fmla="*/ 1951849 w 5684669"/>
              <a:gd name="connsiteY29" fmla="*/ 3192743 h 3522780"/>
              <a:gd name="connsiteX30" fmla="*/ 1826208 w 5684669"/>
              <a:gd name="connsiteY30" fmla="*/ 3284159 h 3522780"/>
              <a:gd name="connsiteX31" fmla="*/ 1720137 w 5684669"/>
              <a:gd name="connsiteY31" fmla="*/ 3376784 h 3522780"/>
              <a:gd name="connsiteX32" fmla="*/ 1639342 w 5684669"/>
              <a:gd name="connsiteY32" fmla="*/ 3380762 h 3522780"/>
              <a:gd name="connsiteX33" fmla="*/ 1605156 w 5684669"/>
              <a:gd name="connsiteY33" fmla="*/ 3322752 h 3522780"/>
              <a:gd name="connsiteX34" fmla="*/ 1496815 w 5684669"/>
              <a:gd name="connsiteY34" fmla="*/ 3322751 h 3522780"/>
              <a:gd name="connsiteX35" fmla="*/ 1418604 w 5684669"/>
              <a:gd name="connsiteY35" fmla="*/ 3285875 h 3522780"/>
              <a:gd name="connsiteX36" fmla="*/ 1323469 w 5684669"/>
              <a:gd name="connsiteY36" fmla="*/ 3327086 h 3522780"/>
              <a:gd name="connsiteX37" fmla="*/ 1205085 w 5684669"/>
              <a:gd name="connsiteY37" fmla="*/ 3329327 h 3522780"/>
              <a:gd name="connsiteX38" fmla="*/ 1146066 w 5684669"/>
              <a:gd name="connsiteY38" fmla="*/ 3372759 h 3522780"/>
              <a:gd name="connsiteX39" fmla="*/ 1077864 w 5684669"/>
              <a:gd name="connsiteY39" fmla="*/ 3329328 h 3522780"/>
              <a:gd name="connsiteX40" fmla="*/ 994112 w 5684669"/>
              <a:gd name="connsiteY40" fmla="*/ 3335753 h 3522780"/>
              <a:gd name="connsiteX41" fmla="*/ 918838 w 5684669"/>
              <a:gd name="connsiteY41" fmla="*/ 3305474 h 3522780"/>
              <a:gd name="connsiteX42" fmla="*/ 851047 w 5684669"/>
              <a:gd name="connsiteY42" fmla="*/ 3245759 h 3522780"/>
              <a:gd name="connsiteX43" fmla="*/ 768762 w 5684669"/>
              <a:gd name="connsiteY43" fmla="*/ 3335753 h 3522780"/>
              <a:gd name="connsiteX44" fmla="*/ 634033 w 5684669"/>
              <a:gd name="connsiteY44" fmla="*/ 3372758 h 3522780"/>
              <a:gd name="connsiteX45" fmla="*/ 521745 w 5684669"/>
              <a:gd name="connsiteY45" fmla="*/ 3348754 h 3522780"/>
              <a:gd name="connsiteX46" fmla="*/ 426681 w 5684669"/>
              <a:gd name="connsiteY46" fmla="*/ 3372053 h 3522780"/>
              <a:gd name="connsiteX47" fmla="*/ 364508 w 5684669"/>
              <a:gd name="connsiteY47" fmla="*/ 3241389 h 3522780"/>
              <a:gd name="connsiteX48" fmla="*/ 351970 w 5684669"/>
              <a:gd name="connsiteY48" fmla="*/ 223972 h 3522780"/>
              <a:gd name="connsiteX0" fmla="*/ 3403 w 5336102"/>
              <a:gd name="connsiteY0" fmla="*/ 223972 h 3522780"/>
              <a:gd name="connsiteX1" fmla="*/ 4968330 w 5336102"/>
              <a:gd name="connsiteY1" fmla="*/ 225059 h 3522780"/>
              <a:gd name="connsiteX2" fmla="*/ 4968331 w 5336102"/>
              <a:gd name="connsiteY2" fmla="*/ 3241389 h 3522780"/>
              <a:gd name="connsiteX3" fmla="*/ 4909260 w 5336102"/>
              <a:gd name="connsiteY3" fmla="*/ 3340918 h 3522780"/>
              <a:gd name="connsiteX4" fmla="*/ 4777414 w 5336102"/>
              <a:gd name="connsiteY4" fmla="*/ 3371344 h 3522780"/>
              <a:gd name="connsiteX5" fmla="*/ 4584898 w 5336102"/>
              <a:gd name="connsiteY5" fmla="*/ 3283166 h 3522780"/>
              <a:gd name="connsiteX6" fmla="*/ 4414953 w 5336102"/>
              <a:gd name="connsiteY6" fmla="*/ 3333244 h 3522780"/>
              <a:gd name="connsiteX7" fmla="*/ 4224754 w 5336102"/>
              <a:gd name="connsiteY7" fmla="*/ 3304322 h 3522780"/>
              <a:gd name="connsiteX8" fmla="*/ 4012284 w 5336102"/>
              <a:gd name="connsiteY8" fmla="*/ 3288192 h 3522780"/>
              <a:gd name="connsiteX9" fmla="*/ 3852446 w 5336102"/>
              <a:gd name="connsiteY9" fmla="*/ 3171074 h 3522780"/>
              <a:gd name="connsiteX10" fmla="*/ 3705101 w 5336102"/>
              <a:gd name="connsiteY10" fmla="*/ 3205743 h 3522780"/>
              <a:gd name="connsiteX11" fmla="*/ 3591499 w 5336102"/>
              <a:gd name="connsiteY11" fmla="*/ 3284671 h 3522780"/>
              <a:gd name="connsiteX12" fmla="*/ 3527793 w 5336102"/>
              <a:gd name="connsiteY12" fmla="*/ 3225153 h 3522780"/>
              <a:gd name="connsiteX13" fmla="*/ 3380078 w 5336102"/>
              <a:gd name="connsiteY13" fmla="*/ 3283749 h 3522780"/>
              <a:gd name="connsiteX14" fmla="*/ 3278168 w 5336102"/>
              <a:gd name="connsiteY14" fmla="*/ 3270488 h 3522780"/>
              <a:gd name="connsiteX15" fmla="*/ 3176734 w 5336102"/>
              <a:gd name="connsiteY15" fmla="*/ 3280638 h 3522780"/>
              <a:gd name="connsiteX16" fmla="*/ 3085906 w 5336102"/>
              <a:gd name="connsiteY16" fmla="*/ 3199202 h 3522780"/>
              <a:gd name="connsiteX17" fmla="*/ 2986624 w 5336102"/>
              <a:gd name="connsiteY17" fmla="*/ 3217650 h 3522780"/>
              <a:gd name="connsiteX18" fmla="*/ 2851372 w 5336102"/>
              <a:gd name="connsiteY18" fmla="*/ 3093068 h 3522780"/>
              <a:gd name="connsiteX19" fmla="*/ 2762446 w 5336102"/>
              <a:gd name="connsiteY19" fmla="*/ 3127842 h 3522780"/>
              <a:gd name="connsiteX20" fmla="*/ 2725672 w 5336102"/>
              <a:gd name="connsiteY20" fmla="*/ 3182770 h 3522780"/>
              <a:gd name="connsiteX21" fmla="*/ 2656359 w 5336102"/>
              <a:gd name="connsiteY21" fmla="*/ 3231744 h 3522780"/>
              <a:gd name="connsiteX22" fmla="*/ 2545555 w 5336102"/>
              <a:gd name="connsiteY22" fmla="*/ 3280338 h 3522780"/>
              <a:gd name="connsiteX23" fmla="*/ 2400708 w 5336102"/>
              <a:gd name="connsiteY23" fmla="*/ 3247173 h 3522780"/>
              <a:gd name="connsiteX24" fmla="*/ 2316533 w 5336102"/>
              <a:gd name="connsiteY24" fmla="*/ 3278020 h 3522780"/>
              <a:gd name="connsiteX25" fmla="*/ 2114652 w 5336102"/>
              <a:gd name="connsiteY25" fmla="*/ 3210077 h 3522780"/>
              <a:gd name="connsiteX26" fmla="*/ 1958526 w 5336102"/>
              <a:gd name="connsiteY26" fmla="*/ 3228123 h 3522780"/>
              <a:gd name="connsiteX27" fmla="*/ 1891385 w 5336102"/>
              <a:gd name="connsiteY27" fmla="*/ 3271971 h 3522780"/>
              <a:gd name="connsiteX28" fmla="*/ 1707289 w 5336102"/>
              <a:gd name="connsiteY28" fmla="*/ 3270748 h 3522780"/>
              <a:gd name="connsiteX29" fmla="*/ 1603282 w 5336102"/>
              <a:gd name="connsiteY29" fmla="*/ 3192743 h 3522780"/>
              <a:gd name="connsiteX30" fmla="*/ 1477641 w 5336102"/>
              <a:gd name="connsiteY30" fmla="*/ 3284159 h 3522780"/>
              <a:gd name="connsiteX31" fmla="*/ 1371570 w 5336102"/>
              <a:gd name="connsiteY31" fmla="*/ 3376784 h 3522780"/>
              <a:gd name="connsiteX32" fmla="*/ 1290775 w 5336102"/>
              <a:gd name="connsiteY32" fmla="*/ 3380762 h 3522780"/>
              <a:gd name="connsiteX33" fmla="*/ 1256589 w 5336102"/>
              <a:gd name="connsiteY33" fmla="*/ 3322752 h 3522780"/>
              <a:gd name="connsiteX34" fmla="*/ 1148248 w 5336102"/>
              <a:gd name="connsiteY34" fmla="*/ 3322751 h 3522780"/>
              <a:gd name="connsiteX35" fmla="*/ 1070037 w 5336102"/>
              <a:gd name="connsiteY35" fmla="*/ 3285875 h 3522780"/>
              <a:gd name="connsiteX36" fmla="*/ 974902 w 5336102"/>
              <a:gd name="connsiteY36" fmla="*/ 3327086 h 3522780"/>
              <a:gd name="connsiteX37" fmla="*/ 856518 w 5336102"/>
              <a:gd name="connsiteY37" fmla="*/ 3329327 h 3522780"/>
              <a:gd name="connsiteX38" fmla="*/ 797499 w 5336102"/>
              <a:gd name="connsiteY38" fmla="*/ 3372759 h 3522780"/>
              <a:gd name="connsiteX39" fmla="*/ 729297 w 5336102"/>
              <a:gd name="connsiteY39" fmla="*/ 3329328 h 3522780"/>
              <a:gd name="connsiteX40" fmla="*/ 645545 w 5336102"/>
              <a:gd name="connsiteY40" fmla="*/ 3335753 h 3522780"/>
              <a:gd name="connsiteX41" fmla="*/ 570271 w 5336102"/>
              <a:gd name="connsiteY41" fmla="*/ 3305474 h 3522780"/>
              <a:gd name="connsiteX42" fmla="*/ 502480 w 5336102"/>
              <a:gd name="connsiteY42" fmla="*/ 3245759 h 3522780"/>
              <a:gd name="connsiteX43" fmla="*/ 420195 w 5336102"/>
              <a:gd name="connsiteY43" fmla="*/ 3335753 h 3522780"/>
              <a:gd name="connsiteX44" fmla="*/ 285466 w 5336102"/>
              <a:gd name="connsiteY44" fmla="*/ 3372758 h 3522780"/>
              <a:gd name="connsiteX45" fmla="*/ 173178 w 5336102"/>
              <a:gd name="connsiteY45" fmla="*/ 3348754 h 3522780"/>
              <a:gd name="connsiteX46" fmla="*/ 78114 w 5336102"/>
              <a:gd name="connsiteY46" fmla="*/ 3372053 h 3522780"/>
              <a:gd name="connsiteX47" fmla="*/ 15941 w 5336102"/>
              <a:gd name="connsiteY47" fmla="*/ 3241389 h 3522780"/>
              <a:gd name="connsiteX48" fmla="*/ 3403 w 5336102"/>
              <a:gd name="connsiteY48" fmla="*/ 223972 h 3522780"/>
              <a:gd name="connsiteX0" fmla="*/ 3403 w 5336102"/>
              <a:gd name="connsiteY0" fmla="*/ 223972 h 3522780"/>
              <a:gd name="connsiteX1" fmla="*/ 4968330 w 5336102"/>
              <a:gd name="connsiteY1" fmla="*/ 225059 h 3522780"/>
              <a:gd name="connsiteX2" fmla="*/ 4968331 w 5336102"/>
              <a:gd name="connsiteY2" fmla="*/ 3241389 h 3522780"/>
              <a:gd name="connsiteX3" fmla="*/ 4909260 w 5336102"/>
              <a:gd name="connsiteY3" fmla="*/ 3340918 h 3522780"/>
              <a:gd name="connsiteX4" fmla="*/ 4777414 w 5336102"/>
              <a:gd name="connsiteY4" fmla="*/ 3371344 h 3522780"/>
              <a:gd name="connsiteX5" fmla="*/ 4584898 w 5336102"/>
              <a:gd name="connsiteY5" fmla="*/ 3283166 h 3522780"/>
              <a:gd name="connsiteX6" fmla="*/ 4414953 w 5336102"/>
              <a:gd name="connsiteY6" fmla="*/ 3333244 h 3522780"/>
              <a:gd name="connsiteX7" fmla="*/ 4224754 w 5336102"/>
              <a:gd name="connsiteY7" fmla="*/ 3304322 h 3522780"/>
              <a:gd name="connsiteX8" fmla="*/ 4012284 w 5336102"/>
              <a:gd name="connsiteY8" fmla="*/ 3288192 h 3522780"/>
              <a:gd name="connsiteX9" fmla="*/ 3852446 w 5336102"/>
              <a:gd name="connsiteY9" fmla="*/ 3171074 h 3522780"/>
              <a:gd name="connsiteX10" fmla="*/ 3705101 w 5336102"/>
              <a:gd name="connsiteY10" fmla="*/ 3205743 h 3522780"/>
              <a:gd name="connsiteX11" fmla="*/ 3591499 w 5336102"/>
              <a:gd name="connsiteY11" fmla="*/ 3284671 h 3522780"/>
              <a:gd name="connsiteX12" fmla="*/ 3527793 w 5336102"/>
              <a:gd name="connsiteY12" fmla="*/ 3225153 h 3522780"/>
              <a:gd name="connsiteX13" fmla="*/ 3380078 w 5336102"/>
              <a:gd name="connsiteY13" fmla="*/ 3283749 h 3522780"/>
              <a:gd name="connsiteX14" fmla="*/ 3278168 w 5336102"/>
              <a:gd name="connsiteY14" fmla="*/ 3270488 h 3522780"/>
              <a:gd name="connsiteX15" fmla="*/ 3176734 w 5336102"/>
              <a:gd name="connsiteY15" fmla="*/ 3280638 h 3522780"/>
              <a:gd name="connsiteX16" fmla="*/ 3085906 w 5336102"/>
              <a:gd name="connsiteY16" fmla="*/ 3199202 h 3522780"/>
              <a:gd name="connsiteX17" fmla="*/ 2986624 w 5336102"/>
              <a:gd name="connsiteY17" fmla="*/ 3217650 h 3522780"/>
              <a:gd name="connsiteX18" fmla="*/ 2851372 w 5336102"/>
              <a:gd name="connsiteY18" fmla="*/ 3093068 h 3522780"/>
              <a:gd name="connsiteX19" fmla="*/ 2762446 w 5336102"/>
              <a:gd name="connsiteY19" fmla="*/ 3127842 h 3522780"/>
              <a:gd name="connsiteX20" fmla="*/ 2725672 w 5336102"/>
              <a:gd name="connsiteY20" fmla="*/ 3182770 h 3522780"/>
              <a:gd name="connsiteX21" fmla="*/ 2656359 w 5336102"/>
              <a:gd name="connsiteY21" fmla="*/ 3231744 h 3522780"/>
              <a:gd name="connsiteX22" fmla="*/ 2545555 w 5336102"/>
              <a:gd name="connsiteY22" fmla="*/ 3280338 h 3522780"/>
              <a:gd name="connsiteX23" fmla="*/ 2400708 w 5336102"/>
              <a:gd name="connsiteY23" fmla="*/ 3247173 h 3522780"/>
              <a:gd name="connsiteX24" fmla="*/ 2316533 w 5336102"/>
              <a:gd name="connsiteY24" fmla="*/ 3278020 h 3522780"/>
              <a:gd name="connsiteX25" fmla="*/ 2114652 w 5336102"/>
              <a:gd name="connsiteY25" fmla="*/ 3210077 h 3522780"/>
              <a:gd name="connsiteX26" fmla="*/ 1958526 w 5336102"/>
              <a:gd name="connsiteY26" fmla="*/ 3228123 h 3522780"/>
              <a:gd name="connsiteX27" fmla="*/ 1891385 w 5336102"/>
              <a:gd name="connsiteY27" fmla="*/ 3271971 h 3522780"/>
              <a:gd name="connsiteX28" fmla="*/ 1707289 w 5336102"/>
              <a:gd name="connsiteY28" fmla="*/ 3270748 h 3522780"/>
              <a:gd name="connsiteX29" fmla="*/ 1603282 w 5336102"/>
              <a:gd name="connsiteY29" fmla="*/ 3192743 h 3522780"/>
              <a:gd name="connsiteX30" fmla="*/ 1477641 w 5336102"/>
              <a:gd name="connsiteY30" fmla="*/ 3284159 h 3522780"/>
              <a:gd name="connsiteX31" fmla="*/ 1371570 w 5336102"/>
              <a:gd name="connsiteY31" fmla="*/ 3376784 h 3522780"/>
              <a:gd name="connsiteX32" fmla="*/ 1290775 w 5336102"/>
              <a:gd name="connsiteY32" fmla="*/ 3380762 h 3522780"/>
              <a:gd name="connsiteX33" fmla="*/ 1256589 w 5336102"/>
              <a:gd name="connsiteY33" fmla="*/ 3322752 h 3522780"/>
              <a:gd name="connsiteX34" fmla="*/ 1148248 w 5336102"/>
              <a:gd name="connsiteY34" fmla="*/ 3322751 h 3522780"/>
              <a:gd name="connsiteX35" fmla="*/ 1070037 w 5336102"/>
              <a:gd name="connsiteY35" fmla="*/ 3285875 h 3522780"/>
              <a:gd name="connsiteX36" fmla="*/ 974902 w 5336102"/>
              <a:gd name="connsiteY36" fmla="*/ 3327086 h 3522780"/>
              <a:gd name="connsiteX37" fmla="*/ 856518 w 5336102"/>
              <a:gd name="connsiteY37" fmla="*/ 3329327 h 3522780"/>
              <a:gd name="connsiteX38" fmla="*/ 797499 w 5336102"/>
              <a:gd name="connsiteY38" fmla="*/ 3372759 h 3522780"/>
              <a:gd name="connsiteX39" fmla="*/ 729297 w 5336102"/>
              <a:gd name="connsiteY39" fmla="*/ 3329328 h 3522780"/>
              <a:gd name="connsiteX40" fmla="*/ 645545 w 5336102"/>
              <a:gd name="connsiteY40" fmla="*/ 3335753 h 3522780"/>
              <a:gd name="connsiteX41" fmla="*/ 570271 w 5336102"/>
              <a:gd name="connsiteY41" fmla="*/ 3305474 h 3522780"/>
              <a:gd name="connsiteX42" fmla="*/ 502480 w 5336102"/>
              <a:gd name="connsiteY42" fmla="*/ 3245759 h 3522780"/>
              <a:gd name="connsiteX43" fmla="*/ 420195 w 5336102"/>
              <a:gd name="connsiteY43" fmla="*/ 3335753 h 3522780"/>
              <a:gd name="connsiteX44" fmla="*/ 285466 w 5336102"/>
              <a:gd name="connsiteY44" fmla="*/ 3372758 h 3522780"/>
              <a:gd name="connsiteX45" fmla="*/ 173178 w 5336102"/>
              <a:gd name="connsiteY45" fmla="*/ 3348754 h 3522780"/>
              <a:gd name="connsiteX46" fmla="*/ 78114 w 5336102"/>
              <a:gd name="connsiteY46" fmla="*/ 3372053 h 3522780"/>
              <a:gd name="connsiteX47" fmla="*/ 15941 w 5336102"/>
              <a:gd name="connsiteY47" fmla="*/ 3241389 h 3522780"/>
              <a:gd name="connsiteX48" fmla="*/ 3403 w 5336102"/>
              <a:gd name="connsiteY48" fmla="*/ 223972 h 3522780"/>
              <a:gd name="connsiteX0" fmla="*/ 3403 w 5336102"/>
              <a:gd name="connsiteY0" fmla="*/ 3791 h 3302599"/>
              <a:gd name="connsiteX1" fmla="*/ 4968330 w 5336102"/>
              <a:gd name="connsiteY1" fmla="*/ 4878 h 3302599"/>
              <a:gd name="connsiteX2" fmla="*/ 4968331 w 5336102"/>
              <a:gd name="connsiteY2" fmla="*/ 3021208 h 3302599"/>
              <a:gd name="connsiteX3" fmla="*/ 4909260 w 5336102"/>
              <a:gd name="connsiteY3" fmla="*/ 3120737 h 3302599"/>
              <a:gd name="connsiteX4" fmla="*/ 4777414 w 5336102"/>
              <a:gd name="connsiteY4" fmla="*/ 3151163 h 3302599"/>
              <a:gd name="connsiteX5" fmla="*/ 4584898 w 5336102"/>
              <a:gd name="connsiteY5" fmla="*/ 3062985 h 3302599"/>
              <a:gd name="connsiteX6" fmla="*/ 4414953 w 5336102"/>
              <a:gd name="connsiteY6" fmla="*/ 3113063 h 3302599"/>
              <a:gd name="connsiteX7" fmla="*/ 4224754 w 5336102"/>
              <a:gd name="connsiteY7" fmla="*/ 3084141 h 3302599"/>
              <a:gd name="connsiteX8" fmla="*/ 4012284 w 5336102"/>
              <a:gd name="connsiteY8" fmla="*/ 3068011 h 3302599"/>
              <a:gd name="connsiteX9" fmla="*/ 3852446 w 5336102"/>
              <a:gd name="connsiteY9" fmla="*/ 2950893 h 3302599"/>
              <a:gd name="connsiteX10" fmla="*/ 3705101 w 5336102"/>
              <a:gd name="connsiteY10" fmla="*/ 2985562 h 3302599"/>
              <a:gd name="connsiteX11" fmla="*/ 3591499 w 5336102"/>
              <a:gd name="connsiteY11" fmla="*/ 3064490 h 3302599"/>
              <a:gd name="connsiteX12" fmla="*/ 3527793 w 5336102"/>
              <a:gd name="connsiteY12" fmla="*/ 3004972 h 3302599"/>
              <a:gd name="connsiteX13" fmla="*/ 3380078 w 5336102"/>
              <a:gd name="connsiteY13" fmla="*/ 3063568 h 3302599"/>
              <a:gd name="connsiteX14" fmla="*/ 3278168 w 5336102"/>
              <a:gd name="connsiteY14" fmla="*/ 3050307 h 3302599"/>
              <a:gd name="connsiteX15" fmla="*/ 3176734 w 5336102"/>
              <a:gd name="connsiteY15" fmla="*/ 3060457 h 3302599"/>
              <a:gd name="connsiteX16" fmla="*/ 3085906 w 5336102"/>
              <a:gd name="connsiteY16" fmla="*/ 2979021 h 3302599"/>
              <a:gd name="connsiteX17" fmla="*/ 2986624 w 5336102"/>
              <a:gd name="connsiteY17" fmla="*/ 2997469 h 3302599"/>
              <a:gd name="connsiteX18" fmla="*/ 2851372 w 5336102"/>
              <a:gd name="connsiteY18" fmla="*/ 2872887 h 3302599"/>
              <a:gd name="connsiteX19" fmla="*/ 2762446 w 5336102"/>
              <a:gd name="connsiteY19" fmla="*/ 2907661 h 3302599"/>
              <a:gd name="connsiteX20" fmla="*/ 2725672 w 5336102"/>
              <a:gd name="connsiteY20" fmla="*/ 2962589 h 3302599"/>
              <a:gd name="connsiteX21" fmla="*/ 2656359 w 5336102"/>
              <a:gd name="connsiteY21" fmla="*/ 3011563 h 3302599"/>
              <a:gd name="connsiteX22" fmla="*/ 2545555 w 5336102"/>
              <a:gd name="connsiteY22" fmla="*/ 3060157 h 3302599"/>
              <a:gd name="connsiteX23" fmla="*/ 2400708 w 5336102"/>
              <a:gd name="connsiteY23" fmla="*/ 3026992 h 3302599"/>
              <a:gd name="connsiteX24" fmla="*/ 2316533 w 5336102"/>
              <a:gd name="connsiteY24" fmla="*/ 3057839 h 3302599"/>
              <a:gd name="connsiteX25" fmla="*/ 2114652 w 5336102"/>
              <a:gd name="connsiteY25" fmla="*/ 2989896 h 3302599"/>
              <a:gd name="connsiteX26" fmla="*/ 1958526 w 5336102"/>
              <a:gd name="connsiteY26" fmla="*/ 3007942 h 3302599"/>
              <a:gd name="connsiteX27" fmla="*/ 1891385 w 5336102"/>
              <a:gd name="connsiteY27" fmla="*/ 3051790 h 3302599"/>
              <a:gd name="connsiteX28" fmla="*/ 1707289 w 5336102"/>
              <a:gd name="connsiteY28" fmla="*/ 3050567 h 3302599"/>
              <a:gd name="connsiteX29" fmla="*/ 1603282 w 5336102"/>
              <a:gd name="connsiteY29" fmla="*/ 2972562 h 3302599"/>
              <a:gd name="connsiteX30" fmla="*/ 1477641 w 5336102"/>
              <a:gd name="connsiteY30" fmla="*/ 3063978 h 3302599"/>
              <a:gd name="connsiteX31" fmla="*/ 1371570 w 5336102"/>
              <a:gd name="connsiteY31" fmla="*/ 3156603 h 3302599"/>
              <a:gd name="connsiteX32" fmla="*/ 1290775 w 5336102"/>
              <a:gd name="connsiteY32" fmla="*/ 3160581 h 3302599"/>
              <a:gd name="connsiteX33" fmla="*/ 1256589 w 5336102"/>
              <a:gd name="connsiteY33" fmla="*/ 3102571 h 3302599"/>
              <a:gd name="connsiteX34" fmla="*/ 1148248 w 5336102"/>
              <a:gd name="connsiteY34" fmla="*/ 3102570 h 3302599"/>
              <a:gd name="connsiteX35" fmla="*/ 1070037 w 5336102"/>
              <a:gd name="connsiteY35" fmla="*/ 3065694 h 3302599"/>
              <a:gd name="connsiteX36" fmla="*/ 974902 w 5336102"/>
              <a:gd name="connsiteY36" fmla="*/ 3106905 h 3302599"/>
              <a:gd name="connsiteX37" fmla="*/ 856518 w 5336102"/>
              <a:gd name="connsiteY37" fmla="*/ 3109146 h 3302599"/>
              <a:gd name="connsiteX38" fmla="*/ 797499 w 5336102"/>
              <a:gd name="connsiteY38" fmla="*/ 3152578 h 3302599"/>
              <a:gd name="connsiteX39" fmla="*/ 729297 w 5336102"/>
              <a:gd name="connsiteY39" fmla="*/ 3109147 h 3302599"/>
              <a:gd name="connsiteX40" fmla="*/ 645545 w 5336102"/>
              <a:gd name="connsiteY40" fmla="*/ 3115572 h 3302599"/>
              <a:gd name="connsiteX41" fmla="*/ 570271 w 5336102"/>
              <a:gd name="connsiteY41" fmla="*/ 3085293 h 3302599"/>
              <a:gd name="connsiteX42" fmla="*/ 502480 w 5336102"/>
              <a:gd name="connsiteY42" fmla="*/ 3025578 h 3302599"/>
              <a:gd name="connsiteX43" fmla="*/ 420195 w 5336102"/>
              <a:gd name="connsiteY43" fmla="*/ 3115572 h 3302599"/>
              <a:gd name="connsiteX44" fmla="*/ 285466 w 5336102"/>
              <a:gd name="connsiteY44" fmla="*/ 3152577 h 3302599"/>
              <a:gd name="connsiteX45" fmla="*/ 173178 w 5336102"/>
              <a:gd name="connsiteY45" fmla="*/ 3128573 h 3302599"/>
              <a:gd name="connsiteX46" fmla="*/ 78114 w 5336102"/>
              <a:gd name="connsiteY46" fmla="*/ 3151872 h 3302599"/>
              <a:gd name="connsiteX47" fmla="*/ 15941 w 5336102"/>
              <a:gd name="connsiteY47" fmla="*/ 3021208 h 3302599"/>
              <a:gd name="connsiteX48" fmla="*/ 3403 w 5336102"/>
              <a:gd name="connsiteY48" fmla="*/ 3791 h 3302599"/>
              <a:gd name="connsiteX0" fmla="*/ 3403 w 4969076"/>
              <a:gd name="connsiteY0" fmla="*/ 3791 h 3302599"/>
              <a:gd name="connsiteX1" fmla="*/ 4968330 w 4969076"/>
              <a:gd name="connsiteY1" fmla="*/ 4878 h 3302599"/>
              <a:gd name="connsiteX2" fmla="*/ 4968331 w 4969076"/>
              <a:gd name="connsiteY2" fmla="*/ 3021208 h 3302599"/>
              <a:gd name="connsiteX3" fmla="*/ 4909260 w 4969076"/>
              <a:gd name="connsiteY3" fmla="*/ 3120737 h 3302599"/>
              <a:gd name="connsiteX4" fmla="*/ 4777414 w 4969076"/>
              <a:gd name="connsiteY4" fmla="*/ 3151163 h 3302599"/>
              <a:gd name="connsiteX5" fmla="*/ 4584898 w 4969076"/>
              <a:gd name="connsiteY5" fmla="*/ 3062985 h 3302599"/>
              <a:gd name="connsiteX6" fmla="*/ 4414953 w 4969076"/>
              <a:gd name="connsiteY6" fmla="*/ 3113063 h 3302599"/>
              <a:gd name="connsiteX7" fmla="*/ 4224754 w 4969076"/>
              <a:gd name="connsiteY7" fmla="*/ 3084141 h 3302599"/>
              <a:gd name="connsiteX8" fmla="*/ 4012284 w 4969076"/>
              <a:gd name="connsiteY8" fmla="*/ 3068011 h 3302599"/>
              <a:gd name="connsiteX9" fmla="*/ 3852446 w 4969076"/>
              <a:gd name="connsiteY9" fmla="*/ 2950893 h 3302599"/>
              <a:gd name="connsiteX10" fmla="*/ 3705101 w 4969076"/>
              <a:gd name="connsiteY10" fmla="*/ 2985562 h 3302599"/>
              <a:gd name="connsiteX11" fmla="*/ 3591499 w 4969076"/>
              <a:gd name="connsiteY11" fmla="*/ 3064490 h 3302599"/>
              <a:gd name="connsiteX12" fmla="*/ 3527793 w 4969076"/>
              <a:gd name="connsiteY12" fmla="*/ 3004972 h 3302599"/>
              <a:gd name="connsiteX13" fmla="*/ 3380078 w 4969076"/>
              <a:gd name="connsiteY13" fmla="*/ 3063568 h 3302599"/>
              <a:gd name="connsiteX14" fmla="*/ 3278168 w 4969076"/>
              <a:gd name="connsiteY14" fmla="*/ 3050307 h 3302599"/>
              <a:gd name="connsiteX15" fmla="*/ 3176734 w 4969076"/>
              <a:gd name="connsiteY15" fmla="*/ 3060457 h 3302599"/>
              <a:gd name="connsiteX16" fmla="*/ 3085906 w 4969076"/>
              <a:gd name="connsiteY16" fmla="*/ 2979021 h 3302599"/>
              <a:gd name="connsiteX17" fmla="*/ 2986624 w 4969076"/>
              <a:gd name="connsiteY17" fmla="*/ 2997469 h 3302599"/>
              <a:gd name="connsiteX18" fmla="*/ 2851372 w 4969076"/>
              <a:gd name="connsiteY18" fmla="*/ 2872887 h 3302599"/>
              <a:gd name="connsiteX19" fmla="*/ 2762446 w 4969076"/>
              <a:gd name="connsiteY19" fmla="*/ 2907661 h 3302599"/>
              <a:gd name="connsiteX20" fmla="*/ 2725672 w 4969076"/>
              <a:gd name="connsiteY20" fmla="*/ 2962589 h 3302599"/>
              <a:gd name="connsiteX21" fmla="*/ 2656359 w 4969076"/>
              <a:gd name="connsiteY21" fmla="*/ 3011563 h 3302599"/>
              <a:gd name="connsiteX22" fmla="*/ 2545555 w 4969076"/>
              <a:gd name="connsiteY22" fmla="*/ 3060157 h 3302599"/>
              <a:gd name="connsiteX23" fmla="*/ 2400708 w 4969076"/>
              <a:gd name="connsiteY23" fmla="*/ 3026992 h 3302599"/>
              <a:gd name="connsiteX24" fmla="*/ 2316533 w 4969076"/>
              <a:gd name="connsiteY24" fmla="*/ 3057839 h 3302599"/>
              <a:gd name="connsiteX25" fmla="*/ 2114652 w 4969076"/>
              <a:gd name="connsiteY25" fmla="*/ 2989896 h 3302599"/>
              <a:gd name="connsiteX26" fmla="*/ 1958526 w 4969076"/>
              <a:gd name="connsiteY26" fmla="*/ 3007942 h 3302599"/>
              <a:gd name="connsiteX27" fmla="*/ 1891385 w 4969076"/>
              <a:gd name="connsiteY27" fmla="*/ 3051790 h 3302599"/>
              <a:gd name="connsiteX28" fmla="*/ 1707289 w 4969076"/>
              <a:gd name="connsiteY28" fmla="*/ 3050567 h 3302599"/>
              <a:gd name="connsiteX29" fmla="*/ 1603282 w 4969076"/>
              <a:gd name="connsiteY29" fmla="*/ 2972562 h 3302599"/>
              <a:gd name="connsiteX30" fmla="*/ 1477641 w 4969076"/>
              <a:gd name="connsiteY30" fmla="*/ 3063978 h 3302599"/>
              <a:gd name="connsiteX31" fmla="*/ 1371570 w 4969076"/>
              <a:gd name="connsiteY31" fmla="*/ 3156603 h 3302599"/>
              <a:gd name="connsiteX32" fmla="*/ 1290775 w 4969076"/>
              <a:gd name="connsiteY32" fmla="*/ 3160581 h 3302599"/>
              <a:gd name="connsiteX33" fmla="*/ 1256589 w 4969076"/>
              <a:gd name="connsiteY33" fmla="*/ 3102571 h 3302599"/>
              <a:gd name="connsiteX34" fmla="*/ 1148248 w 4969076"/>
              <a:gd name="connsiteY34" fmla="*/ 3102570 h 3302599"/>
              <a:gd name="connsiteX35" fmla="*/ 1070037 w 4969076"/>
              <a:gd name="connsiteY35" fmla="*/ 3065694 h 3302599"/>
              <a:gd name="connsiteX36" fmla="*/ 974902 w 4969076"/>
              <a:gd name="connsiteY36" fmla="*/ 3106905 h 3302599"/>
              <a:gd name="connsiteX37" fmla="*/ 856518 w 4969076"/>
              <a:gd name="connsiteY37" fmla="*/ 3109146 h 3302599"/>
              <a:gd name="connsiteX38" fmla="*/ 797499 w 4969076"/>
              <a:gd name="connsiteY38" fmla="*/ 3152578 h 3302599"/>
              <a:gd name="connsiteX39" fmla="*/ 729297 w 4969076"/>
              <a:gd name="connsiteY39" fmla="*/ 3109147 h 3302599"/>
              <a:gd name="connsiteX40" fmla="*/ 645545 w 4969076"/>
              <a:gd name="connsiteY40" fmla="*/ 3115572 h 3302599"/>
              <a:gd name="connsiteX41" fmla="*/ 570271 w 4969076"/>
              <a:gd name="connsiteY41" fmla="*/ 3085293 h 3302599"/>
              <a:gd name="connsiteX42" fmla="*/ 502480 w 4969076"/>
              <a:gd name="connsiteY42" fmla="*/ 3025578 h 3302599"/>
              <a:gd name="connsiteX43" fmla="*/ 420195 w 4969076"/>
              <a:gd name="connsiteY43" fmla="*/ 3115572 h 3302599"/>
              <a:gd name="connsiteX44" fmla="*/ 285466 w 4969076"/>
              <a:gd name="connsiteY44" fmla="*/ 3152577 h 3302599"/>
              <a:gd name="connsiteX45" fmla="*/ 173178 w 4969076"/>
              <a:gd name="connsiteY45" fmla="*/ 3128573 h 3302599"/>
              <a:gd name="connsiteX46" fmla="*/ 78114 w 4969076"/>
              <a:gd name="connsiteY46" fmla="*/ 3151872 h 3302599"/>
              <a:gd name="connsiteX47" fmla="*/ 15941 w 4969076"/>
              <a:gd name="connsiteY47" fmla="*/ 3021208 h 3302599"/>
              <a:gd name="connsiteX48" fmla="*/ 3403 w 4969076"/>
              <a:gd name="connsiteY48" fmla="*/ 3791 h 3302599"/>
              <a:gd name="connsiteX0" fmla="*/ 3403 w 4969076"/>
              <a:gd name="connsiteY0" fmla="*/ 3791 h 3302599"/>
              <a:gd name="connsiteX1" fmla="*/ 4968330 w 4969076"/>
              <a:gd name="connsiteY1" fmla="*/ 4878 h 3302599"/>
              <a:gd name="connsiteX2" fmla="*/ 4968331 w 4969076"/>
              <a:gd name="connsiteY2" fmla="*/ 3021208 h 3302599"/>
              <a:gd name="connsiteX3" fmla="*/ 4909260 w 4969076"/>
              <a:gd name="connsiteY3" fmla="*/ 3120737 h 3302599"/>
              <a:gd name="connsiteX4" fmla="*/ 4777414 w 4969076"/>
              <a:gd name="connsiteY4" fmla="*/ 3151163 h 3302599"/>
              <a:gd name="connsiteX5" fmla="*/ 4584898 w 4969076"/>
              <a:gd name="connsiteY5" fmla="*/ 3062985 h 3302599"/>
              <a:gd name="connsiteX6" fmla="*/ 4414953 w 4969076"/>
              <a:gd name="connsiteY6" fmla="*/ 3113063 h 3302599"/>
              <a:gd name="connsiteX7" fmla="*/ 4224754 w 4969076"/>
              <a:gd name="connsiteY7" fmla="*/ 3084141 h 3302599"/>
              <a:gd name="connsiteX8" fmla="*/ 4012284 w 4969076"/>
              <a:gd name="connsiteY8" fmla="*/ 3068011 h 3302599"/>
              <a:gd name="connsiteX9" fmla="*/ 3852446 w 4969076"/>
              <a:gd name="connsiteY9" fmla="*/ 2950893 h 3302599"/>
              <a:gd name="connsiteX10" fmla="*/ 3705101 w 4969076"/>
              <a:gd name="connsiteY10" fmla="*/ 2985562 h 3302599"/>
              <a:gd name="connsiteX11" fmla="*/ 3591499 w 4969076"/>
              <a:gd name="connsiteY11" fmla="*/ 3064490 h 3302599"/>
              <a:gd name="connsiteX12" fmla="*/ 3527793 w 4969076"/>
              <a:gd name="connsiteY12" fmla="*/ 3004972 h 3302599"/>
              <a:gd name="connsiteX13" fmla="*/ 3380078 w 4969076"/>
              <a:gd name="connsiteY13" fmla="*/ 3063568 h 3302599"/>
              <a:gd name="connsiteX14" fmla="*/ 3278168 w 4969076"/>
              <a:gd name="connsiteY14" fmla="*/ 3050307 h 3302599"/>
              <a:gd name="connsiteX15" fmla="*/ 3176734 w 4969076"/>
              <a:gd name="connsiteY15" fmla="*/ 3060457 h 3302599"/>
              <a:gd name="connsiteX16" fmla="*/ 3085906 w 4969076"/>
              <a:gd name="connsiteY16" fmla="*/ 2979021 h 3302599"/>
              <a:gd name="connsiteX17" fmla="*/ 2986624 w 4969076"/>
              <a:gd name="connsiteY17" fmla="*/ 2997469 h 3302599"/>
              <a:gd name="connsiteX18" fmla="*/ 2851372 w 4969076"/>
              <a:gd name="connsiteY18" fmla="*/ 2872887 h 3302599"/>
              <a:gd name="connsiteX19" fmla="*/ 2762446 w 4969076"/>
              <a:gd name="connsiteY19" fmla="*/ 2907661 h 3302599"/>
              <a:gd name="connsiteX20" fmla="*/ 2725672 w 4969076"/>
              <a:gd name="connsiteY20" fmla="*/ 2962589 h 3302599"/>
              <a:gd name="connsiteX21" fmla="*/ 2656359 w 4969076"/>
              <a:gd name="connsiteY21" fmla="*/ 3011563 h 3302599"/>
              <a:gd name="connsiteX22" fmla="*/ 2545555 w 4969076"/>
              <a:gd name="connsiteY22" fmla="*/ 3060157 h 3302599"/>
              <a:gd name="connsiteX23" fmla="*/ 2400708 w 4969076"/>
              <a:gd name="connsiteY23" fmla="*/ 3026992 h 3302599"/>
              <a:gd name="connsiteX24" fmla="*/ 2316533 w 4969076"/>
              <a:gd name="connsiteY24" fmla="*/ 3057839 h 3302599"/>
              <a:gd name="connsiteX25" fmla="*/ 2114652 w 4969076"/>
              <a:gd name="connsiteY25" fmla="*/ 2989896 h 3302599"/>
              <a:gd name="connsiteX26" fmla="*/ 1958526 w 4969076"/>
              <a:gd name="connsiteY26" fmla="*/ 3007942 h 3302599"/>
              <a:gd name="connsiteX27" fmla="*/ 1891385 w 4969076"/>
              <a:gd name="connsiteY27" fmla="*/ 3051790 h 3302599"/>
              <a:gd name="connsiteX28" fmla="*/ 1707289 w 4969076"/>
              <a:gd name="connsiteY28" fmla="*/ 3050567 h 3302599"/>
              <a:gd name="connsiteX29" fmla="*/ 1603282 w 4969076"/>
              <a:gd name="connsiteY29" fmla="*/ 2972562 h 3302599"/>
              <a:gd name="connsiteX30" fmla="*/ 1477641 w 4969076"/>
              <a:gd name="connsiteY30" fmla="*/ 3063978 h 3302599"/>
              <a:gd name="connsiteX31" fmla="*/ 1371570 w 4969076"/>
              <a:gd name="connsiteY31" fmla="*/ 3156603 h 3302599"/>
              <a:gd name="connsiteX32" fmla="*/ 1290775 w 4969076"/>
              <a:gd name="connsiteY32" fmla="*/ 3160581 h 3302599"/>
              <a:gd name="connsiteX33" fmla="*/ 1256589 w 4969076"/>
              <a:gd name="connsiteY33" fmla="*/ 3102571 h 3302599"/>
              <a:gd name="connsiteX34" fmla="*/ 1148248 w 4969076"/>
              <a:gd name="connsiteY34" fmla="*/ 3102570 h 3302599"/>
              <a:gd name="connsiteX35" fmla="*/ 1070037 w 4969076"/>
              <a:gd name="connsiteY35" fmla="*/ 3065694 h 3302599"/>
              <a:gd name="connsiteX36" fmla="*/ 974902 w 4969076"/>
              <a:gd name="connsiteY36" fmla="*/ 3106905 h 3302599"/>
              <a:gd name="connsiteX37" fmla="*/ 856518 w 4969076"/>
              <a:gd name="connsiteY37" fmla="*/ 3109146 h 3302599"/>
              <a:gd name="connsiteX38" fmla="*/ 797499 w 4969076"/>
              <a:gd name="connsiteY38" fmla="*/ 3152578 h 3302599"/>
              <a:gd name="connsiteX39" fmla="*/ 729297 w 4969076"/>
              <a:gd name="connsiteY39" fmla="*/ 3109147 h 3302599"/>
              <a:gd name="connsiteX40" fmla="*/ 645545 w 4969076"/>
              <a:gd name="connsiteY40" fmla="*/ 3115572 h 3302599"/>
              <a:gd name="connsiteX41" fmla="*/ 570271 w 4969076"/>
              <a:gd name="connsiteY41" fmla="*/ 3085293 h 3302599"/>
              <a:gd name="connsiteX42" fmla="*/ 502480 w 4969076"/>
              <a:gd name="connsiteY42" fmla="*/ 3025578 h 3302599"/>
              <a:gd name="connsiteX43" fmla="*/ 420195 w 4969076"/>
              <a:gd name="connsiteY43" fmla="*/ 3115572 h 3302599"/>
              <a:gd name="connsiteX44" fmla="*/ 285466 w 4969076"/>
              <a:gd name="connsiteY44" fmla="*/ 3152577 h 3302599"/>
              <a:gd name="connsiteX45" fmla="*/ 173178 w 4969076"/>
              <a:gd name="connsiteY45" fmla="*/ 3128573 h 3302599"/>
              <a:gd name="connsiteX46" fmla="*/ 78114 w 4969076"/>
              <a:gd name="connsiteY46" fmla="*/ 3151872 h 3302599"/>
              <a:gd name="connsiteX47" fmla="*/ 15941 w 4969076"/>
              <a:gd name="connsiteY47" fmla="*/ 3021208 h 3302599"/>
              <a:gd name="connsiteX48" fmla="*/ 3403 w 4969076"/>
              <a:gd name="connsiteY48" fmla="*/ 3791 h 3302599"/>
              <a:gd name="connsiteX0" fmla="*/ 8339 w 4974012"/>
              <a:gd name="connsiteY0" fmla="*/ 3791 h 3302597"/>
              <a:gd name="connsiteX1" fmla="*/ 4973266 w 4974012"/>
              <a:gd name="connsiteY1" fmla="*/ 4878 h 3302597"/>
              <a:gd name="connsiteX2" fmla="*/ 4973267 w 4974012"/>
              <a:gd name="connsiteY2" fmla="*/ 3021208 h 3302597"/>
              <a:gd name="connsiteX3" fmla="*/ 4914196 w 4974012"/>
              <a:gd name="connsiteY3" fmla="*/ 3120737 h 3302597"/>
              <a:gd name="connsiteX4" fmla="*/ 4782350 w 4974012"/>
              <a:gd name="connsiteY4" fmla="*/ 3151163 h 3302597"/>
              <a:gd name="connsiteX5" fmla="*/ 4589834 w 4974012"/>
              <a:gd name="connsiteY5" fmla="*/ 3062985 h 3302597"/>
              <a:gd name="connsiteX6" fmla="*/ 4419889 w 4974012"/>
              <a:gd name="connsiteY6" fmla="*/ 3113063 h 3302597"/>
              <a:gd name="connsiteX7" fmla="*/ 4229690 w 4974012"/>
              <a:gd name="connsiteY7" fmla="*/ 3084141 h 3302597"/>
              <a:gd name="connsiteX8" fmla="*/ 4017220 w 4974012"/>
              <a:gd name="connsiteY8" fmla="*/ 3068011 h 3302597"/>
              <a:gd name="connsiteX9" fmla="*/ 3857382 w 4974012"/>
              <a:gd name="connsiteY9" fmla="*/ 2950893 h 3302597"/>
              <a:gd name="connsiteX10" fmla="*/ 3710037 w 4974012"/>
              <a:gd name="connsiteY10" fmla="*/ 2985562 h 3302597"/>
              <a:gd name="connsiteX11" fmla="*/ 3596435 w 4974012"/>
              <a:gd name="connsiteY11" fmla="*/ 3064490 h 3302597"/>
              <a:gd name="connsiteX12" fmla="*/ 3532729 w 4974012"/>
              <a:gd name="connsiteY12" fmla="*/ 3004972 h 3302597"/>
              <a:gd name="connsiteX13" fmla="*/ 3385014 w 4974012"/>
              <a:gd name="connsiteY13" fmla="*/ 3063568 h 3302597"/>
              <a:gd name="connsiteX14" fmla="*/ 3283104 w 4974012"/>
              <a:gd name="connsiteY14" fmla="*/ 3050307 h 3302597"/>
              <a:gd name="connsiteX15" fmla="*/ 3181670 w 4974012"/>
              <a:gd name="connsiteY15" fmla="*/ 3060457 h 3302597"/>
              <a:gd name="connsiteX16" fmla="*/ 3090842 w 4974012"/>
              <a:gd name="connsiteY16" fmla="*/ 2979021 h 3302597"/>
              <a:gd name="connsiteX17" fmla="*/ 2991560 w 4974012"/>
              <a:gd name="connsiteY17" fmla="*/ 2997469 h 3302597"/>
              <a:gd name="connsiteX18" fmla="*/ 2856308 w 4974012"/>
              <a:gd name="connsiteY18" fmla="*/ 2872887 h 3302597"/>
              <a:gd name="connsiteX19" fmla="*/ 2767382 w 4974012"/>
              <a:gd name="connsiteY19" fmla="*/ 2907661 h 3302597"/>
              <a:gd name="connsiteX20" fmla="*/ 2730608 w 4974012"/>
              <a:gd name="connsiteY20" fmla="*/ 2962589 h 3302597"/>
              <a:gd name="connsiteX21" fmla="*/ 2661295 w 4974012"/>
              <a:gd name="connsiteY21" fmla="*/ 3011563 h 3302597"/>
              <a:gd name="connsiteX22" fmla="*/ 2550491 w 4974012"/>
              <a:gd name="connsiteY22" fmla="*/ 3060157 h 3302597"/>
              <a:gd name="connsiteX23" fmla="*/ 2405644 w 4974012"/>
              <a:gd name="connsiteY23" fmla="*/ 3026992 h 3302597"/>
              <a:gd name="connsiteX24" fmla="*/ 2321469 w 4974012"/>
              <a:gd name="connsiteY24" fmla="*/ 3057839 h 3302597"/>
              <a:gd name="connsiteX25" fmla="*/ 2119588 w 4974012"/>
              <a:gd name="connsiteY25" fmla="*/ 2989896 h 3302597"/>
              <a:gd name="connsiteX26" fmla="*/ 1963462 w 4974012"/>
              <a:gd name="connsiteY26" fmla="*/ 3007942 h 3302597"/>
              <a:gd name="connsiteX27" fmla="*/ 1896321 w 4974012"/>
              <a:gd name="connsiteY27" fmla="*/ 3051790 h 3302597"/>
              <a:gd name="connsiteX28" fmla="*/ 1712225 w 4974012"/>
              <a:gd name="connsiteY28" fmla="*/ 3050567 h 3302597"/>
              <a:gd name="connsiteX29" fmla="*/ 1608218 w 4974012"/>
              <a:gd name="connsiteY29" fmla="*/ 2972562 h 3302597"/>
              <a:gd name="connsiteX30" fmla="*/ 1482577 w 4974012"/>
              <a:gd name="connsiteY30" fmla="*/ 3063978 h 3302597"/>
              <a:gd name="connsiteX31" fmla="*/ 1376506 w 4974012"/>
              <a:gd name="connsiteY31" fmla="*/ 3156603 h 3302597"/>
              <a:gd name="connsiteX32" fmla="*/ 1295711 w 4974012"/>
              <a:gd name="connsiteY32" fmla="*/ 3160581 h 3302597"/>
              <a:gd name="connsiteX33" fmla="*/ 1261525 w 4974012"/>
              <a:gd name="connsiteY33" fmla="*/ 3102571 h 3302597"/>
              <a:gd name="connsiteX34" fmla="*/ 1153184 w 4974012"/>
              <a:gd name="connsiteY34" fmla="*/ 3102570 h 3302597"/>
              <a:gd name="connsiteX35" fmla="*/ 1074973 w 4974012"/>
              <a:gd name="connsiteY35" fmla="*/ 3065694 h 3302597"/>
              <a:gd name="connsiteX36" fmla="*/ 979838 w 4974012"/>
              <a:gd name="connsiteY36" fmla="*/ 3106905 h 3302597"/>
              <a:gd name="connsiteX37" fmla="*/ 861454 w 4974012"/>
              <a:gd name="connsiteY37" fmla="*/ 3109146 h 3302597"/>
              <a:gd name="connsiteX38" fmla="*/ 802435 w 4974012"/>
              <a:gd name="connsiteY38" fmla="*/ 3152578 h 3302597"/>
              <a:gd name="connsiteX39" fmla="*/ 734233 w 4974012"/>
              <a:gd name="connsiteY39" fmla="*/ 3109147 h 3302597"/>
              <a:gd name="connsiteX40" fmla="*/ 650481 w 4974012"/>
              <a:gd name="connsiteY40" fmla="*/ 3115572 h 3302597"/>
              <a:gd name="connsiteX41" fmla="*/ 575207 w 4974012"/>
              <a:gd name="connsiteY41" fmla="*/ 3085293 h 3302597"/>
              <a:gd name="connsiteX42" fmla="*/ 507416 w 4974012"/>
              <a:gd name="connsiteY42" fmla="*/ 3025578 h 3302597"/>
              <a:gd name="connsiteX43" fmla="*/ 425131 w 4974012"/>
              <a:gd name="connsiteY43" fmla="*/ 3115572 h 3302597"/>
              <a:gd name="connsiteX44" fmla="*/ 290402 w 4974012"/>
              <a:gd name="connsiteY44" fmla="*/ 3152577 h 3302597"/>
              <a:gd name="connsiteX45" fmla="*/ 178114 w 4974012"/>
              <a:gd name="connsiteY45" fmla="*/ 3128573 h 3302597"/>
              <a:gd name="connsiteX46" fmla="*/ 83050 w 4974012"/>
              <a:gd name="connsiteY46" fmla="*/ 3151872 h 3302597"/>
              <a:gd name="connsiteX47" fmla="*/ 15291 w 4974012"/>
              <a:gd name="connsiteY47" fmla="*/ 3021207 h 3302597"/>
              <a:gd name="connsiteX48" fmla="*/ 8339 w 4974012"/>
              <a:gd name="connsiteY48" fmla="*/ 3791 h 3302597"/>
              <a:gd name="connsiteX0" fmla="*/ 92 w 4965765"/>
              <a:gd name="connsiteY0" fmla="*/ 3791 h 3224561"/>
              <a:gd name="connsiteX1" fmla="*/ 4965019 w 4965765"/>
              <a:gd name="connsiteY1" fmla="*/ 4878 h 3224561"/>
              <a:gd name="connsiteX2" fmla="*/ 4965020 w 4965765"/>
              <a:gd name="connsiteY2" fmla="*/ 3021208 h 3224561"/>
              <a:gd name="connsiteX3" fmla="*/ 4905949 w 4965765"/>
              <a:gd name="connsiteY3" fmla="*/ 3120737 h 3224561"/>
              <a:gd name="connsiteX4" fmla="*/ 4774103 w 4965765"/>
              <a:gd name="connsiteY4" fmla="*/ 3151163 h 3224561"/>
              <a:gd name="connsiteX5" fmla="*/ 4581587 w 4965765"/>
              <a:gd name="connsiteY5" fmla="*/ 3062985 h 3224561"/>
              <a:gd name="connsiteX6" fmla="*/ 4411642 w 4965765"/>
              <a:gd name="connsiteY6" fmla="*/ 3113063 h 3224561"/>
              <a:gd name="connsiteX7" fmla="*/ 4221443 w 4965765"/>
              <a:gd name="connsiteY7" fmla="*/ 3084141 h 3224561"/>
              <a:gd name="connsiteX8" fmla="*/ 4008973 w 4965765"/>
              <a:gd name="connsiteY8" fmla="*/ 3068011 h 3224561"/>
              <a:gd name="connsiteX9" fmla="*/ 3849135 w 4965765"/>
              <a:gd name="connsiteY9" fmla="*/ 2950893 h 3224561"/>
              <a:gd name="connsiteX10" fmla="*/ 3701790 w 4965765"/>
              <a:gd name="connsiteY10" fmla="*/ 2985562 h 3224561"/>
              <a:gd name="connsiteX11" fmla="*/ 3588188 w 4965765"/>
              <a:gd name="connsiteY11" fmla="*/ 3064490 h 3224561"/>
              <a:gd name="connsiteX12" fmla="*/ 3524482 w 4965765"/>
              <a:gd name="connsiteY12" fmla="*/ 3004972 h 3224561"/>
              <a:gd name="connsiteX13" fmla="*/ 3376767 w 4965765"/>
              <a:gd name="connsiteY13" fmla="*/ 3063568 h 3224561"/>
              <a:gd name="connsiteX14" fmla="*/ 3274857 w 4965765"/>
              <a:gd name="connsiteY14" fmla="*/ 3050307 h 3224561"/>
              <a:gd name="connsiteX15" fmla="*/ 3173423 w 4965765"/>
              <a:gd name="connsiteY15" fmla="*/ 3060457 h 3224561"/>
              <a:gd name="connsiteX16" fmla="*/ 3082595 w 4965765"/>
              <a:gd name="connsiteY16" fmla="*/ 2979021 h 3224561"/>
              <a:gd name="connsiteX17" fmla="*/ 2983313 w 4965765"/>
              <a:gd name="connsiteY17" fmla="*/ 2997469 h 3224561"/>
              <a:gd name="connsiteX18" fmla="*/ 2848061 w 4965765"/>
              <a:gd name="connsiteY18" fmla="*/ 2872887 h 3224561"/>
              <a:gd name="connsiteX19" fmla="*/ 2759135 w 4965765"/>
              <a:gd name="connsiteY19" fmla="*/ 2907661 h 3224561"/>
              <a:gd name="connsiteX20" fmla="*/ 2722361 w 4965765"/>
              <a:gd name="connsiteY20" fmla="*/ 2962589 h 3224561"/>
              <a:gd name="connsiteX21" fmla="*/ 2653048 w 4965765"/>
              <a:gd name="connsiteY21" fmla="*/ 3011563 h 3224561"/>
              <a:gd name="connsiteX22" fmla="*/ 2542244 w 4965765"/>
              <a:gd name="connsiteY22" fmla="*/ 3060157 h 3224561"/>
              <a:gd name="connsiteX23" fmla="*/ 2397397 w 4965765"/>
              <a:gd name="connsiteY23" fmla="*/ 3026992 h 3224561"/>
              <a:gd name="connsiteX24" fmla="*/ 2313222 w 4965765"/>
              <a:gd name="connsiteY24" fmla="*/ 3057839 h 3224561"/>
              <a:gd name="connsiteX25" fmla="*/ 2111341 w 4965765"/>
              <a:gd name="connsiteY25" fmla="*/ 2989896 h 3224561"/>
              <a:gd name="connsiteX26" fmla="*/ 1955215 w 4965765"/>
              <a:gd name="connsiteY26" fmla="*/ 3007942 h 3224561"/>
              <a:gd name="connsiteX27" fmla="*/ 1888074 w 4965765"/>
              <a:gd name="connsiteY27" fmla="*/ 3051790 h 3224561"/>
              <a:gd name="connsiteX28" fmla="*/ 1703978 w 4965765"/>
              <a:gd name="connsiteY28" fmla="*/ 3050567 h 3224561"/>
              <a:gd name="connsiteX29" fmla="*/ 1599971 w 4965765"/>
              <a:gd name="connsiteY29" fmla="*/ 2972562 h 3224561"/>
              <a:gd name="connsiteX30" fmla="*/ 1474330 w 4965765"/>
              <a:gd name="connsiteY30" fmla="*/ 3063978 h 3224561"/>
              <a:gd name="connsiteX31" fmla="*/ 1368259 w 4965765"/>
              <a:gd name="connsiteY31" fmla="*/ 3156603 h 3224561"/>
              <a:gd name="connsiteX32" fmla="*/ 1287464 w 4965765"/>
              <a:gd name="connsiteY32" fmla="*/ 3160581 h 3224561"/>
              <a:gd name="connsiteX33" fmla="*/ 1253278 w 4965765"/>
              <a:gd name="connsiteY33" fmla="*/ 3102571 h 3224561"/>
              <a:gd name="connsiteX34" fmla="*/ 1144937 w 4965765"/>
              <a:gd name="connsiteY34" fmla="*/ 3102570 h 3224561"/>
              <a:gd name="connsiteX35" fmla="*/ 1066726 w 4965765"/>
              <a:gd name="connsiteY35" fmla="*/ 3065694 h 3224561"/>
              <a:gd name="connsiteX36" fmla="*/ 971591 w 4965765"/>
              <a:gd name="connsiteY36" fmla="*/ 3106905 h 3224561"/>
              <a:gd name="connsiteX37" fmla="*/ 853207 w 4965765"/>
              <a:gd name="connsiteY37" fmla="*/ 3109146 h 3224561"/>
              <a:gd name="connsiteX38" fmla="*/ 794188 w 4965765"/>
              <a:gd name="connsiteY38" fmla="*/ 3152578 h 3224561"/>
              <a:gd name="connsiteX39" fmla="*/ 725986 w 4965765"/>
              <a:gd name="connsiteY39" fmla="*/ 3109147 h 3224561"/>
              <a:gd name="connsiteX40" fmla="*/ 642234 w 4965765"/>
              <a:gd name="connsiteY40" fmla="*/ 3115572 h 3224561"/>
              <a:gd name="connsiteX41" fmla="*/ 566960 w 4965765"/>
              <a:gd name="connsiteY41" fmla="*/ 3085293 h 3224561"/>
              <a:gd name="connsiteX42" fmla="*/ 499169 w 4965765"/>
              <a:gd name="connsiteY42" fmla="*/ 3025578 h 3224561"/>
              <a:gd name="connsiteX43" fmla="*/ 416884 w 4965765"/>
              <a:gd name="connsiteY43" fmla="*/ 3115572 h 3224561"/>
              <a:gd name="connsiteX44" fmla="*/ 282155 w 4965765"/>
              <a:gd name="connsiteY44" fmla="*/ 3152577 h 3224561"/>
              <a:gd name="connsiteX45" fmla="*/ 169867 w 4965765"/>
              <a:gd name="connsiteY45" fmla="*/ 3128573 h 3224561"/>
              <a:gd name="connsiteX46" fmla="*/ 74803 w 4965765"/>
              <a:gd name="connsiteY46" fmla="*/ 3151872 h 3224561"/>
              <a:gd name="connsiteX47" fmla="*/ 141087 w 4965765"/>
              <a:gd name="connsiteY47" fmla="*/ 2892749 h 3224561"/>
              <a:gd name="connsiteX48" fmla="*/ 92 w 4965765"/>
              <a:gd name="connsiteY48" fmla="*/ 3791 h 3224561"/>
              <a:gd name="connsiteX0" fmla="*/ 18357 w 4984030"/>
              <a:gd name="connsiteY0" fmla="*/ 3791 h 3291551"/>
              <a:gd name="connsiteX1" fmla="*/ 4983284 w 4984030"/>
              <a:gd name="connsiteY1" fmla="*/ 4878 h 3291551"/>
              <a:gd name="connsiteX2" fmla="*/ 4983285 w 4984030"/>
              <a:gd name="connsiteY2" fmla="*/ 3021208 h 3291551"/>
              <a:gd name="connsiteX3" fmla="*/ 4924214 w 4984030"/>
              <a:gd name="connsiteY3" fmla="*/ 3120737 h 3291551"/>
              <a:gd name="connsiteX4" fmla="*/ 4792368 w 4984030"/>
              <a:gd name="connsiteY4" fmla="*/ 3151163 h 3291551"/>
              <a:gd name="connsiteX5" fmla="*/ 4599852 w 4984030"/>
              <a:gd name="connsiteY5" fmla="*/ 3062985 h 3291551"/>
              <a:gd name="connsiteX6" fmla="*/ 4429907 w 4984030"/>
              <a:gd name="connsiteY6" fmla="*/ 3113063 h 3291551"/>
              <a:gd name="connsiteX7" fmla="*/ 4239708 w 4984030"/>
              <a:gd name="connsiteY7" fmla="*/ 3084141 h 3291551"/>
              <a:gd name="connsiteX8" fmla="*/ 4027238 w 4984030"/>
              <a:gd name="connsiteY8" fmla="*/ 3068011 h 3291551"/>
              <a:gd name="connsiteX9" fmla="*/ 3867400 w 4984030"/>
              <a:gd name="connsiteY9" fmla="*/ 2950893 h 3291551"/>
              <a:gd name="connsiteX10" fmla="*/ 3720055 w 4984030"/>
              <a:gd name="connsiteY10" fmla="*/ 2985562 h 3291551"/>
              <a:gd name="connsiteX11" fmla="*/ 3606453 w 4984030"/>
              <a:gd name="connsiteY11" fmla="*/ 3064490 h 3291551"/>
              <a:gd name="connsiteX12" fmla="*/ 3542747 w 4984030"/>
              <a:gd name="connsiteY12" fmla="*/ 3004972 h 3291551"/>
              <a:gd name="connsiteX13" fmla="*/ 3395032 w 4984030"/>
              <a:gd name="connsiteY13" fmla="*/ 3063568 h 3291551"/>
              <a:gd name="connsiteX14" fmla="*/ 3293122 w 4984030"/>
              <a:gd name="connsiteY14" fmla="*/ 3050307 h 3291551"/>
              <a:gd name="connsiteX15" fmla="*/ 3191688 w 4984030"/>
              <a:gd name="connsiteY15" fmla="*/ 3060457 h 3291551"/>
              <a:gd name="connsiteX16" fmla="*/ 3100860 w 4984030"/>
              <a:gd name="connsiteY16" fmla="*/ 2979021 h 3291551"/>
              <a:gd name="connsiteX17" fmla="*/ 3001578 w 4984030"/>
              <a:gd name="connsiteY17" fmla="*/ 2997469 h 3291551"/>
              <a:gd name="connsiteX18" fmla="*/ 2866326 w 4984030"/>
              <a:gd name="connsiteY18" fmla="*/ 2872887 h 3291551"/>
              <a:gd name="connsiteX19" fmla="*/ 2777400 w 4984030"/>
              <a:gd name="connsiteY19" fmla="*/ 2907661 h 3291551"/>
              <a:gd name="connsiteX20" fmla="*/ 2740626 w 4984030"/>
              <a:gd name="connsiteY20" fmla="*/ 2962589 h 3291551"/>
              <a:gd name="connsiteX21" fmla="*/ 2671313 w 4984030"/>
              <a:gd name="connsiteY21" fmla="*/ 3011563 h 3291551"/>
              <a:gd name="connsiteX22" fmla="*/ 2560509 w 4984030"/>
              <a:gd name="connsiteY22" fmla="*/ 3060157 h 3291551"/>
              <a:gd name="connsiteX23" fmla="*/ 2415662 w 4984030"/>
              <a:gd name="connsiteY23" fmla="*/ 3026992 h 3291551"/>
              <a:gd name="connsiteX24" fmla="*/ 2331487 w 4984030"/>
              <a:gd name="connsiteY24" fmla="*/ 3057839 h 3291551"/>
              <a:gd name="connsiteX25" fmla="*/ 2129606 w 4984030"/>
              <a:gd name="connsiteY25" fmla="*/ 2989896 h 3291551"/>
              <a:gd name="connsiteX26" fmla="*/ 1973480 w 4984030"/>
              <a:gd name="connsiteY26" fmla="*/ 3007942 h 3291551"/>
              <a:gd name="connsiteX27" fmla="*/ 1906339 w 4984030"/>
              <a:gd name="connsiteY27" fmla="*/ 3051790 h 3291551"/>
              <a:gd name="connsiteX28" fmla="*/ 1722243 w 4984030"/>
              <a:gd name="connsiteY28" fmla="*/ 3050567 h 3291551"/>
              <a:gd name="connsiteX29" fmla="*/ 1618236 w 4984030"/>
              <a:gd name="connsiteY29" fmla="*/ 2972562 h 3291551"/>
              <a:gd name="connsiteX30" fmla="*/ 1492595 w 4984030"/>
              <a:gd name="connsiteY30" fmla="*/ 3063978 h 3291551"/>
              <a:gd name="connsiteX31" fmla="*/ 1386524 w 4984030"/>
              <a:gd name="connsiteY31" fmla="*/ 3156603 h 3291551"/>
              <a:gd name="connsiteX32" fmla="*/ 1305729 w 4984030"/>
              <a:gd name="connsiteY32" fmla="*/ 3160581 h 3291551"/>
              <a:gd name="connsiteX33" fmla="*/ 1271543 w 4984030"/>
              <a:gd name="connsiteY33" fmla="*/ 3102571 h 3291551"/>
              <a:gd name="connsiteX34" fmla="*/ 1163202 w 4984030"/>
              <a:gd name="connsiteY34" fmla="*/ 3102570 h 3291551"/>
              <a:gd name="connsiteX35" fmla="*/ 1084991 w 4984030"/>
              <a:gd name="connsiteY35" fmla="*/ 3065694 h 3291551"/>
              <a:gd name="connsiteX36" fmla="*/ 989856 w 4984030"/>
              <a:gd name="connsiteY36" fmla="*/ 3106905 h 3291551"/>
              <a:gd name="connsiteX37" fmla="*/ 871472 w 4984030"/>
              <a:gd name="connsiteY37" fmla="*/ 3109146 h 3291551"/>
              <a:gd name="connsiteX38" fmla="*/ 812453 w 4984030"/>
              <a:gd name="connsiteY38" fmla="*/ 3152578 h 3291551"/>
              <a:gd name="connsiteX39" fmla="*/ 744251 w 4984030"/>
              <a:gd name="connsiteY39" fmla="*/ 3109147 h 3291551"/>
              <a:gd name="connsiteX40" fmla="*/ 660499 w 4984030"/>
              <a:gd name="connsiteY40" fmla="*/ 3115572 h 3291551"/>
              <a:gd name="connsiteX41" fmla="*/ 585225 w 4984030"/>
              <a:gd name="connsiteY41" fmla="*/ 3085293 h 3291551"/>
              <a:gd name="connsiteX42" fmla="*/ 517434 w 4984030"/>
              <a:gd name="connsiteY42" fmla="*/ 3025578 h 3291551"/>
              <a:gd name="connsiteX43" fmla="*/ 435149 w 4984030"/>
              <a:gd name="connsiteY43" fmla="*/ 3115572 h 3291551"/>
              <a:gd name="connsiteX44" fmla="*/ 300420 w 4984030"/>
              <a:gd name="connsiteY44" fmla="*/ 3152577 h 3291551"/>
              <a:gd name="connsiteX45" fmla="*/ 188132 w 4984030"/>
              <a:gd name="connsiteY45" fmla="*/ 3128573 h 3291551"/>
              <a:gd name="connsiteX46" fmla="*/ 93068 w 4984030"/>
              <a:gd name="connsiteY46" fmla="*/ 3151872 h 3291551"/>
              <a:gd name="connsiteX47" fmla="*/ 14139 w 4984030"/>
              <a:gd name="connsiteY47" fmla="*/ 3004452 h 3291551"/>
              <a:gd name="connsiteX48" fmla="*/ 18357 w 4984030"/>
              <a:gd name="connsiteY48" fmla="*/ 3791 h 3291551"/>
              <a:gd name="connsiteX0" fmla="*/ 4271 w 4969944"/>
              <a:gd name="connsiteY0" fmla="*/ 3791 h 3164049"/>
              <a:gd name="connsiteX1" fmla="*/ 4969198 w 4969944"/>
              <a:gd name="connsiteY1" fmla="*/ 4878 h 3164049"/>
              <a:gd name="connsiteX2" fmla="*/ 4969199 w 4969944"/>
              <a:gd name="connsiteY2" fmla="*/ 3021208 h 3164049"/>
              <a:gd name="connsiteX3" fmla="*/ 4910128 w 4969944"/>
              <a:gd name="connsiteY3" fmla="*/ 3120737 h 3164049"/>
              <a:gd name="connsiteX4" fmla="*/ 4778282 w 4969944"/>
              <a:gd name="connsiteY4" fmla="*/ 3151163 h 3164049"/>
              <a:gd name="connsiteX5" fmla="*/ 4585766 w 4969944"/>
              <a:gd name="connsiteY5" fmla="*/ 3062985 h 3164049"/>
              <a:gd name="connsiteX6" fmla="*/ 4415821 w 4969944"/>
              <a:gd name="connsiteY6" fmla="*/ 3113063 h 3164049"/>
              <a:gd name="connsiteX7" fmla="*/ 4225622 w 4969944"/>
              <a:gd name="connsiteY7" fmla="*/ 3084141 h 3164049"/>
              <a:gd name="connsiteX8" fmla="*/ 4013152 w 4969944"/>
              <a:gd name="connsiteY8" fmla="*/ 3068011 h 3164049"/>
              <a:gd name="connsiteX9" fmla="*/ 3853314 w 4969944"/>
              <a:gd name="connsiteY9" fmla="*/ 2950893 h 3164049"/>
              <a:gd name="connsiteX10" fmla="*/ 3705969 w 4969944"/>
              <a:gd name="connsiteY10" fmla="*/ 2985562 h 3164049"/>
              <a:gd name="connsiteX11" fmla="*/ 3592367 w 4969944"/>
              <a:gd name="connsiteY11" fmla="*/ 3064490 h 3164049"/>
              <a:gd name="connsiteX12" fmla="*/ 3528661 w 4969944"/>
              <a:gd name="connsiteY12" fmla="*/ 3004972 h 3164049"/>
              <a:gd name="connsiteX13" fmla="*/ 3380946 w 4969944"/>
              <a:gd name="connsiteY13" fmla="*/ 3063568 h 3164049"/>
              <a:gd name="connsiteX14" fmla="*/ 3279036 w 4969944"/>
              <a:gd name="connsiteY14" fmla="*/ 3050307 h 3164049"/>
              <a:gd name="connsiteX15" fmla="*/ 3177602 w 4969944"/>
              <a:gd name="connsiteY15" fmla="*/ 3060457 h 3164049"/>
              <a:gd name="connsiteX16" fmla="*/ 3086774 w 4969944"/>
              <a:gd name="connsiteY16" fmla="*/ 2979021 h 3164049"/>
              <a:gd name="connsiteX17" fmla="*/ 2987492 w 4969944"/>
              <a:gd name="connsiteY17" fmla="*/ 2997469 h 3164049"/>
              <a:gd name="connsiteX18" fmla="*/ 2852240 w 4969944"/>
              <a:gd name="connsiteY18" fmla="*/ 2872887 h 3164049"/>
              <a:gd name="connsiteX19" fmla="*/ 2763314 w 4969944"/>
              <a:gd name="connsiteY19" fmla="*/ 2907661 h 3164049"/>
              <a:gd name="connsiteX20" fmla="*/ 2726540 w 4969944"/>
              <a:gd name="connsiteY20" fmla="*/ 2962589 h 3164049"/>
              <a:gd name="connsiteX21" fmla="*/ 2657227 w 4969944"/>
              <a:gd name="connsiteY21" fmla="*/ 3011563 h 3164049"/>
              <a:gd name="connsiteX22" fmla="*/ 2546423 w 4969944"/>
              <a:gd name="connsiteY22" fmla="*/ 3060157 h 3164049"/>
              <a:gd name="connsiteX23" fmla="*/ 2401576 w 4969944"/>
              <a:gd name="connsiteY23" fmla="*/ 3026992 h 3164049"/>
              <a:gd name="connsiteX24" fmla="*/ 2317401 w 4969944"/>
              <a:gd name="connsiteY24" fmla="*/ 3057839 h 3164049"/>
              <a:gd name="connsiteX25" fmla="*/ 2115520 w 4969944"/>
              <a:gd name="connsiteY25" fmla="*/ 2989896 h 3164049"/>
              <a:gd name="connsiteX26" fmla="*/ 1959394 w 4969944"/>
              <a:gd name="connsiteY26" fmla="*/ 3007942 h 3164049"/>
              <a:gd name="connsiteX27" fmla="*/ 1892253 w 4969944"/>
              <a:gd name="connsiteY27" fmla="*/ 3051790 h 3164049"/>
              <a:gd name="connsiteX28" fmla="*/ 1708157 w 4969944"/>
              <a:gd name="connsiteY28" fmla="*/ 3050567 h 3164049"/>
              <a:gd name="connsiteX29" fmla="*/ 1604150 w 4969944"/>
              <a:gd name="connsiteY29" fmla="*/ 2972562 h 3164049"/>
              <a:gd name="connsiteX30" fmla="*/ 1478509 w 4969944"/>
              <a:gd name="connsiteY30" fmla="*/ 3063978 h 3164049"/>
              <a:gd name="connsiteX31" fmla="*/ 1372438 w 4969944"/>
              <a:gd name="connsiteY31" fmla="*/ 3156603 h 3164049"/>
              <a:gd name="connsiteX32" fmla="*/ 1291643 w 4969944"/>
              <a:gd name="connsiteY32" fmla="*/ 3160581 h 3164049"/>
              <a:gd name="connsiteX33" fmla="*/ 1257457 w 4969944"/>
              <a:gd name="connsiteY33" fmla="*/ 3102571 h 3164049"/>
              <a:gd name="connsiteX34" fmla="*/ 1149116 w 4969944"/>
              <a:gd name="connsiteY34" fmla="*/ 3102570 h 3164049"/>
              <a:gd name="connsiteX35" fmla="*/ 1070905 w 4969944"/>
              <a:gd name="connsiteY35" fmla="*/ 3065694 h 3164049"/>
              <a:gd name="connsiteX36" fmla="*/ 975770 w 4969944"/>
              <a:gd name="connsiteY36" fmla="*/ 3106905 h 3164049"/>
              <a:gd name="connsiteX37" fmla="*/ 857386 w 4969944"/>
              <a:gd name="connsiteY37" fmla="*/ 3109146 h 3164049"/>
              <a:gd name="connsiteX38" fmla="*/ 798367 w 4969944"/>
              <a:gd name="connsiteY38" fmla="*/ 3152578 h 3164049"/>
              <a:gd name="connsiteX39" fmla="*/ 730165 w 4969944"/>
              <a:gd name="connsiteY39" fmla="*/ 3109147 h 3164049"/>
              <a:gd name="connsiteX40" fmla="*/ 646413 w 4969944"/>
              <a:gd name="connsiteY40" fmla="*/ 3115572 h 3164049"/>
              <a:gd name="connsiteX41" fmla="*/ 571139 w 4969944"/>
              <a:gd name="connsiteY41" fmla="*/ 3085293 h 3164049"/>
              <a:gd name="connsiteX42" fmla="*/ 503348 w 4969944"/>
              <a:gd name="connsiteY42" fmla="*/ 3025578 h 3164049"/>
              <a:gd name="connsiteX43" fmla="*/ 421063 w 4969944"/>
              <a:gd name="connsiteY43" fmla="*/ 3115572 h 3164049"/>
              <a:gd name="connsiteX44" fmla="*/ 286334 w 4969944"/>
              <a:gd name="connsiteY44" fmla="*/ 3152577 h 3164049"/>
              <a:gd name="connsiteX45" fmla="*/ 174046 w 4969944"/>
              <a:gd name="connsiteY45" fmla="*/ 3128573 h 3164049"/>
              <a:gd name="connsiteX46" fmla="*/ 78982 w 4969944"/>
              <a:gd name="connsiteY46" fmla="*/ 3151872 h 3164049"/>
              <a:gd name="connsiteX47" fmla="*/ 53 w 4969944"/>
              <a:gd name="connsiteY47" fmla="*/ 3004452 h 3164049"/>
              <a:gd name="connsiteX48" fmla="*/ 4271 w 4969944"/>
              <a:gd name="connsiteY48" fmla="*/ 3791 h 3164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969944" h="3164049">
                <a:moveTo>
                  <a:pt x="4271" y="3791"/>
                </a:moveTo>
                <a:cubicBezTo>
                  <a:pt x="3068" y="-1854"/>
                  <a:pt x="4973897" y="-947"/>
                  <a:pt x="4969198" y="4878"/>
                </a:cubicBezTo>
                <a:cubicBezTo>
                  <a:pt x="4970085" y="5119"/>
                  <a:pt x="4969199" y="2198212"/>
                  <a:pt x="4969199" y="3021208"/>
                </a:cubicBezTo>
                <a:cubicBezTo>
                  <a:pt x="4977116" y="3020819"/>
                  <a:pt x="4919546" y="3112459"/>
                  <a:pt x="4910128" y="3120737"/>
                </a:cubicBezTo>
                <a:cubicBezTo>
                  <a:pt x="4918183" y="3122954"/>
                  <a:pt x="4826565" y="3096943"/>
                  <a:pt x="4778282" y="3151163"/>
                </a:cubicBezTo>
                <a:cubicBezTo>
                  <a:pt x="4731715" y="3151163"/>
                  <a:pt x="4632333" y="3062985"/>
                  <a:pt x="4585766" y="3062985"/>
                </a:cubicBezTo>
                <a:cubicBezTo>
                  <a:pt x="4509566" y="3058752"/>
                  <a:pt x="4492021" y="3043624"/>
                  <a:pt x="4415821" y="3113063"/>
                </a:cubicBezTo>
                <a:cubicBezTo>
                  <a:pt x="4352321" y="3108830"/>
                  <a:pt x="4315124" y="3053704"/>
                  <a:pt x="4225622" y="3084141"/>
                </a:cubicBezTo>
                <a:cubicBezTo>
                  <a:pt x="4174822" y="3082024"/>
                  <a:pt x="4102954" y="3044126"/>
                  <a:pt x="4013152" y="3068011"/>
                </a:cubicBezTo>
                <a:cubicBezTo>
                  <a:pt x="3959873" y="3028972"/>
                  <a:pt x="3915260" y="3024601"/>
                  <a:pt x="3853314" y="2950893"/>
                </a:cubicBezTo>
                <a:lnTo>
                  <a:pt x="3705969" y="2985562"/>
                </a:lnTo>
                <a:lnTo>
                  <a:pt x="3592367" y="3064490"/>
                </a:lnTo>
                <a:cubicBezTo>
                  <a:pt x="3585458" y="3064490"/>
                  <a:pt x="3535570" y="3004972"/>
                  <a:pt x="3528661" y="3004972"/>
                </a:cubicBezTo>
                <a:cubicBezTo>
                  <a:pt x="3520565" y="3004143"/>
                  <a:pt x="3437740" y="3058813"/>
                  <a:pt x="3380946" y="3063568"/>
                </a:cubicBezTo>
                <a:cubicBezTo>
                  <a:pt x="3340561" y="3070514"/>
                  <a:pt x="3312927" y="3050826"/>
                  <a:pt x="3279036" y="3050307"/>
                </a:cubicBezTo>
                <a:cubicBezTo>
                  <a:pt x="3270748" y="3049788"/>
                  <a:pt x="3208426" y="3074776"/>
                  <a:pt x="3177602" y="3060457"/>
                </a:cubicBezTo>
                <a:cubicBezTo>
                  <a:pt x="3122569" y="3056224"/>
                  <a:pt x="3105231" y="2983254"/>
                  <a:pt x="3086774" y="2979021"/>
                </a:cubicBezTo>
                <a:cubicBezTo>
                  <a:pt x="3050791" y="2981138"/>
                  <a:pt x="3023475" y="2995352"/>
                  <a:pt x="2987492" y="2997469"/>
                </a:cubicBezTo>
                <a:cubicBezTo>
                  <a:pt x="2971210" y="2994901"/>
                  <a:pt x="2862628" y="2876533"/>
                  <a:pt x="2852240" y="2872887"/>
                </a:cubicBezTo>
                <a:cubicBezTo>
                  <a:pt x="2847796" y="2860967"/>
                  <a:pt x="2784264" y="2892711"/>
                  <a:pt x="2763314" y="2907661"/>
                </a:cubicBezTo>
                <a:cubicBezTo>
                  <a:pt x="2742364" y="2922611"/>
                  <a:pt x="2747879" y="2948320"/>
                  <a:pt x="2726540" y="2962589"/>
                </a:cubicBezTo>
                <a:cubicBezTo>
                  <a:pt x="2705201" y="2976858"/>
                  <a:pt x="2700248" y="2994580"/>
                  <a:pt x="2657227" y="3011563"/>
                </a:cubicBezTo>
                <a:cubicBezTo>
                  <a:pt x="2614207" y="3028547"/>
                  <a:pt x="2599865" y="3063364"/>
                  <a:pt x="2546423" y="3060157"/>
                </a:cubicBezTo>
                <a:cubicBezTo>
                  <a:pt x="2495623" y="3055924"/>
                  <a:pt x="2452376" y="3031225"/>
                  <a:pt x="2401576" y="3026992"/>
                </a:cubicBezTo>
                <a:cubicBezTo>
                  <a:pt x="2352893" y="3026992"/>
                  <a:pt x="2366084" y="3057839"/>
                  <a:pt x="2317401" y="3057839"/>
                </a:cubicBezTo>
                <a:cubicBezTo>
                  <a:pt x="2260336" y="3055268"/>
                  <a:pt x="2198301" y="3002546"/>
                  <a:pt x="2115520" y="2989896"/>
                </a:cubicBezTo>
                <a:cubicBezTo>
                  <a:pt x="2032739" y="2977246"/>
                  <a:pt x="2029830" y="3001238"/>
                  <a:pt x="1959394" y="3007942"/>
                </a:cubicBezTo>
                <a:cubicBezTo>
                  <a:pt x="1921294" y="3012175"/>
                  <a:pt x="1930353" y="3047557"/>
                  <a:pt x="1892253" y="3051790"/>
                </a:cubicBezTo>
                <a:cubicBezTo>
                  <a:pt x="1848936" y="3056727"/>
                  <a:pt x="1797338" y="3060092"/>
                  <a:pt x="1708157" y="3050567"/>
                </a:cubicBezTo>
                <a:cubicBezTo>
                  <a:pt x="1655084" y="3046752"/>
                  <a:pt x="1633388" y="2981883"/>
                  <a:pt x="1604150" y="2972562"/>
                </a:cubicBezTo>
                <a:cubicBezTo>
                  <a:pt x="1582228" y="2963241"/>
                  <a:pt x="1527624" y="3045921"/>
                  <a:pt x="1478509" y="3063978"/>
                </a:cubicBezTo>
                <a:cubicBezTo>
                  <a:pt x="1429394" y="3082035"/>
                  <a:pt x="1422295" y="3152284"/>
                  <a:pt x="1372438" y="3156603"/>
                </a:cubicBezTo>
                <a:cubicBezTo>
                  <a:pt x="1322581" y="3160922"/>
                  <a:pt x="1324868" y="3168526"/>
                  <a:pt x="1291643" y="3160581"/>
                </a:cubicBezTo>
                <a:cubicBezTo>
                  <a:pt x="1258418" y="3152636"/>
                  <a:pt x="1281278" y="3122848"/>
                  <a:pt x="1257457" y="3102571"/>
                </a:cubicBezTo>
                <a:cubicBezTo>
                  <a:pt x="1233636" y="3082294"/>
                  <a:pt x="1191764" y="3117384"/>
                  <a:pt x="1149116" y="3102570"/>
                </a:cubicBezTo>
                <a:cubicBezTo>
                  <a:pt x="1106468" y="3087756"/>
                  <a:pt x="1112075" y="3070028"/>
                  <a:pt x="1070905" y="3065694"/>
                </a:cubicBezTo>
                <a:cubicBezTo>
                  <a:pt x="1029735" y="3061360"/>
                  <a:pt x="1008043" y="3097013"/>
                  <a:pt x="975770" y="3106905"/>
                </a:cubicBezTo>
                <a:cubicBezTo>
                  <a:pt x="943497" y="3116797"/>
                  <a:pt x="886953" y="3101534"/>
                  <a:pt x="857386" y="3109146"/>
                </a:cubicBezTo>
                <a:cubicBezTo>
                  <a:pt x="827819" y="3116758"/>
                  <a:pt x="822884" y="3155228"/>
                  <a:pt x="798367" y="3152578"/>
                </a:cubicBezTo>
                <a:cubicBezTo>
                  <a:pt x="773850" y="3149928"/>
                  <a:pt x="715735" y="3103388"/>
                  <a:pt x="730165" y="3109147"/>
                </a:cubicBezTo>
                <a:cubicBezTo>
                  <a:pt x="704839" y="3102979"/>
                  <a:pt x="671592" y="3124186"/>
                  <a:pt x="646413" y="3115572"/>
                </a:cubicBezTo>
                <a:cubicBezTo>
                  <a:pt x="621234" y="3106958"/>
                  <a:pt x="594983" y="3100292"/>
                  <a:pt x="571139" y="3085293"/>
                </a:cubicBezTo>
                <a:cubicBezTo>
                  <a:pt x="547295" y="3070294"/>
                  <a:pt x="528360" y="3016556"/>
                  <a:pt x="503348" y="3025578"/>
                </a:cubicBezTo>
                <a:cubicBezTo>
                  <a:pt x="497773" y="3027387"/>
                  <a:pt x="457232" y="3094405"/>
                  <a:pt x="421063" y="3115572"/>
                </a:cubicBezTo>
                <a:cubicBezTo>
                  <a:pt x="384894" y="3136739"/>
                  <a:pt x="293817" y="3151900"/>
                  <a:pt x="286334" y="3152577"/>
                </a:cubicBezTo>
                <a:cubicBezTo>
                  <a:pt x="267878" y="3153254"/>
                  <a:pt x="168370" y="3131129"/>
                  <a:pt x="174046" y="3128573"/>
                </a:cubicBezTo>
                <a:cubicBezTo>
                  <a:pt x="161433" y="3126017"/>
                  <a:pt x="102299" y="3171933"/>
                  <a:pt x="78982" y="3151872"/>
                </a:cubicBezTo>
                <a:cubicBezTo>
                  <a:pt x="55665" y="3131811"/>
                  <a:pt x="-1979" y="2992577"/>
                  <a:pt x="53" y="3004452"/>
                </a:cubicBezTo>
                <a:cubicBezTo>
                  <a:pt x="9943" y="3015014"/>
                  <a:pt x="-111" y="-7319"/>
                  <a:pt x="4271" y="3791"/>
                </a:cubicBezTo>
                <a:close/>
              </a:path>
            </a:pathLst>
          </a:custGeom>
          <a:solidFill>
            <a:srgbClr val="F9F9F9"/>
          </a:solidFill>
          <a:ln w="1270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274320" rIns="91440" rtlCol="0" anchor="t"/>
          <a:lstStyle/>
          <a:p>
            <a:pPr>
              <a:spcBef>
                <a:spcPts val="600"/>
              </a:spcBef>
            </a:pPr>
            <a:r>
              <a:rPr lang="en-US" sz="1200" i="1" dirty="0">
                <a:solidFill>
                  <a:schemeClr val="bg2"/>
                </a:solidFill>
              </a:rPr>
              <a:t>“Business transformation requires funding, and an IPO offers a powerful avenue to raise the capital needed to drive growth and innovation. After a period of slower activity, the global IPO market is regaining its momentum, supported by more favorable market conditions. The outlook for 2025 appears increasingly optimistic, with a strong pipeline of companies across sectors looking to capture the opportunities presented by this renewed market strength.”	 </a:t>
            </a:r>
          </a:p>
          <a:p>
            <a:pPr algn="r"/>
            <a:endParaRPr lang="en-US" sz="1200" i="1" dirty="0">
              <a:solidFill>
                <a:schemeClr val="bg2"/>
              </a:solidFill>
            </a:endParaRPr>
          </a:p>
          <a:p>
            <a:pPr algn="r"/>
            <a:endParaRPr lang="en-US" sz="1200" i="1" dirty="0">
              <a:solidFill>
                <a:schemeClr val="bg2"/>
              </a:solidFill>
            </a:endParaRPr>
          </a:p>
          <a:p>
            <a:pPr algn="r"/>
            <a:r>
              <a:rPr lang="en-US" sz="1200" b="1" dirty="0">
                <a:solidFill>
                  <a:schemeClr val="tx2"/>
                </a:solidFill>
              </a:rPr>
              <a:t>- Stuart Newman,</a:t>
            </a:r>
          </a:p>
          <a:p>
            <a:pPr algn="r"/>
            <a:r>
              <a:rPr lang="en-US" sz="1200" i="1" dirty="0">
                <a:solidFill>
                  <a:schemeClr val="bg2"/>
                </a:solidFill>
              </a:rPr>
              <a:t>PwC UK, Global IPO Centre Leader</a:t>
            </a:r>
            <a:endParaRPr lang="en-IN" sz="1200" i="1" dirty="0">
              <a:solidFill>
                <a:schemeClr val="bg2"/>
              </a:solidFill>
            </a:endParaRPr>
          </a:p>
        </p:txBody>
      </p:sp>
      <p:sp>
        <p:nvSpPr>
          <p:cNvPr id="3" name="Rectangle: Rounded Corners 2">
            <a:extLst>
              <a:ext uri="{FF2B5EF4-FFF2-40B4-BE49-F238E27FC236}">
                <a16:creationId xmlns:a16="http://schemas.microsoft.com/office/drawing/2014/main" id="{D25F194A-8383-4D35-971B-394D523FB41C}"/>
              </a:ext>
            </a:extLst>
          </p:cNvPr>
          <p:cNvSpPr/>
          <p:nvPr/>
        </p:nvSpPr>
        <p:spPr>
          <a:xfrm>
            <a:off x="2169003" y="931786"/>
            <a:ext cx="2089632" cy="762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0" name="Rectangle: Rounded Corners 19">
            <a:extLst>
              <a:ext uri="{FF2B5EF4-FFF2-40B4-BE49-F238E27FC236}">
                <a16:creationId xmlns:a16="http://schemas.microsoft.com/office/drawing/2014/main" id="{6C8D397A-D9C6-4CF0-92F5-EC3DD01A6589}"/>
              </a:ext>
            </a:extLst>
          </p:cNvPr>
          <p:cNvSpPr/>
          <p:nvPr/>
        </p:nvSpPr>
        <p:spPr>
          <a:xfrm>
            <a:off x="7622214" y="931786"/>
            <a:ext cx="2089632" cy="762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Rectangle: Rounded Corners 20">
            <a:extLst>
              <a:ext uri="{FF2B5EF4-FFF2-40B4-BE49-F238E27FC236}">
                <a16:creationId xmlns:a16="http://schemas.microsoft.com/office/drawing/2014/main" id="{C222537C-FA60-4BF6-9024-AFAB5D114A1D}"/>
              </a:ext>
            </a:extLst>
          </p:cNvPr>
          <p:cNvSpPr/>
          <p:nvPr/>
        </p:nvSpPr>
        <p:spPr>
          <a:xfrm>
            <a:off x="2169003" y="3636885"/>
            <a:ext cx="2089632" cy="762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2" name="Rectangle: Rounded Corners 21">
            <a:extLst>
              <a:ext uri="{FF2B5EF4-FFF2-40B4-BE49-F238E27FC236}">
                <a16:creationId xmlns:a16="http://schemas.microsoft.com/office/drawing/2014/main" id="{7E14F70B-535F-4B89-B955-B67EC76E3134}"/>
              </a:ext>
            </a:extLst>
          </p:cNvPr>
          <p:cNvSpPr/>
          <p:nvPr/>
        </p:nvSpPr>
        <p:spPr>
          <a:xfrm>
            <a:off x="7622214" y="3636885"/>
            <a:ext cx="2089632" cy="76200"/>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TextBox 15">
            <a:extLst>
              <a:ext uri="{FF2B5EF4-FFF2-40B4-BE49-F238E27FC236}">
                <a16:creationId xmlns:a16="http://schemas.microsoft.com/office/drawing/2014/main" id="{C93C41ED-AC71-4C46-9D04-EF7615ED4F96}"/>
              </a:ext>
            </a:extLst>
          </p:cNvPr>
          <p:cNvSpPr txBox="1"/>
          <p:nvPr/>
        </p:nvSpPr>
        <p:spPr>
          <a:xfrm>
            <a:off x="571500" y="6543674"/>
            <a:ext cx="8788400" cy="161925"/>
          </a:xfrm>
          <a:prstGeom prst="rect">
            <a:avLst/>
          </a:prstGeom>
          <a:noFill/>
        </p:spPr>
        <p:txBody>
          <a:bodyPr wrap="square" lIns="45720" rtlCol="0" anchor="ctr">
            <a:noAutofit/>
          </a:bodyPr>
          <a:lstStyle/>
          <a:p>
            <a:pPr algn="l">
              <a:lnSpc>
                <a:spcPct val="90000"/>
              </a:lnSpc>
              <a:spcBef>
                <a:spcPts val="800"/>
              </a:spcBef>
              <a:buClr>
                <a:srgbClr val="E0044E"/>
              </a:buClr>
            </a:pPr>
            <a:r>
              <a:rPr lang="en-US" sz="900" dirty="0">
                <a:latin typeface="Segoe UI" panose="020B0502040204020203" pitchFamily="34" charset="0"/>
                <a:cs typeface="Segoe UI" panose="020B0502040204020203" pitchFamily="34" charset="0"/>
              </a:rPr>
              <a:t>Source: EY, Press</a:t>
            </a:r>
            <a:endParaRPr lang="en-IN" sz="9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141477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39">
            <a:extLst>
              <a:ext uri="{FF2B5EF4-FFF2-40B4-BE49-F238E27FC236}">
                <a16:creationId xmlns:a16="http://schemas.microsoft.com/office/drawing/2014/main" id="{C7532BC8-4745-4BB2-8C81-6C639A6284C4}"/>
              </a:ext>
            </a:extLst>
          </p:cNvPr>
          <p:cNvSpPr>
            <a:spLocks noGrp="1"/>
          </p:cNvSpPr>
          <p:nvPr>
            <p:ph type="sldNum" sz="quarter" idx="17"/>
          </p:nvPr>
        </p:nvSpPr>
        <p:spPr/>
        <p:txBody>
          <a:bodyPr/>
          <a:lstStyle/>
          <a:p>
            <a:fld id="{2604F1CA-F590-4AD7-82C4-33C5478F726E}" type="slidenum">
              <a:rPr lang="en-GB" smtClean="0"/>
              <a:pPr/>
              <a:t>12</a:t>
            </a:fld>
            <a:endParaRPr lang="en-GB" dirty="0"/>
          </a:p>
        </p:txBody>
      </p:sp>
      <p:sp>
        <p:nvSpPr>
          <p:cNvPr id="7" name="Title 6">
            <a:extLst>
              <a:ext uri="{FF2B5EF4-FFF2-40B4-BE49-F238E27FC236}">
                <a16:creationId xmlns:a16="http://schemas.microsoft.com/office/drawing/2014/main" id="{3147817E-AB33-489B-9DF3-A9955C51574D}"/>
              </a:ext>
            </a:extLst>
          </p:cNvPr>
          <p:cNvSpPr>
            <a:spLocks noGrp="1"/>
          </p:cNvSpPr>
          <p:nvPr>
            <p:ph type="title"/>
          </p:nvPr>
        </p:nvSpPr>
        <p:spPr/>
        <p:txBody>
          <a:bodyPr/>
          <a:lstStyle/>
          <a:p>
            <a:r>
              <a:rPr lang="en-US" dirty="0"/>
              <a:t>About the Authors</a:t>
            </a:r>
          </a:p>
        </p:txBody>
      </p:sp>
      <p:sp>
        <p:nvSpPr>
          <p:cNvPr id="4" name="Rectangle: Rounded Corners 3">
            <a:extLst>
              <a:ext uri="{FF2B5EF4-FFF2-40B4-BE49-F238E27FC236}">
                <a16:creationId xmlns:a16="http://schemas.microsoft.com/office/drawing/2014/main" id="{382EE93F-E280-57F8-4427-B4415492BA17}"/>
              </a:ext>
            </a:extLst>
          </p:cNvPr>
          <p:cNvSpPr/>
          <p:nvPr/>
        </p:nvSpPr>
        <p:spPr bwMode="auto">
          <a:xfrm>
            <a:off x="1298401" y="1811400"/>
            <a:ext cx="4694411" cy="1686935"/>
          </a:xfrm>
          <a:prstGeom prst="roundRect">
            <a:avLst>
              <a:gd name="adj" fmla="val 6425"/>
            </a:avLst>
          </a:prstGeom>
          <a:solidFill>
            <a:schemeClr val="bg1">
              <a:lumMod val="95000"/>
            </a:schemeClr>
          </a:solidFill>
          <a:ln w="3175">
            <a:solidFill>
              <a:schemeClr val="bg2"/>
            </a:solidFill>
            <a:prstDash val="dash"/>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050" dirty="0">
              <a:solidFill>
                <a:schemeClr val="bg2"/>
              </a:solidFill>
              <a:latin typeface="+mj-lt"/>
              <a:ea typeface="Verdana" pitchFamily="34" charset="0"/>
              <a:cs typeface="Verdana" pitchFamily="34" charset="0"/>
            </a:endParaRPr>
          </a:p>
        </p:txBody>
      </p:sp>
      <p:sp>
        <p:nvSpPr>
          <p:cNvPr id="5" name="Rectangle 4">
            <a:extLst>
              <a:ext uri="{FF2B5EF4-FFF2-40B4-BE49-F238E27FC236}">
                <a16:creationId xmlns:a16="http://schemas.microsoft.com/office/drawing/2014/main" id="{931F67B7-337B-CA89-A414-EBF0BA67280D}"/>
              </a:ext>
            </a:extLst>
          </p:cNvPr>
          <p:cNvSpPr/>
          <p:nvPr/>
        </p:nvSpPr>
        <p:spPr>
          <a:xfrm>
            <a:off x="2152969" y="2674498"/>
            <a:ext cx="3780000" cy="369332"/>
          </a:xfrm>
          <a:prstGeom prst="rect">
            <a:avLst/>
          </a:prstGeom>
        </p:spPr>
        <p:txBody>
          <a:bodyPr wrap="square" lIns="0" tIns="0" rIns="0" bIns="0">
            <a:spAutoFit/>
          </a:bodyPr>
          <a:lstStyle/>
          <a:p>
            <a:pPr marL="174625" indent="-174625">
              <a:spcBef>
                <a:spcPts val="300"/>
              </a:spcBef>
              <a:spcAft>
                <a:spcPts val="300"/>
              </a:spcAft>
              <a:buClr>
                <a:srgbClr val="47254B"/>
              </a:buClr>
              <a:buSzPct val="100000"/>
              <a:buFont typeface="Arial" panose="020B0604020202020204" pitchFamily="34" charset="0"/>
              <a:buChar char="•"/>
              <a:defRPr/>
            </a:pPr>
            <a:r>
              <a:rPr lang="en-US" sz="1200" dirty="0">
                <a:latin typeface="+mj-lt"/>
              </a:rPr>
              <a:t>Narender has ~10 years of experience in managing investment banking delivery teams</a:t>
            </a:r>
          </a:p>
        </p:txBody>
      </p:sp>
      <p:sp>
        <p:nvSpPr>
          <p:cNvPr id="6" name="Rectangle 5">
            <a:extLst>
              <a:ext uri="{FF2B5EF4-FFF2-40B4-BE49-F238E27FC236}">
                <a16:creationId xmlns:a16="http://schemas.microsoft.com/office/drawing/2014/main" id="{4432C0F9-C4F1-7D74-47D5-4A9F5FFD8426}"/>
              </a:ext>
            </a:extLst>
          </p:cNvPr>
          <p:cNvSpPr/>
          <p:nvPr/>
        </p:nvSpPr>
        <p:spPr>
          <a:xfrm>
            <a:off x="2047590" y="1858482"/>
            <a:ext cx="1834156" cy="307777"/>
          </a:xfrm>
          <a:prstGeom prst="rect">
            <a:avLst/>
          </a:prstGeom>
        </p:spPr>
        <p:txBody>
          <a:bodyPr wrap="none">
            <a:spAutoFit/>
          </a:bodyPr>
          <a:lstStyle/>
          <a:p>
            <a:pPr lvl="0"/>
            <a:r>
              <a:rPr lang="en-US" sz="1400" b="1" dirty="0">
                <a:solidFill>
                  <a:schemeClr val="bg2"/>
                </a:solidFill>
                <a:latin typeface="+mj-lt"/>
              </a:rPr>
              <a:t>NARENDER VERMA</a:t>
            </a:r>
          </a:p>
        </p:txBody>
      </p:sp>
      <p:sp>
        <p:nvSpPr>
          <p:cNvPr id="8" name="Rectangle 7">
            <a:extLst>
              <a:ext uri="{FF2B5EF4-FFF2-40B4-BE49-F238E27FC236}">
                <a16:creationId xmlns:a16="http://schemas.microsoft.com/office/drawing/2014/main" id="{2AD552D3-C58B-0E93-C0D5-F10A2EA43A07}"/>
              </a:ext>
            </a:extLst>
          </p:cNvPr>
          <p:cNvSpPr/>
          <p:nvPr/>
        </p:nvSpPr>
        <p:spPr>
          <a:xfrm>
            <a:off x="2052153" y="2182625"/>
            <a:ext cx="3940659" cy="461665"/>
          </a:xfrm>
          <a:prstGeom prst="rect">
            <a:avLst/>
          </a:prstGeom>
        </p:spPr>
        <p:txBody>
          <a:bodyPr wrap="square">
            <a:spAutoFit/>
          </a:bodyPr>
          <a:lstStyle/>
          <a:p>
            <a:pPr>
              <a:spcBef>
                <a:spcPts val="300"/>
              </a:spcBef>
              <a:spcAft>
                <a:spcPts val="300"/>
              </a:spcAft>
              <a:buClr>
                <a:srgbClr val="47254B"/>
              </a:buClr>
              <a:buSzPct val="100000"/>
              <a:defRPr/>
            </a:pPr>
            <a:r>
              <a:rPr lang="en-US" sz="1200" b="1" i="1" dirty="0">
                <a:solidFill>
                  <a:schemeClr val="bg2"/>
                </a:solidFill>
                <a:latin typeface="+mj-lt"/>
              </a:rPr>
              <a:t>Lead Analyst</a:t>
            </a:r>
            <a:br>
              <a:rPr lang="en-US" sz="1200" b="1" i="1" dirty="0">
                <a:solidFill>
                  <a:schemeClr val="bg2"/>
                </a:solidFill>
                <a:latin typeface="+mj-lt"/>
              </a:rPr>
            </a:br>
            <a:r>
              <a:rPr lang="en-US" sz="1200" b="1" i="1" dirty="0">
                <a:solidFill>
                  <a:schemeClr val="bg2"/>
                </a:solidFill>
                <a:latin typeface="+mj-lt"/>
              </a:rPr>
              <a:t>Corporate and Investment Banking LoB</a:t>
            </a:r>
            <a:endParaRPr lang="en-US" sz="1400" b="1" i="1" dirty="0">
              <a:solidFill>
                <a:schemeClr val="bg2"/>
              </a:solidFill>
              <a:latin typeface="+mj-lt"/>
            </a:endParaRPr>
          </a:p>
        </p:txBody>
      </p:sp>
      <p:cxnSp>
        <p:nvCxnSpPr>
          <p:cNvPr id="9" name="Straight Connector 8">
            <a:extLst>
              <a:ext uri="{FF2B5EF4-FFF2-40B4-BE49-F238E27FC236}">
                <a16:creationId xmlns:a16="http://schemas.microsoft.com/office/drawing/2014/main" id="{E054EC56-717B-DA9E-30C6-A461CEFC33F9}"/>
              </a:ext>
            </a:extLst>
          </p:cNvPr>
          <p:cNvCxnSpPr>
            <a:cxnSpLocks/>
          </p:cNvCxnSpPr>
          <p:nvPr/>
        </p:nvCxnSpPr>
        <p:spPr bwMode="auto">
          <a:xfrm>
            <a:off x="2127858" y="2176901"/>
            <a:ext cx="2448000" cy="0"/>
          </a:xfrm>
          <a:prstGeom prst="line">
            <a:avLst/>
          </a:prstGeom>
          <a:solidFill>
            <a:schemeClr val="accent1"/>
          </a:solidFill>
          <a:ln w="12700" cap="flat" cmpd="sng" algn="ctr">
            <a:solidFill>
              <a:schemeClr val="accent5"/>
            </a:solidFill>
            <a:prstDash val="solid"/>
            <a:round/>
            <a:headEnd type="none" w="med" len="med"/>
            <a:tailEnd type="none" w="med" len="med"/>
          </a:ln>
          <a:effectLst/>
        </p:spPr>
      </p:cxnSp>
      <p:sp>
        <p:nvSpPr>
          <p:cNvPr id="10" name="TextBox 9">
            <a:extLst>
              <a:ext uri="{FF2B5EF4-FFF2-40B4-BE49-F238E27FC236}">
                <a16:creationId xmlns:a16="http://schemas.microsoft.com/office/drawing/2014/main" id="{554AD8D2-2C82-31E1-2CC5-2FC340DA355C}"/>
              </a:ext>
            </a:extLst>
          </p:cNvPr>
          <p:cNvSpPr txBox="1"/>
          <p:nvPr/>
        </p:nvSpPr>
        <p:spPr>
          <a:xfrm>
            <a:off x="2492222" y="3175505"/>
            <a:ext cx="2705092" cy="261610"/>
          </a:xfrm>
          <a:prstGeom prst="rect">
            <a:avLst/>
          </a:prstGeom>
          <a:noFill/>
        </p:spPr>
        <p:txBody>
          <a:bodyPr wrap="square" lIns="0" rIns="0" rtlCol="0">
            <a:spAutoFit/>
          </a:bodyPr>
          <a:lstStyle/>
          <a:p>
            <a:pPr defTabSz="1007042" fontAlgn="base">
              <a:spcBef>
                <a:spcPts val="661"/>
              </a:spcBef>
              <a:spcAft>
                <a:spcPts val="330"/>
              </a:spcAft>
              <a:buClr>
                <a:srgbClr val="47254B"/>
              </a:buClr>
              <a:buFont typeface="Arial" panose="020B0604020202020204" pitchFamily="34" charset="0"/>
            </a:pPr>
            <a:r>
              <a:rPr lang="de-DE" sz="1100" kern="0" dirty="0">
                <a:latin typeface="+mj-lt"/>
              </a:rPr>
              <a:t>Narender.Verma1</a:t>
            </a:r>
            <a:r>
              <a:rPr lang="en-US" sz="1100" kern="0" dirty="0">
                <a:latin typeface="+mj-lt"/>
              </a:rPr>
              <a:t>@evalueserve.com</a:t>
            </a:r>
          </a:p>
        </p:txBody>
      </p:sp>
      <p:sp>
        <p:nvSpPr>
          <p:cNvPr id="12" name="Freeform 109">
            <a:extLst>
              <a:ext uri="{FF2B5EF4-FFF2-40B4-BE49-F238E27FC236}">
                <a16:creationId xmlns:a16="http://schemas.microsoft.com/office/drawing/2014/main" id="{2E6196AB-C6A0-5F1F-BE7C-965A33602DEA}"/>
              </a:ext>
            </a:extLst>
          </p:cNvPr>
          <p:cNvSpPr>
            <a:spLocks noChangeAspect="1" noEditPoints="1"/>
          </p:cNvSpPr>
          <p:nvPr/>
        </p:nvSpPr>
        <p:spPr bwMode="auto">
          <a:xfrm>
            <a:off x="2152969" y="3222120"/>
            <a:ext cx="258527" cy="168380"/>
          </a:xfrm>
          <a:custGeom>
            <a:avLst/>
            <a:gdLst>
              <a:gd name="T0" fmla="*/ 303 w 1237"/>
              <a:gd name="T1" fmla="*/ 7 h 805"/>
              <a:gd name="T2" fmla="*/ 739 w 1237"/>
              <a:gd name="T3" fmla="*/ 6 h 805"/>
              <a:gd name="T4" fmla="*/ 1065 w 1237"/>
              <a:gd name="T5" fmla="*/ 6 h 805"/>
              <a:gd name="T6" fmla="*/ 1167 w 1237"/>
              <a:gd name="T7" fmla="*/ 12 h 805"/>
              <a:gd name="T8" fmla="*/ 1229 w 1237"/>
              <a:gd name="T9" fmla="*/ 89 h 805"/>
              <a:gd name="T10" fmla="*/ 1230 w 1237"/>
              <a:gd name="T11" fmla="*/ 250 h 805"/>
              <a:gd name="T12" fmla="*/ 1230 w 1237"/>
              <a:gd name="T13" fmla="*/ 574 h 805"/>
              <a:gd name="T14" fmla="*/ 1226 w 1237"/>
              <a:gd name="T15" fmla="*/ 730 h 805"/>
              <a:gd name="T16" fmla="*/ 1161 w 1237"/>
              <a:gd name="T17" fmla="*/ 795 h 805"/>
              <a:gd name="T18" fmla="*/ 1025 w 1237"/>
              <a:gd name="T19" fmla="*/ 798 h 805"/>
              <a:gd name="T20" fmla="*/ 200 w 1237"/>
              <a:gd name="T21" fmla="*/ 800 h 805"/>
              <a:gd name="T22" fmla="*/ 70 w 1237"/>
              <a:gd name="T23" fmla="*/ 792 h 805"/>
              <a:gd name="T24" fmla="*/ 11 w 1237"/>
              <a:gd name="T25" fmla="*/ 729 h 805"/>
              <a:gd name="T26" fmla="*/ 7 w 1237"/>
              <a:gd name="T27" fmla="*/ 570 h 805"/>
              <a:gd name="T28" fmla="*/ 7 w 1237"/>
              <a:gd name="T29" fmla="*/ 242 h 805"/>
              <a:gd name="T30" fmla="*/ 10 w 1237"/>
              <a:gd name="T31" fmla="*/ 83 h 805"/>
              <a:gd name="T32" fmla="*/ 72 w 1237"/>
              <a:gd name="T33" fmla="*/ 12 h 805"/>
              <a:gd name="T34" fmla="*/ 184 w 1237"/>
              <a:gd name="T35" fmla="*/ 7 h 805"/>
              <a:gd name="T36" fmla="*/ 303 w 1237"/>
              <a:gd name="T37" fmla="*/ 7 h 805"/>
              <a:gd name="T38" fmla="*/ 99 w 1237"/>
              <a:gd name="T39" fmla="*/ 53 h 805"/>
              <a:gd name="T40" fmla="*/ 618 w 1237"/>
              <a:gd name="T41" fmla="*/ 671 h 805"/>
              <a:gd name="T42" fmla="*/ 1114 w 1237"/>
              <a:gd name="T43" fmla="*/ 74 h 805"/>
              <a:gd name="T44" fmla="*/ 1125 w 1237"/>
              <a:gd name="T45" fmla="*/ 55 h 805"/>
              <a:gd name="T46" fmla="*/ 99 w 1237"/>
              <a:gd name="T47" fmla="*/ 53 h 805"/>
              <a:gd name="T48" fmla="*/ 847 w 1237"/>
              <a:gd name="T49" fmla="*/ 474 h 805"/>
              <a:gd name="T50" fmla="*/ 1158 w 1237"/>
              <a:gd name="T51" fmla="*/ 704 h 805"/>
              <a:gd name="T52" fmla="*/ 1178 w 1237"/>
              <a:gd name="T53" fmla="*/ 715 h 805"/>
              <a:gd name="T54" fmla="*/ 1181 w 1237"/>
              <a:gd name="T55" fmla="*/ 174 h 805"/>
              <a:gd name="T56" fmla="*/ 1175 w 1237"/>
              <a:gd name="T57" fmla="*/ 81 h 805"/>
              <a:gd name="T58" fmla="*/ 1173 w 1237"/>
              <a:gd name="T59" fmla="*/ 80 h 805"/>
              <a:gd name="T60" fmla="*/ 847 w 1237"/>
              <a:gd name="T61" fmla="*/ 474 h 805"/>
              <a:gd name="T62" fmla="*/ 56 w 1237"/>
              <a:gd name="T63" fmla="*/ 98 h 805"/>
              <a:gd name="T64" fmla="*/ 56 w 1237"/>
              <a:gd name="T65" fmla="*/ 251 h 805"/>
              <a:gd name="T66" fmla="*/ 58 w 1237"/>
              <a:gd name="T67" fmla="*/ 713 h 805"/>
              <a:gd name="T68" fmla="*/ 387 w 1237"/>
              <a:gd name="T69" fmla="*/ 474 h 805"/>
              <a:gd name="T70" fmla="*/ 61 w 1237"/>
              <a:gd name="T71" fmla="*/ 84 h 805"/>
              <a:gd name="T72" fmla="*/ 56 w 1237"/>
              <a:gd name="T73" fmla="*/ 98 h 805"/>
              <a:gd name="T74" fmla="*/ 419 w 1237"/>
              <a:gd name="T75" fmla="*/ 514 h 805"/>
              <a:gd name="T76" fmla="*/ 106 w 1237"/>
              <a:gd name="T77" fmla="*/ 743 h 805"/>
              <a:gd name="T78" fmla="*/ 99 w 1237"/>
              <a:gd name="T79" fmla="*/ 749 h 805"/>
              <a:gd name="T80" fmla="*/ 614 w 1237"/>
              <a:gd name="T81" fmla="*/ 749 h 805"/>
              <a:gd name="T82" fmla="*/ 419 w 1237"/>
              <a:gd name="T83" fmla="*/ 514 h 805"/>
              <a:gd name="T84" fmla="*/ 629 w 1237"/>
              <a:gd name="T85" fmla="*/ 735 h 805"/>
              <a:gd name="T86" fmla="*/ 622 w 1237"/>
              <a:gd name="T87" fmla="*/ 749 h 805"/>
              <a:gd name="T88" fmla="*/ 1133 w 1237"/>
              <a:gd name="T89" fmla="*/ 749 h 805"/>
              <a:gd name="T90" fmla="*/ 816 w 1237"/>
              <a:gd name="T91" fmla="*/ 512 h 805"/>
              <a:gd name="T92" fmla="*/ 629 w 1237"/>
              <a:gd name="T93" fmla="*/ 73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37" h="805">
                <a:moveTo>
                  <a:pt x="303" y="7"/>
                </a:moveTo>
                <a:cubicBezTo>
                  <a:pt x="448" y="0"/>
                  <a:pt x="590" y="6"/>
                  <a:pt x="739" y="6"/>
                </a:cubicBezTo>
                <a:cubicBezTo>
                  <a:pt x="840" y="6"/>
                  <a:pt x="958" y="6"/>
                  <a:pt x="1065" y="6"/>
                </a:cubicBezTo>
                <a:cubicBezTo>
                  <a:pt x="1102" y="6"/>
                  <a:pt x="1141" y="2"/>
                  <a:pt x="1167" y="12"/>
                </a:cubicBezTo>
                <a:cubicBezTo>
                  <a:pt x="1197" y="23"/>
                  <a:pt x="1222" y="47"/>
                  <a:pt x="1229" y="89"/>
                </a:cubicBezTo>
                <a:cubicBezTo>
                  <a:pt x="1237" y="145"/>
                  <a:pt x="1230" y="197"/>
                  <a:pt x="1230" y="250"/>
                </a:cubicBezTo>
                <a:cubicBezTo>
                  <a:pt x="1230" y="351"/>
                  <a:pt x="1230" y="467"/>
                  <a:pt x="1230" y="574"/>
                </a:cubicBezTo>
                <a:cubicBezTo>
                  <a:pt x="1230" y="626"/>
                  <a:pt x="1237" y="694"/>
                  <a:pt x="1226" y="730"/>
                </a:cubicBezTo>
                <a:cubicBezTo>
                  <a:pt x="1216" y="759"/>
                  <a:pt x="1195" y="785"/>
                  <a:pt x="1161" y="795"/>
                </a:cubicBezTo>
                <a:cubicBezTo>
                  <a:pt x="1128" y="805"/>
                  <a:pt x="1070" y="798"/>
                  <a:pt x="1025" y="798"/>
                </a:cubicBezTo>
                <a:cubicBezTo>
                  <a:pt x="746" y="798"/>
                  <a:pt x="479" y="800"/>
                  <a:pt x="200" y="800"/>
                </a:cubicBezTo>
                <a:cubicBezTo>
                  <a:pt x="153" y="800"/>
                  <a:pt x="102" y="804"/>
                  <a:pt x="70" y="792"/>
                </a:cubicBezTo>
                <a:cubicBezTo>
                  <a:pt x="43" y="782"/>
                  <a:pt x="20" y="759"/>
                  <a:pt x="11" y="729"/>
                </a:cubicBezTo>
                <a:cubicBezTo>
                  <a:pt x="0" y="691"/>
                  <a:pt x="7" y="623"/>
                  <a:pt x="7" y="570"/>
                </a:cubicBezTo>
                <a:cubicBezTo>
                  <a:pt x="7" y="466"/>
                  <a:pt x="7" y="347"/>
                  <a:pt x="7" y="242"/>
                </a:cubicBezTo>
                <a:cubicBezTo>
                  <a:pt x="7" y="190"/>
                  <a:pt x="0" y="126"/>
                  <a:pt x="10" y="83"/>
                </a:cubicBezTo>
                <a:cubicBezTo>
                  <a:pt x="18" y="47"/>
                  <a:pt x="42" y="22"/>
                  <a:pt x="72" y="12"/>
                </a:cubicBezTo>
                <a:cubicBezTo>
                  <a:pt x="99" y="2"/>
                  <a:pt x="147" y="7"/>
                  <a:pt x="184" y="7"/>
                </a:cubicBezTo>
                <a:cubicBezTo>
                  <a:pt x="228" y="7"/>
                  <a:pt x="269" y="9"/>
                  <a:pt x="303" y="7"/>
                </a:cubicBezTo>
                <a:close/>
                <a:moveTo>
                  <a:pt x="99" y="53"/>
                </a:moveTo>
                <a:cubicBezTo>
                  <a:pt x="273" y="258"/>
                  <a:pt x="442" y="469"/>
                  <a:pt x="618" y="671"/>
                </a:cubicBezTo>
                <a:cubicBezTo>
                  <a:pt x="784" y="475"/>
                  <a:pt x="948" y="269"/>
                  <a:pt x="1114" y="74"/>
                </a:cubicBezTo>
                <a:cubicBezTo>
                  <a:pt x="1118" y="69"/>
                  <a:pt x="1129" y="63"/>
                  <a:pt x="1125" y="55"/>
                </a:cubicBezTo>
                <a:cubicBezTo>
                  <a:pt x="782" y="56"/>
                  <a:pt x="438" y="54"/>
                  <a:pt x="99" y="53"/>
                </a:cubicBezTo>
                <a:close/>
                <a:moveTo>
                  <a:pt x="847" y="474"/>
                </a:moveTo>
                <a:cubicBezTo>
                  <a:pt x="951" y="547"/>
                  <a:pt x="1056" y="630"/>
                  <a:pt x="1158" y="704"/>
                </a:cubicBezTo>
                <a:cubicBezTo>
                  <a:pt x="1165" y="709"/>
                  <a:pt x="1173" y="716"/>
                  <a:pt x="1178" y="715"/>
                </a:cubicBezTo>
                <a:cubicBezTo>
                  <a:pt x="1183" y="545"/>
                  <a:pt x="1181" y="350"/>
                  <a:pt x="1181" y="174"/>
                </a:cubicBezTo>
                <a:cubicBezTo>
                  <a:pt x="1181" y="140"/>
                  <a:pt x="1184" y="100"/>
                  <a:pt x="1175" y="81"/>
                </a:cubicBezTo>
                <a:cubicBezTo>
                  <a:pt x="1175" y="80"/>
                  <a:pt x="1174" y="79"/>
                  <a:pt x="1173" y="80"/>
                </a:cubicBezTo>
                <a:cubicBezTo>
                  <a:pt x="1066" y="212"/>
                  <a:pt x="955" y="342"/>
                  <a:pt x="847" y="474"/>
                </a:cubicBezTo>
                <a:close/>
                <a:moveTo>
                  <a:pt x="56" y="98"/>
                </a:moveTo>
                <a:cubicBezTo>
                  <a:pt x="50" y="144"/>
                  <a:pt x="56" y="199"/>
                  <a:pt x="56" y="251"/>
                </a:cubicBezTo>
                <a:cubicBezTo>
                  <a:pt x="56" y="403"/>
                  <a:pt x="55" y="570"/>
                  <a:pt x="58" y="713"/>
                </a:cubicBezTo>
                <a:cubicBezTo>
                  <a:pt x="166" y="638"/>
                  <a:pt x="278" y="554"/>
                  <a:pt x="387" y="474"/>
                </a:cubicBezTo>
                <a:cubicBezTo>
                  <a:pt x="277" y="345"/>
                  <a:pt x="170" y="214"/>
                  <a:pt x="61" y="84"/>
                </a:cubicBezTo>
                <a:cubicBezTo>
                  <a:pt x="59" y="89"/>
                  <a:pt x="57" y="94"/>
                  <a:pt x="56" y="98"/>
                </a:cubicBezTo>
                <a:close/>
                <a:moveTo>
                  <a:pt x="419" y="514"/>
                </a:moveTo>
                <a:cubicBezTo>
                  <a:pt x="322" y="585"/>
                  <a:pt x="203" y="666"/>
                  <a:pt x="106" y="743"/>
                </a:cubicBezTo>
                <a:cubicBezTo>
                  <a:pt x="104" y="744"/>
                  <a:pt x="97" y="744"/>
                  <a:pt x="99" y="749"/>
                </a:cubicBezTo>
                <a:cubicBezTo>
                  <a:pt x="271" y="749"/>
                  <a:pt x="442" y="749"/>
                  <a:pt x="614" y="749"/>
                </a:cubicBezTo>
                <a:cubicBezTo>
                  <a:pt x="554" y="672"/>
                  <a:pt x="484" y="591"/>
                  <a:pt x="419" y="514"/>
                </a:cubicBezTo>
                <a:close/>
                <a:moveTo>
                  <a:pt x="629" y="735"/>
                </a:moveTo>
                <a:cubicBezTo>
                  <a:pt x="626" y="738"/>
                  <a:pt x="620" y="743"/>
                  <a:pt x="622" y="749"/>
                </a:cubicBezTo>
                <a:cubicBezTo>
                  <a:pt x="792" y="749"/>
                  <a:pt x="962" y="749"/>
                  <a:pt x="1133" y="749"/>
                </a:cubicBezTo>
                <a:cubicBezTo>
                  <a:pt x="1034" y="670"/>
                  <a:pt x="921" y="590"/>
                  <a:pt x="816" y="512"/>
                </a:cubicBezTo>
                <a:cubicBezTo>
                  <a:pt x="755" y="583"/>
                  <a:pt x="689" y="663"/>
                  <a:pt x="629" y="735"/>
                </a:cubicBezTo>
                <a:close/>
              </a:path>
            </a:pathLst>
          </a:custGeom>
          <a:solidFill>
            <a:schemeClr val="bg1">
              <a:lumMod val="50000"/>
            </a:schemeClr>
          </a:solidFill>
          <a:ln>
            <a:noFill/>
          </a:ln>
        </p:spPr>
        <p:txBody>
          <a:bodyPr vert="horz" wrap="square" lIns="88286" tIns="44144" rIns="88286" bIns="44144" numCol="1" anchor="t" anchorCtr="0" compatLnSpc="1">
            <a:prstTxWarp prst="textNoShape">
              <a:avLst/>
            </a:prstTxWarp>
          </a:bodyPr>
          <a:lstStyle/>
          <a:p>
            <a:endParaRPr lang="en-US" dirty="0">
              <a:latin typeface="+mj-lt"/>
            </a:endParaRPr>
          </a:p>
        </p:txBody>
      </p:sp>
      <p:grpSp>
        <p:nvGrpSpPr>
          <p:cNvPr id="17" name="Group 16">
            <a:extLst>
              <a:ext uri="{FF2B5EF4-FFF2-40B4-BE49-F238E27FC236}">
                <a16:creationId xmlns:a16="http://schemas.microsoft.com/office/drawing/2014/main" id="{C406D218-A33C-80F0-0DC2-48DEDEED3790}"/>
              </a:ext>
            </a:extLst>
          </p:cNvPr>
          <p:cNvGrpSpPr/>
          <p:nvPr/>
        </p:nvGrpSpPr>
        <p:grpSpPr>
          <a:xfrm>
            <a:off x="571084" y="1544830"/>
            <a:ext cx="1505041" cy="1526417"/>
            <a:chOff x="571084" y="1498612"/>
            <a:chExt cx="1505041" cy="1526417"/>
          </a:xfrm>
        </p:grpSpPr>
        <p:sp>
          <p:nvSpPr>
            <p:cNvPr id="18" name="Oval 17">
              <a:extLst>
                <a:ext uri="{FF2B5EF4-FFF2-40B4-BE49-F238E27FC236}">
                  <a16:creationId xmlns:a16="http://schemas.microsoft.com/office/drawing/2014/main" id="{72187C03-2813-0EBC-C362-AC7BBBB08938}"/>
                </a:ext>
              </a:extLst>
            </p:cNvPr>
            <p:cNvSpPr/>
            <p:nvPr/>
          </p:nvSpPr>
          <p:spPr bwMode="auto">
            <a:xfrm>
              <a:off x="571084" y="1498612"/>
              <a:ext cx="1505041" cy="1505041"/>
            </a:xfrm>
            <a:prstGeom prst="ellipse">
              <a:avLst/>
            </a:prstGeom>
            <a:solidFill>
              <a:schemeClr val="accent2">
                <a:lumMod val="20000"/>
                <a:lumOff val="80000"/>
                <a:alpha val="56000"/>
              </a:schemeClr>
            </a:solidFill>
            <a:ln w="9525">
              <a:noFill/>
              <a:miter lim="800000"/>
              <a:headEnd/>
              <a:tailEnd/>
            </a:ln>
            <a:effectLst/>
          </p:spPr>
          <p:txBody>
            <a:bodyPr lIns="107996" tIns="107996" rIns="107996" bIns="107996" rtlCol="0" anchor="ctr">
              <a:noAutofit/>
            </a:bodyPr>
            <a:lstStyle/>
            <a:p>
              <a:pPr algn="l"/>
              <a:endParaRPr lang="en-US" sz="1200" dirty="0">
                <a:solidFill>
                  <a:schemeClr val="bg1"/>
                </a:solidFill>
                <a:latin typeface="+mj-lt"/>
                <a:ea typeface="Verdana" pitchFamily="34" charset="0"/>
                <a:cs typeface="Verdana" pitchFamily="34" charset="0"/>
              </a:endParaRPr>
            </a:p>
          </p:txBody>
        </p:sp>
        <p:grpSp>
          <p:nvGrpSpPr>
            <p:cNvPr id="19" name="Group 18">
              <a:extLst>
                <a:ext uri="{FF2B5EF4-FFF2-40B4-BE49-F238E27FC236}">
                  <a16:creationId xmlns:a16="http://schemas.microsoft.com/office/drawing/2014/main" id="{1C1EBB09-3158-CE05-6BF3-1201B2235E26}"/>
                </a:ext>
              </a:extLst>
            </p:cNvPr>
            <p:cNvGrpSpPr/>
            <p:nvPr/>
          </p:nvGrpSpPr>
          <p:grpSpPr>
            <a:xfrm rot="20216741" flipH="1">
              <a:off x="606051" y="2597929"/>
              <a:ext cx="292919" cy="427100"/>
              <a:chOff x="615335" y="4621532"/>
              <a:chExt cx="386285" cy="563234"/>
            </a:xfrm>
          </p:grpSpPr>
          <p:sp>
            <p:nvSpPr>
              <p:cNvPr id="25" name="Oval 24">
                <a:extLst>
                  <a:ext uri="{FF2B5EF4-FFF2-40B4-BE49-F238E27FC236}">
                    <a16:creationId xmlns:a16="http://schemas.microsoft.com/office/drawing/2014/main" id="{FD305B82-C875-D877-CE13-AC8411214DB8}"/>
                  </a:ext>
                </a:extLst>
              </p:cNvPr>
              <p:cNvSpPr/>
              <p:nvPr/>
            </p:nvSpPr>
            <p:spPr bwMode="auto">
              <a:xfrm>
                <a:off x="615335" y="4621532"/>
                <a:ext cx="386285" cy="386285"/>
              </a:xfrm>
              <a:prstGeom prst="ellipse">
                <a:avLst/>
              </a:prstGeom>
              <a:solidFill>
                <a:schemeClr val="accent2">
                  <a:alpha val="76000"/>
                </a:schemeClr>
              </a:solidFill>
              <a:ln w="9525">
                <a:noFill/>
                <a:miter lim="800000"/>
                <a:headEnd/>
                <a:tailEnd/>
              </a:ln>
              <a:effectLst/>
            </p:spPr>
            <p:txBody>
              <a:bodyPr lIns="107996" tIns="107996" rIns="107996" bIns="107996" rtlCol="0" anchor="ctr">
                <a:noAutofit/>
              </a:bodyPr>
              <a:lstStyle/>
              <a:p>
                <a:pPr algn="l"/>
                <a:endParaRPr lang="en-US" sz="1200" dirty="0">
                  <a:solidFill>
                    <a:schemeClr val="bg1"/>
                  </a:solidFill>
                  <a:latin typeface="+mj-lt"/>
                  <a:ea typeface="Verdana" pitchFamily="34" charset="0"/>
                  <a:cs typeface="Verdana" pitchFamily="34" charset="0"/>
                </a:endParaRPr>
              </a:p>
            </p:txBody>
          </p:sp>
          <p:sp>
            <p:nvSpPr>
              <p:cNvPr id="26" name="Oval 25">
                <a:extLst>
                  <a:ext uri="{FF2B5EF4-FFF2-40B4-BE49-F238E27FC236}">
                    <a16:creationId xmlns:a16="http://schemas.microsoft.com/office/drawing/2014/main" id="{A14546A5-871C-F2B6-5724-958FACEA9FA1}"/>
                  </a:ext>
                </a:extLst>
              </p:cNvPr>
              <p:cNvSpPr/>
              <p:nvPr/>
            </p:nvSpPr>
            <p:spPr bwMode="auto">
              <a:xfrm>
                <a:off x="666083" y="5056924"/>
                <a:ext cx="127842" cy="127842"/>
              </a:xfrm>
              <a:prstGeom prst="ellipse">
                <a:avLst/>
              </a:prstGeom>
              <a:solidFill>
                <a:schemeClr val="accent2"/>
              </a:solidFill>
              <a:ln w="9525">
                <a:noFill/>
                <a:miter lim="800000"/>
                <a:headEnd/>
                <a:tailEnd/>
              </a:ln>
              <a:effectLst/>
            </p:spPr>
            <p:txBody>
              <a:bodyPr lIns="107996" tIns="107996" rIns="107996" bIns="107996" rtlCol="0" anchor="ctr">
                <a:noAutofit/>
              </a:bodyPr>
              <a:lstStyle/>
              <a:p>
                <a:pPr algn="l"/>
                <a:endParaRPr lang="en-US" sz="1200" dirty="0">
                  <a:solidFill>
                    <a:schemeClr val="bg1"/>
                  </a:solidFill>
                  <a:latin typeface="+mj-lt"/>
                  <a:ea typeface="Verdana" pitchFamily="34" charset="0"/>
                  <a:cs typeface="Verdana" pitchFamily="34" charset="0"/>
                </a:endParaRPr>
              </a:p>
            </p:txBody>
          </p:sp>
        </p:grpSp>
        <p:sp>
          <p:nvSpPr>
            <p:cNvPr id="23" name="Oval 22">
              <a:extLst>
                <a:ext uri="{FF2B5EF4-FFF2-40B4-BE49-F238E27FC236}">
                  <a16:creationId xmlns:a16="http://schemas.microsoft.com/office/drawing/2014/main" id="{2EDE98B5-E467-97B3-8EBA-F7C197C2B9B2}"/>
                </a:ext>
              </a:extLst>
            </p:cNvPr>
            <p:cNvSpPr/>
            <p:nvPr/>
          </p:nvSpPr>
          <p:spPr bwMode="auto">
            <a:xfrm>
              <a:off x="631382" y="1634920"/>
              <a:ext cx="1386779" cy="1386778"/>
            </a:xfrm>
            <a:prstGeom prst="ellipse">
              <a:avLst/>
            </a:prstGeom>
            <a:solidFill>
              <a:schemeClr val="bg1"/>
            </a:solidFill>
            <a:ln>
              <a:solidFill>
                <a:schemeClr val="bg1">
                  <a:lumMod val="75000"/>
                </a:schemeClr>
              </a:solidFill>
            </a:ln>
          </p:spPr>
          <p:txBody>
            <a:bodyPr lIns="107996" tIns="107996" rIns="107996" bIns="107996" rtlCol="0" anchor="ctr">
              <a:noAutofit/>
            </a:bodyPr>
            <a:lstStyle/>
            <a:p>
              <a:pPr algn="l"/>
              <a:endParaRPr lang="en-US" sz="1200" dirty="0">
                <a:solidFill>
                  <a:schemeClr val="bg1"/>
                </a:solidFill>
                <a:latin typeface="+mj-lt"/>
                <a:ea typeface="Verdana" pitchFamily="34" charset="0"/>
                <a:cs typeface="Verdana" pitchFamily="34" charset="0"/>
              </a:endParaRPr>
            </a:p>
          </p:txBody>
        </p:sp>
      </p:grpSp>
      <p:sp>
        <p:nvSpPr>
          <p:cNvPr id="28" name="Rectangle: Rounded Corners 27">
            <a:extLst>
              <a:ext uri="{FF2B5EF4-FFF2-40B4-BE49-F238E27FC236}">
                <a16:creationId xmlns:a16="http://schemas.microsoft.com/office/drawing/2014/main" id="{77FF2355-3E1A-FFBD-8643-3AFA3982BA22}"/>
              </a:ext>
            </a:extLst>
          </p:cNvPr>
          <p:cNvSpPr/>
          <p:nvPr/>
        </p:nvSpPr>
        <p:spPr bwMode="auto">
          <a:xfrm>
            <a:off x="6873702" y="1811400"/>
            <a:ext cx="4694411" cy="1686935"/>
          </a:xfrm>
          <a:prstGeom prst="roundRect">
            <a:avLst>
              <a:gd name="adj" fmla="val 6425"/>
            </a:avLst>
          </a:prstGeom>
          <a:solidFill>
            <a:schemeClr val="bg1">
              <a:lumMod val="95000"/>
            </a:schemeClr>
          </a:solidFill>
          <a:ln w="3175">
            <a:solidFill>
              <a:schemeClr val="bg2"/>
            </a:solidFill>
            <a:prstDash val="dash"/>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1050" dirty="0">
              <a:solidFill>
                <a:schemeClr val="bg2"/>
              </a:solidFill>
              <a:latin typeface="+mj-lt"/>
              <a:ea typeface="Verdana" pitchFamily="34" charset="0"/>
              <a:cs typeface="Verdana" pitchFamily="34" charset="0"/>
            </a:endParaRPr>
          </a:p>
        </p:txBody>
      </p:sp>
      <p:sp>
        <p:nvSpPr>
          <p:cNvPr id="29" name="Rectangle 28">
            <a:extLst>
              <a:ext uri="{FF2B5EF4-FFF2-40B4-BE49-F238E27FC236}">
                <a16:creationId xmlns:a16="http://schemas.microsoft.com/office/drawing/2014/main" id="{CE8E6947-CF2E-ABCC-87BF-4031BDD48BD1}"/>
              </a:ext>
            </a:extLst>
          </p:cNvPr>
          <p:cNvSpPr/>
          <p:nvPr/>
        </p:nvSpPr>
        <p:spPr>
          <a:xfrm>
            <a:off x="7728270" y="2674498"/>
            <a:ext cx="3780000" cy="369332"/>
          </a:xfrm>
          <a:prstGeom prst="rect">
            <a:avLst/>
          </a:prstGeom>
        </p:spPr>
        <p:txBody>
          <a:bodyPr wrap="square" lIns="0" tIns="0" rIns="0" bIns="0">
            <a:spAutoFit/>
          </a:bodyPr>
          <a:lstStyle/>
          <a:p>
            <a:pPr marL="174625" indent="-174625">
              <a:spcBef>
                <a:spcPts val="300"/>
              </a:spcBef>
              <a:spcAft>
                <a:spcPts val="300"/>
              </a:spcAft>
              <a:buClr>
                <a:srgbClr val="47254B"/>
              </a:buClr>
              <a:buSzPct val="100000"/>
              <a:buFont typeface="Arial" panose="020B0604020202020204" pitchFamily="34" charset="0"/>
              <a:buChar char="•"/>
              <a:defRPr/>
            </a:pPr>
            <a:r>
              <a:rPr lang="en-US" sz="1200" dirty="0">
                <a:latin typeface="+mj-lt"/>
              </a:rPr>
              <a:t>Shivam has 2+ years of experience in working with investment banking delivery teams</a:t>
            </a:r>
          </a:p>
        </p:txBody>
      </p:sp>
      <p:sp>
        <p:nvSpPr>
          <p:cNvPr id="30" name="Rectangle 29">
            <a:extLst>
              <a:ext uri="{FF2B5EF4-FFF2-40B4-BE49-F238E27FC236}">
                <a16:creationId xmlns:a16="http://schemas.microsoft.com/office/drawing/2014/main" id="{E56EC428-7CD5-4C3A-351D-F83800812C98}"/>
              </a:ext>
            </a:extLst>
          </p:cNvPr>
          <p:cNvSpPr/>
          <p:nvPr/>
        </p:nvSpPr>
        <p:spPr>
          <a:xfrm>
            <a:off x="7622891" y="1858482"/>
            <a:ext cx="1719060" cy="307777"/>
          </a:xfrm>
          <a:prstGeom prst="rect">
            <a:avLst/>
          </a:prstGeom>
        </p:spPr>
        <p:txBody>
          <a:bodyPr wrap="none">
            <a:spAutoFit/>
          </a:bodyPr>
          <a:lstStyle/>
          <a:p>
            <a:pPr lvl="0"/>
            <a:r>
              <a:rPr lang="en-US" sz="1400" b="1" dirty="0">
                <a:solidFill>
                  <a:schemeClr val="bg2"/>
                </a:solidFill>
                <a:latin typeface="+mj-lt"/>
              </a:rPr>
              <a:t>SHIVAM SHARMA</a:t>
            </a:r>
          </a:p>
        </p:txBody>
      </p:sp>
      <p:sp>
        <p:nvSpPr>
          <p:cNvPr id="31" name="Rectangle 30">
            <a:extLst>
              <a:ext uri="{FF2B5EF4-FFF2-40B4-BE49-F238E27FC236}">
                <a16:creationId xmlns:a16="http://schemas.microsoft.com/office/drawing/2014/main" id="{F0D8B412-679A-CD1A-4F34-C8D804EAEEA6}"/>
              </a:ext>
            </a:extLst>
          </p:cNvPr>
          <p:cNvSpPr/>
          <p:nvPr/>
        </p:nvSpPr>
        <p:spPr>
          <a:xfrm>
            <a:off x="7627454" y="2182625"/>
            <a:ext cx="3940659" cy="461665"/>
          </a:xfrm>
          <a:prstGeom prst="rect">
            <a:avLst/>
          </a:prstGeom>
        </p:spPr>
        <p:txBody>
          <a:bodyPr wrap="square">
            <a:spAutoFit/>
          </a:bodyPr>
          <a:lstStyle/>
          <a:p>
            <a:pPr>
              <a:spcBef>
                <a:spcPts val="300"/>
              </a:spcBef>
              <a:spcAft>
                <a:spcPts val="300"/>
              </a:spcAft>
              <a:buClr>
                <a:srgbClr val="47254B"/>
              </a:buClr>
              <a:buSzPct val="100000"/>
              <a:defRPr/>
            </a:pPr>
            <a:r>
              <a:rPr lang="en-US" sz="1200" b="1" i="1" dirty="0">
                <a:solidFill>
                  <a:schemeClr val="bg2"/>
                </a:solidFill>
                <a:latin typeface="+mj-lt"/>
              </a:rPr>
              <a:t>Analyst</a:t>
            </a:r>
            <a:br>
              <a:rPr lang="en-US" sz="1200" b="1" i="1" dirty="0">
                <a:solidFill>
                  <a:schemeClr val="bg2"/>
                </a:solidFill>
                <a:latin typeface="+mj-lt"/>
              </a:rPr>
            </a:br>
            <a:r>
              <a:rPr lang="en-US" sz="1200" b="1" i="1" dirty="0">
                <a:solidFill>
                  <a:schemeClr val="bg2"/>
                </a:solidFill>
                <a:latin typeface="+mj-lt"/>
              </a:rPr>
              <a:t>Corporate and Investment Banking LoB</a:t>
            </a:r>
          </a:p>
        </p:txBody>
      </p:sp>
      <p:cxnSp>
        <p:nvCxnSpPr>
          <p:cNvPr id="32" name="Straight Connector 31">
            <a:extLst>
              <a:ext uri="{FF2B5EF4-FFF2-40B4-BE49-F238E27FC236}">
                <a16:creationId xmlns:a16="http://schemas.microsoft.com/office/drawing/2014/main" id="{DF5F037B-7269-20D4-DB12-3D350129C255}"/>
              </a:ext>
            </a:extLst>
          </p:cNvPr>
          <p:cNvCxnSpPr>
            <a:cxnSpLocks/>
          </p:cNvCxnSpPr>
          <p:nvPr/>
        </p:nvCxnSpPr>
        <p:spPr bwMode="auto">
          <a:xfrm>
            <a:off x="7703159" y="2176901"/>
            <a:ext cx="2448000" cy="0"/>
          </a:xfrm>
          <a:prstGeom prst="line">
            <a:avLst/>
          </a:prstGeom>
          <a:solidFill>
            <a:schemeClr val="accent1"/>
          </a:solidFill>
          <a:ln w="12700" cap="flat" cmpd="sng" algn="ctr">
            <a:solidFill>
              <a:schemeClr val="accent5"/>
            </a:solidFill>
            <a:prstDash val="solid"/>
            <a:round/>
            <a:headEnd type="none" w="med" len="med"/>
            <a:tailEnd type="none" w="med" len="med"/>
          </a:ln>
          <a:effectLst/>
        </p:spPr>
      </p:cxnSp>
      <p:sp>
        <p:nvSpPr>
          <p:cNvPr id="33" name="TextBox 32">
            <a:extLst>
              <a:ext uri="{FF2B5EF4-FFF2-40B4-BE49-F238E27FC236}">
                <a16:creationId xmlns:a16="http://schemas.microsoft.com/office/drawing/2014/main" id="{EB0AFB53-2FB5-341F-48D4-81CA87884987}"/>
              </a:ext>
            </a:extLst>
          </p:cNvPr>
          <p:cNvSpPr txBox="1"/>
          <p:nvPr/>
        </p:nvSpPr>
        <p:spPr>
          <a:xfrm>
            <a:off x="8067523" y="3175505"/>
            <a:ext cx="2705092" cy="261610"/>
          </a:xfrm>
          <a:prstGeom prst="rect">
            <a:avLst/>
          </a:prstGeom>
          <a:noFill/>
        </p:spPr>
        <p:txBody>
          <a:bodyPr wrap="square" lIns="0" rIns="0" rtlCol="0">
            <a:spAutoFit/>
          </a:bodyPr>
          <a:lstStyle/>
          <a:p>
            <a:pPr defTabSz="1007042" fontAlgn="base">
              <a:spcBef>
                <a:spcPts val="661"/>
              </a:spcBef>
              <a:spcAft>
                <a:spcPts val="330"/>
              </a:spcAft>
              <a:buClr>
                <a:srgbClr val="47254B"/>
              </a:buClr>
              <a:buFont typeface="Arial" panose="020B0604020202020204" pitchFamily="34" charset="0"/>
            </a:pPr>
            <a:r>
              <a:rPr lang="en-US" sz="1100" kern="0" dirty="0">
                <a:latin typeface="+mj-lt"/>
              </a:rPr>
              <a:t>Shivam.Sharma3@evalueserve.com</a:t>
            </a:r>
          </a:p>
        </p:txBody>
      </p:sp>
      <p:sp>
        <p:nvSpPr>
          <p:cNvPr id="34" name="Freeform 109">
            <a:extLst>
              <a:ext uri="{FF2B5EF4-FFF2-40B4-BE49-F238E27FC236}">
                <a16:creationId xmlns:a16="http://schemas.microsoft.com/office/drawing/2014/main" id="{06AA1FD5-32AB-80CF-5D1D-D5D4688A08E2}"/>
              </a:ext>
            </a:extLst>
          </p:cNvPr>
          <p:cNvSpPr>
            <a:spLocks noChangeAspect="1" noEditPoints="1"/>
          </p:cNvSpPr>
          <p:nvPr/>
        </p:nvSpPr>
        <p:spPr bwMode="auto">
          <a:xfrm>
            <a:off x="7728270" y="3222120"/>
            <a:ext cx="258527" cy="168380"/>
          </a:xfrm>
          <a:custGeom>
            <a:avLst/>
            <a:gdLst>
              <a:gd name="T0" fmla="*/ 303 w 1237"/>
              <a:gd name="T1" fmla="*/ 7 h 805"/>
              <a:gd name="T2" fmla="*/ 739 w 1237"/>
              <a:gd name="T3" fmla="*/ 6 h 805"/>
              <a:gd name="T4" fmla="*/ 1065 w 1237"/>
              <a:gd name="T5" fmla="*/ 6 h 805"/>
              <a:gd name="T6" fmla="*/ 1167 w 1237"/>
              <a:gd name="T7" fmla="*/ 12 h 805"/>
              <a:gd name="T8" fmla="*/ 1229 w 1237"/>
              <a:gd name="T9" fmla="*/ 89 h 805"/>
              <a:gd name="T10" fmla="*/ 1230 w 1237"/>
              <a:gd name="T11" fmla="*/ 250 h 805"/>
              <a:gd name="T12" fmla="*/ 1230 w 1237"/>
              <a:gd name="T13" fmla="*/ 574 h 805"/>
              <a:gd name="T14" fmla="*/ 1226 w 1237"/>
              <a:gd name="T15" fmla="*/ 730 h 805"/>
              <a:gd name="T16" fmla="*/ 1161 w 1237"/>
              <a:gd name="T17" fmla="*/ 795 h 805"/>
              <a:gd name="T18" fmla="*/ 1025 w 1237"/>
              <a:gd name="T19" fmla="*/ 798 h 805"/>
              <a:gd name="T20" fmla="*/ 200 w 1237"/>
              <a:gd name="T21" fmla="*/ 800 h 805"/>
              <a:gd name="T22" fmla="*/ 70 w 1237"/>
              <a:gd name="T23" fmla="*/ 792 h 805"/>
              <a:gd name="T24" fmla="*/ 11 w 1237"/>
              <a:gd name="T25" fmla="*/ 729 h 805"/>
              <a:gd name="T26" fmla="*/ 7 w 1237"/>
              <a:gd name="T27" fmla="*/ 570 h 805"/>
              <a:gd name="T28" fmla="*/ 7 w 1237"/>
              <a:gd name="T29" fmla="*/ 242 h 805"/>
              <a:gd name="T30" fmla="*/ 10 w 1237"/>
              <a:gd name="T31" fmla="*/ 83 h 805"/>
              <a:gd name="T32" fmla="*/ 72 w 1237"/>
              <a:gd name="T33" fmla="*/ 12 h 805"/>
              <a:gd name="T34" fmla="*/ 184 w 1237"/>
              <a:gd name="T35" fmla="*/ 7 h 805"/>
              <a:gd name="T36" fmla="*/ 303 w 1237"/>
              <a:gd name="T37" fmla="*/ 7 h 805"/>
              <a:gd name="T38" fmla="*/ 99 w 1237"/>
              <a:gd name="T39" fmla="*/ 53 h 805"/>
              <a:gd name="T40" fmla="*/ 618 w 1237"/>
              <a:gd name="T41" fmla="*/ 671 h 805"/>
              <a:gd name="T42" fmla="*/ 1114 w 1237"/>
              <a:gd name="T43" fmla="*/ 74 h 805"/>
              <a:gd name="T44" fmla="*/ 1125 w 1237"/>
              <a:gd name="T45" fmla="*/ 55 h 805"/>
              <a:gd name="T46" fmla="*/ 99 w 1237"/>
              <a:gd name="T47" fmla="*/ 53 h 805"/>
              <a:gd name="T48" fmla="*/ 847 w 1237"/>
              <a:gd name="T49" fmla="*/ 474 h 805"/>
              <a:gd name="T50" fmla="*/ 1158 w 1237"/>
              <a:gd name="T51" fmla="*/ 704 h 805"/>
              <a:gd name="T52" fmla="*/ 1178 w 1237"/>
              <a:gd name="T53" fmla="*/ 715 h 805"/>
              <a:gd name="T54" fmla="*/ 1181 w 1237"/>
              <a:gd name="T55" fmla="*/ 174 h 805"/>
              <a:gd name="T56" fmla="*/ 1175 w 1237"/>
              <a:gd name="T57" fmla="*/ 81 h 805"/>
              <a:gd name="T58" fmla="*/ 1173 w 1237"/>
              <a:gd name="T59" fmla="*/ 80 h 805"/>
              <a:gd name="T60" fmla="*/ 847 w 1237"/>
              <a:gd name="T61" fmla="*/ 474 h 805"/>
              <a:gd name="T62" fmla="*/ 56 w 1237"/>
              <a:gd name="T63" fmla="*/ 98 h 805"/>
              <a:gd name="T64" fmla="*/ 56 w 1237"/>
              <a:gd name="T65" fmla="*/ 251 h 805"/>
              <a:gd name="T66" fmla="*/ 58 w 1237"/>
              <a:gd name="T67" fmla="*/ 713 h 805"/>
              <a:gd name="T68" fmla="*/ 387 w 1237"/>
              <a:gd name="T69" fmla="*/ 474 h 805"/>
              <a:gd name="T70" fmla="*/ 61 w 1237"/>
              <a:gd name="T71" fmla="*/ 84 h 805"/>
              <a:gd name="T72" fmla="*/ 56 w 1237"/>
              <a:gd name="T73" fmla="*/ 98 h 805"/>
              <a:gd name="T74" fmla="*/ 419 w 1237"/>
              <a:gd name="T75" fmla="*/ 514 h 805"/>
              <a:gd name="T76" fmla="*/ 106 w 1237"/>
              <a:gd name="T77" fmla="*/ 743 h 805"/>
              <a:gd name="T78" fmla="*/ 99 w 1237"/>
              <a:gd name="T79" fmla="*/ 749 h 805"/>
              <a:gd name="T80" fmla="*/ 614 w 1237"/>
              <a:gd name="T81" fmla="*/ 749 h 805"/>
              <a:gd name="T82" fmla="*/ 419 w 1237"/>
              <a:gd name="T83" fmla="*/ 514 h 805"/>
              <a:gd name="T84" fmla="*/ 629 w 1237"/>
              <a:gd name="T85" fmla="*/ 735 h 805"/>
              <a:gd name="T86" fmla="*/ 622 w 1237"/>
              <a:gd name="T87" fmla="*/ 749 h 805"/>
              <a:gd name="T88" fmla="*/ 1133 w 1237"/>
              <a:gd name="T89" fmla="*/ 749 h 805"/>
              <a:gd name="T90" fmla="*/ 816 w 1237"/>
              <a:gd name="T91" fmla="*/ 512 h 805"/>
              <a:gd name="T92" fmla="*/ 629 w 1237"/>
              <a:gd name="T93" fmla="*/ 735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37" h="805">
                <a:moveTo>
                  <a:pt x="303" y="7"/>
                </a:moveTo>
                <a:cubicBezTo>
                  <a:pt x="448" y="0"/>
                  <a:pt x="590" y="6"/>
                  <a:pt x="739" y="6"/>
                </a:cubicBezTo>
                <a:cubicBezTo>
                  <a:pt x="840" y="6"/>
                  <a:pt x="958" y="6"/>
                  <a:pt x="1065" y="6"/>
                </a:cubicBezTo>
                <a:cubicBezTo>
                  <a:pt x="1102" y="6"/>
                  <a:pt x="1141" y="2"/>
                  <a:pt x="1167" y="12"/>
                </a:cubicBezTo>
                <a:cubicBezTo>
                  <a:pt x="1197" y="23"/>
                  <a:pt x="1222" y="47"/>
                  <a:pt x="1229" y="89"/>
                </a:cubicBezTo>
                <a:cubicBezTo>
                  <a:pt x="1237" y="145"/>
                  <a:pt x="1230" y="197"/>
                  <a:pt x="1230" y="250"/>
                </a:cubicBezTo>
                <a:cubicBezTo>
                  <a:pt x="1230" y="351"/>
                  <a:pt x="1230" y="467"/>
                  <a:pt x="1230" y="574"/>
                </a:cubicBezTo>
                <a:cubicBezTo>
                  <a:pt x="1230" y="626"/>
                  <a:pt x="1237" y="694"/>
                  <a:pt x="1226" y="730"/>
                </a:cubicBezTo>
                <a:cubicBezTo>
                  <a:pt x="1216" y="759"/>
                  <a:pt x="1195" y="785"/>
                  <a:pt x="1161" y="795"/>
                </a:cubicBezTo>
                <a:cubicBezTo>
                  <a:pt x="1128" y="805"/>
                  <a:pt x="1070" y="798"/>
                  <a:pt x="1025" y="798"/>
                </a:cubicBezTo>
                <a:cubicBezTo>
                  <a:pt x="746" y="798"/>
                  <a:pt x="479" y="800"/>
                  <a:pt x="200" y="800"/>
                </a:cubicBezTo>
                <a:cubicBezTo>
                  <a:pt x="153" y="800"/>
                  <a:pt x="102" y="804"/>
                  <a:pt x="70" y="792"/>
                </a:cubicBezTo>
                <a:cubicBezTo>
                  <a:pt x="43" y="782"/>
                  <a:pt x="20" y="759"/>
                  <a:pt x="11" y="729"/>
                </a:cubicBezTo>
                <a:cubicBezTo>
                  <a:pt x="0" y="691"/>
                  <a:pt x="7" y="623"/>
                  <a:pt x="7" y="570"/>
                </a:cubicBezTo>
                <a:cubicBezTo>
                  <a:pt x="7" y="466"/>
                  <a:pt x="7" y="347"/>
                  <a:pt x="7" y="242"/>
                </a:cubicBezTo>
                <a:cubicBezTo>
                  <a:pt x="7" y="190"/>
                  <a:pt x="0" y="126"/>
                  <a:pt x="10" y="83"/>
                </a:cubicBezTo>
                <a:cubicBezTo>
                  <a:pt x="18" y="47"/>
                  <a:pt x="42" y="22"/>
                  <a:pt x="72" y="12"/>
                </a:cubicBezTo>
                <a:cubicBezTo>
                  <a:pt x="99" y="2"/>
                  <a:pt x="147" y="7"/>
                  <a:pt x="184" y="7"/>
                </a:cubicBezTo>
                <a:cubicBezTo>
                  <a:pt x="228" y="7"/>
                  <a:pt x="269" y="9"/>
                  <a:pt x="303" y="7"/>
                </a:cubicBezTo>
                <a:close/>
                <a:moveTo>
                  <a:pt x="99" y="53"/>
                </a:moveTo>
                <a:cubicBezTo>
                  <a:pt x="273" y="258"/>
                  <a:pt x="442" y="469"/>
                  <a:pt x="618" y="671"/>
                </a:cubicBezTo>
                <a:cubicBezTo>
                  <a:pt x="784" y="475"/>
                  <a:pt x="948" y="269"/>
                  <a:pt x="1114" y="74"/>
                </a:cubicBezTo>
                <a:cubicBezTo>
                  <a:pt x="1118" y="69"/>
                  <a:pt x="1129" y="63"/>
                  <a:pt x="1125" y="55"/>
                </a:cubicBezTo>
                <a:cubicBezTo>
                  <a:pt x="782" y="56"/>
                  <a:pt x="438" y="54"/>
                  <a:pt x="99" y="53"/>
                </a:cubicBezTo>
                <a:close/>
                <a:moveTo>
                  <a:pt x="847" y="474"/>
                </a:moveTo>
                <a:cubicBezTo>
                  <a:pt x="951" y="547"/>
                  <a:pt x="1056" y="630"/>
                  <a:pt x="1158" y="704"/>
                </a:cubicBezTo>
                <a:cubicBezTo>
                  <a:pt x="1165" y="709"/>
                  <a:pt x="1173" y="716"/>
                  <a:pt x="1178" y="715"/>
                </a:cubicBezTo>
                <a:cubicBezTo>
                  <a:pt x="1183" y="545"/>
                  <a:pt x="1181" y="350"/>
                  <a:pt x="1181" y="174"/>
                </a:cubicBezTo>
                <a:cubicBezTo>
                  <a:pt x="1181" y="140"/>
                  <a:pt x="1184" y="100"/>
                  <a:pt x="1175" y="81"/>
                </a:cubicBezTo>
                <a:cubicBezTo>
                  <a:pt x="1175" y="80"/>
                  <a:pt x="1174" y="79"/>
                  <a:pt x="1173" y="80"/>
                </a:cubicBezTo>
                <a:cubicBezTo>
                  <a:pt x="1066" y="212"/>
                  <a:pt x="955" y="342"/>
                  <a:pt x="847" y="474"/>
                </a:cubicBezTo>
                <a:close/>
                <a:moveTo>
                  <a:pt x="56" y="98"/>
                </a:moveTo>
                <a:cubicBezTo>
                  <a:pt x="50" y="144"/>
                  <a:pt x="56" y="199"/>
                  <a:pt x="56" y="251"/>
                </a:cubicBezTo>
                <a:cubicBezTo>
                  <a:pt x="56" y="403"/>
                  <a:pt x="55" y="570"/>
                  <a:pt x="58" y="713"/>
                </a:cubicBezTo>
                <a:cubicBezTo>
                  <a:pt x="166" y="638"/>
                  <a:pt x="278" y="554"/>
                  <a:pt x="387" y="474"/>
                </a:cubicBezTo>
                <a:cubicBezTo>
                  <a:pt x="277" y="345"/>
                  <a:pt x="170" y="214"/>
                  <a:pt x="61" y="84"/>
                </a:cubicBezTo>
                <a:cubicBezTo>
                  <a:pt x="59" y="89"/>
                  <a:pt x="57" y="94"/>
                  <a:pt x="56" y="98"/>
                </a:cubicBezTo>
                <a:close/>
                <a:moveTo>
                  <a:pt x="419" y="514"/>
                </a:moveTo>
                <a:cubicBezTo>
                  <a:pt x="322" y="585"/>
                  <a:pt x="203" y="666"/>
                  <a:pt x="106" y="743"/>
                </a:cubicBezTo>
                <a:cubicBezTo>
                  <a:pt x="104" y="744"/>
                  <a:pt x="97" y="744"/>
                  <a:pt x="99" y="749"/>
                </a:cubicBezTo>
                <a:cubicBezTo>
                  <a:pt x="271" y="749"/>
                  <a:pt x="442" y="749"/>
                  <a:pt x="614" y="749"/>
                </a:cubicBezTo>
                <a:cubicBezTo>
                  <a:pt x="554" y="672"/>
                  <a:pt x="484" y="591"/>
                  <a:pt x="419" y="514"/>
                </a:cubicBezTo>
                <a:close/>
                <a:moveTo>
                  <a:pt x="629" y="735"/>
                </a:moveTo>
                <a:cubicBezTo>
                  <a:pt x="626" y="738"/>
                  <a:pt x="620" y="743"/>
                  <a:pt x="622" y="749"/>
                </a:cubicBezTo>
                <a:cubicBezTo>
                  <a:pt x="792" y="749"/>
                  <a:pt x="962" y="749"/>
                  <a:pt x="1133" y="749"/>
                </a:cubicBezTo>
                <a:cubicBezTo>
                  <a:pt x="1034" y="670"/>
                  <a:pt x="921" y="590"/>
                  <a:pt x="816" y="512"/>
                </a:cubicBezTo>
                <a:cubicBezTo>
                  <a:pt x="755" y="583"/>
                  <a:pt x="689" y="663"/>
                  <a:pt x="629" y="735"/>
                </a:cubicBezTo>
                <a:close/>
              </a:path>
            </a:pathLst>
          </a:custGeom>
          <a:solidFill>
            <a:schemeClr val="bg1">
              <a:lumMod val="50000"/>
            </a:schemeClr>
          </a:solidFill>
          <a:ln>
            <a:noFill/>
          </a:ln>
        </p:spPr>
        <p:txBody>
          <a:bodyPr vert="horz" wrap="square" lIns="88286" tIns="44144" rIns="88286" bIns="44144" numCol="1" anchor="t" anchorCtr="0" compatLnSpc="1">
            <a:prstTxWarp prst="textNoShape">
              <a:avLst/>
            </a:prstTxWarp>
          </a:bodyPr>
          <a:lstStyle/>
          <a:p>
            <a:endParaRPr lang="en-US" dirty="0">
              <a:latin typeface="+mj-lt"/>
            </a:endParaRPr>
          </a:p>
        </p:txBody>
      </p:sp>
      <p:sp>
        <p:nvSpPr>
          <p:cNvPr id="35" name="Oval 34">
            <a:extLst>
              <a:ext uri="{FF2B5EF4-FFF2-40B4-BE49-F238E27FC236}">
                <a16:creationId xmlns:a16="http://schemas.microsoft.com/office/drawing/2014/main" id="{95A47EBB-4E26-60C7-BD21-EAFFF2E5C835}"/>
              </a:ext>
            </a:extLst>
          </p:cNvPr>
          <p:cNvSpPr/>
          <p:nvPr/>
        </p:nvSpPr>
        <p:spPr bwMode="auto">
          <a:xfrm>
            <a:off x="6146385" y="1544830"/>
            <a:ext cx="1505041" cy="1505041"/>
          </a:xfrm>
          <a:prstGeom prst="ellipse">
            <a:avLst/>
          </a:prstGeom>
          <a:solidFill>
            <a:schemeClr val="accent2">
              <a:lumMod val="20000"/>
              <a:lumOff val="80000"/>
              <a:alpha val="56000"/>
            </a:schemeClr>
          </a:solidFill>
          <a:ln w="9525">
            <a:noFill/>
            <a:miter lim="800000"/>
            <a:headEnd/>
            <a:tailEnd/>
          </a:ln>
          <a:effectLst/>
        </p:spPr>
        <p:txBody>
          <a:bodyPr lIns="107996" tIns="107996" rIns="107996" bIns="107996" rtlCol="0" anchor="ctr">
            <a:noAutofit/>
          </a:bodyPr>
          <a:lstStyle/>
          <a:p>
            <a:pPr algn="l"/>
            <a:endParaRPr lang="en-US" sz="1200" dirty="0">
              <a:solidFill>
                <a:schemeClr val="bg1"/>
              </a:solidFill>
              <a:latin typeface="+mj-lt"/>
              <a:ea typeface="Verdana" pitchFamily="34" charset="0"/>
              <a:cs typeface="Verdana" pitchFamily="34" charset="0"/>
            </a:endParaRPr>
          </a:p>
        </p:txBody>
      </p:sp>
      <p:grpSp>
        <p:nvGrpSpPr>
          <p:cNvPr id="36" name="Group 35">
            <a:extLst>
              <a:ext uri="{FF2B5EF4-FFF2-40B4-BE49-F238E27FC236}">
                <a16:creationId xmlns:a16="http://schemas.microsoft.com/office/drawing/2014/main" id="{3E0547DB-5AB5-9AE1-BD08-A4D3411391C6}"/>
              </a:ext>
            </a:extLst>
          </p:cNvPr>
          <p:cNvGrpSpPr/>
          <p:nvPr/>
        </p:nvGrpSpPr>
        <p:grpSpPr>
          <a:xfrm rot="20216741" flipH="1">
            <a:off x="6181352" y="2644147"/>
            <a:ext cx="292919" cy="427100"/>
            <a:chOff x="615335" y="4621532"/>
            <a:chExt cx="386285" cy="563234"/>
          </a:xfrm>
        </p:grpSpPr>
        <p:sp>
          <p:nvSpPr>
            <p:cNvPr id="39" name="Oval 38">
              <a:extLst>
                <a:ext uri="{FF2B5EF4-FFF2-40B4-BE49-F238E27FC236}">
                  <a16:creationId xmlns:a16="http://schemas.microsoft.com/office/drawing/2014/main" id="{203F4DD9-E13C-2BFF-DA17-41AE3743BC4F}"/>
                </a:ext>
              </a:extLst>
            </p:cNvPr>
            <p:cNvSpPr/>
            <p:nvPr/>
          </p:nvSpPr>
          <p:spPr bwMode="auto">
            <a:xfrm>
              <a:off x="615335" y="4621532"/>
              <a:ext cx="386285" cy="386285"/>
            </a:xfrm>
            <a:prstGeom prst="ellipse">
              <a:avLst/>
            </a:prstGeom>
            <a:solidFill>
              <a:schemeClr val="accent2">
                <a:alpha val="76000"/>
              </a:schemeClr>
            </a:solidFill>
            <a:ln w="9525">
              <a:noFill/>
              <a:miter lim="800000"/>
              <a:headEnd/>
              <a:tailEnd/>
            </a:ln>
            <a:effectLst/>
          </p:spPr>
          <p:txBody>
            <a:bodyPr lIns="107996" tIns="107996" rIns="107996" bIns="107996" rtlCol="0" anchor="ctr">
              <a:noAutofit/>
            </a:bodyPr>
            <a:lstStyle/>
            <a:p>
              <a:pPr algn="l"/>
              <a:endParaRPr lang="en-US" sz="1200" dirty="0">
                <a:solidFill>
                  <a:schemeClr val="bg1"/>
                </a:solidFill>
                <a:latin typeface="+mj-lt"/>
                <a:ea typeface="Verdana" pitchFamily="34" charset="0"/>
                <a:cs typeface="Verdana" pitchFamily="34" charset="0"/>
              </a:endParaRPr>
            </a:p>
          </p:txBody>
        </p:sp>
        <p:sp>
          <p:nvSpPr>
            <p:cNvPr id="41" name="Oval 40">
              <a:extLst>
                <a:ext uri="{FF2B5EF4-FFF2-40B4-BE49-F238E27FC236}">
                  <a16:creationId xmlns:a16="http://schemas.microsoft.com/office/drawing/2014/main" id="{91BB5D91-53CE-A591-5853-82A5E23F3CC1}"/>
                </a:ext>
              </a:extLst>
            </p:cNvPr>
            <p:cNvSpPr/>
            <p:nvPr/>
          </p:nvSpPr>
          <p:spPr bwMode="auto">
            <a:xfrm>
              <a:off x="666083" y="5056924"/>
              <a:ext cx="127842" cy="127842"/>
            </a:xfrm>
            <a:prstGeom prst="ellipse">
              <a:avLst/>
            </a:prstGeom>
            <a:solidFill>
              <a:schemeClr val="accent2"/>
            </a:solidFill>
            <a:ln w="9525">
              <a:noFill/>
              <a:miter lim="800000"/>
              <a:headEnd/>
              <a:tailEnd/>
            </a:ln>
            <a:effectLst/>
          </p:spPr>
          <p:txBody>
            <a:bodyPr lIns="107996" tIns="107996" rIns="107996" bIns="107996" rtlCol="0" anchor="ctr">
              <a:noAutofit/>
            </a:bodyPr>
            <a:lstStyle/>
            <a:p>
              <a:pPr algn="l"/>
              <a:endParaRPr lang="en-US" sz="1200" dirty="0">
                <a:solidFill>
                  <a:schemeClr val="bg1"/>
                </a:solidFill>
                <a:latin typeface="+mj-lt"/>
                <a:ea typeface="Verdana" pitchFamily="34" charset="0"/>
                <a:cs typeface="Verdana" pitchFamily="34" charset="0"/>
              </a:endParaRPr>
            </a:p>
          </p:txBody>
        </p:sp>
      </p:grpSp>
      <p:sp>
        <p:nvSpPr>
          <p:cNvPr id="37" name="Oval 36">
            <a:extLst>
              <a:ext uri="{FF2B5EF4-FFF2-40B4-BE49-F238E27FC236}">
                <a16:creationId xmlns:a16="http://schemas.microsoft.com/office/drawing/2014/main" id="{4AA52673-4184-3812-FBBD-578F7531C522}"/>
              </a:ext>
            </a:extLst>
          </p:cNvPr>
          <p:cNvSpPr/>
          <p:nvPr/>
        </p:nvSpPr>
        <p:spPr bwMode="auto">
          <a:xfrm>
            <a:off x="6206683" y="1681138"/>
            <a:ext cx="1386779" cy="1386778"/>
          </a:xfrm>
          <a:prstGeom prst="ellipse">
            <a:avLst/>
          </a:prstGeom>
          <a:solidFill>
            <a:schemeClr val="bg1"/>
          </a:solidFill>
          <a:ln>
            <a:solidFill>
              <a:schemeClr val="bg1">
                <a:lumMod val="75000"/>
              </a:schemeClr>
            </a:solidFill>
          </a:ln>
        </p:spPr>
        <p:txBody>
          <a:bodyPr lIns="107996" tIns="107996" rIns="107996" bIns="107996" rtlCol="0" anchor="ctr">
            <a:noAutofit/>
          </a:bodyPr>
          <a:lstStyle/>
          <a:p>
            <a:pPr algn="l"/>
            <a:endParaRPr lang="en-US" sz="1200" dirty="0">
              <a:solidFill>
                <a:schemeClr val="bg1"/>
              </a:solidFill>
              <a:latin typeface="+mj-lt"/>
              <a:ea typeface="Verdana" pitchFamily="34" charset="0"/>
              <a:cs typeface="Verdana" pitchFamily="34" charset="0"/>
            </a:endParaRPr>
          </a:p>
        </p:txBody>
      </p:sp>
      <p:sp>
        <p:nvSpPr>
          <p:cNvPr id="42" name="Rectangle: Rounded Corners 41">
            <a:extLst>
              <a:ext uri="{FF2B5EF4-FFF2-40B4-BE49-F238E27FC236}">
                <a16:creationId xmlns:a16="http://schemas.microsoft.com/office/drawing/2014/main" id="{4D429FC0-8335-A45F-A836-35C65846E0C2}"/>
              </a:ext>
            </a:extLst>
          </p:cNvPr>
          <p:cNvSpPr>
            <a:spLocks/>
          </p:cNvSpPr>
          <p:nvPr/>
        </p:nvSpPr>
        <p:spPr>
          <a:xfrm>
            <a:off x="571083" y="3980426"/>
            <a:ext cx="10997029" cy="994978"/>
          </a:xfrm>
          <a:prstGeom prst="roundRect">
            <a:avLst>
              <a:gd name="adj" fmla="val 4948"/>
            </a:avLst>
          </a:prstGeom>
          <a:solidFill>
            <a:schemeClr val="accent1">
              <a:lumMod val="20000"/>
              <a:lumOff val="80000"/>
            </a:schemeClr>
          </a:solidFill>
          <a:ln>
            <a:solidFill>
              <a:schemeClr val="accent1"/>
            </a:solidFill>
          </a:ln>
        </p:spPr>
        <p:txBody>
          <a:bodyPr wrap="square" lIns="91440" tIns="72000" rIns="91440" bIns="72000" anchor="ctr" anchorCtr="0">
            <a:noAutofit/>
          </a:bodyPr>
          <a:lstStyle/>
          <a:p>
            <a:pPr>
              <a:lnSpc>
                <a:spcPct val="105000"/>
              </a:lnSpc>
              <a:buClr>
                <a:schemeClr val="accent1"/>
              </a:buClr>
              <a:buSzPct val="100000"/>
            </a:pPr>
            <a:r>
              <a:rPr lang="en-US" sz="1200" i="1" dirty="0">
                <a:latin typeface="+mj-lt"/>
              </a:rPr>
              <a:t>Evalueserve’s Corporate and Investment Banking (CIB) practice works with bulge bracket banks, large global banks, commercial banks and boutique advisory firms. Our key practice areas include Sector and Product support, Lending &amp; Credit support, Business Information / Library Services, Presentation Support services and Business Management Reporting. In addition, our proprietary technology platform helps streamline and automate workflows, re-use work products through knowledge management and automate repetitive tasks.</a:t>
            </a:r>
          </a:p>
          <a:p>
            <a:pPr>
              <a:lnSpc>
                <a:spcPct val="105000"/>
              </a:lnSpc>
              <a:buClr>
                <a:schemeClr val="accent1"/>
              </a:buClr>
              <a:buSzPct val="100000"/>
            </a:pPr>
            <a:r>
              <a:rPr lang="en-US" sz="1200" i="1" dirty="0">
                <a:solidFill>
                  <a:schemeClr val="bg2"/>
                </a:solidFill>
                <a:latin typeface="+mj-lt"/>
              </a:rPr>
              <a:t>					</a:t>
            </a:r>
            <a:r>
              <a:rPr lang="en-US" sz="1200" i="1" dirty="0">
                <a:latin typeface="+mj-lt"/>
              </a:rPr>
              <a:t>For more information, please visit:</a:t>
            </a:r>
            <a:r>
              <a:rPr lang="en-US" sz="1200" i="1" dirty="0">
                <a:solidFill>
                  <a:schemeClr val="bg2"/>
                </a:solidFill>
                <a:latin typeface="+mj-lt"/>
              </a:rPr>
              <a:t> </a:t>
            </a:r>
            <a:r>
              <a:rPr lang="en-US" sz="1200" i="1" u="sng" dirty="0">
                <a:solidFill>
                  <a:schemeClr val="accent2">
                    <a:lumMod val="50000"/>
                  </a:schemeClr>
                </a:solidFill>
                <a:latin typeface="+mj-lt"/>
              </a:rPr>
              <a:t>https://www.evalueserve.com/industry/financial-services/ </a:t>
            </a:r>
          </a:p>
        </p:txBody>
      </p:sp>
      <p:sp>
        <p:nvSpPr>
          <p:cNvPr id="43" name="Rectangle: Rounded Corners 42">
            <a:extLst>
              <a:ext uri="{FF2B5EF4-FFF2-40B4-BE49-F238E27FC236}">
                <a16:creationId xmlns:a16="http://schemas.microsoft.com/office/drawing/2014/main" id="{AE6EA45C-2123-0DAF-7CBE-588169FB6668}"/>
              </a:ext>
            </a:extLst>
          </p:cNvPr>
          <p:cNvSpPr/>
          <p:nvPr/>
        </p:nvSpPr>
        <p:spPr>
          <a:xfrm>
            <a:off x="571081" y="3987092"/>
            <a:ext cx="64800" cy="981646"/>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Rectangle: Rounded Corners 43">
            <a:extLst>
              <a:ext uri="{FF2B5EF4-FFF2-40B4-BE49-F238E27FC236}">
                <a16:creationId xmlns:a16="http://schemas.microsoft.com/office/drawing/2014/main" id="{A2BC2DC0-E1A4-B5ED-3262-00BB4DD2735E}"/>
              </a:ext>
            </a:extLst>
          </p:cNvPr>
          <p:cNvSpPr/>
          <p:nvPr/>
        </p:nvSpPr>
        <p:spPr>
          <a:xfrm>
            <a:off x="11503312" y="3987092"/>
            <a:ext cx="64800" cy="981646"/>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6" name="Picture 45" descr="A person in a suit and tie&#10;&#10;Description automatically generated">
            <a:extLst>
              <a:ext uri="{FF2B5EF4-FFF2-40B4-BE49-F238E27FC236}">
                <a16:creationId xmlns:a16="http://schemas.microsoft.com/office/drawing/2014/main" id="{32E2E5D3-184D-67AD-E266-B8C4E079E5BB}"/>
              </a:ext>
            </a:extLst>
          </p:cNvPr>
          <p:cNvPicPr>
            <a:picLocks noChangeAspect="1"/>
          </p:cNvPicPr>
          <p:nvPr/>
        </p:nvPicPr>
        <p:blipFill rotWithShape="1">
          <a:blip r:embed="rId2">
            <a:extLst>
              <a:ext uri="{28A0092B-C50C-407E-A947-70E740481C1C}">
                <a14:useLocalDpi xmlns:a14="http://schemas.microsoft.com/office/drawing/2010/main" val="0"/>
              </a:ext>
            </a:extLst>
          </a:blip>
          <a:srcRect t="4439" b="15039"/>
          <a:stretch/>
        </p:blipFill>
        <p:spPr>
          <a:xfrm>
            <a:off x="6211193" y="1643779"/>
            <a:ext cx="1411698" cy="1461495"/>
          </a:xfrm>
          <a:prstGeom prst="flowChartConnector">
            <a:avLst/>
          </a:prstGeom>
          <a:ln>
            <a:solidFill>
              <a:schemeClr val="tx1">
                <a:lumMod val="60000"/>
                <a:lumOff val="40000"/>
              </a:schemeClr>
            </a:solidFill>
          </a:ln>
        </p:spPr>
      </p:pic>
      <p:pic>
        <p:nvPicPr>
          <p:cNvPr id="2" name="Picture 1">
            <a:extLst>
              <a:ext uri="{FF2B5EF4-FFF2-40B4-BE49-F238E27FC236}">
                <a16:creationId xmlns:a16="http://schemas.microsoft.com/office/drawing/2014/main" id="{916B4AFF-F547-3177-6F16-FFFAFA966A3C}"/>
              </a:ext>
            </a:extLst>
          </p:cNvPr>
          <p:cNvPicPr>
            <a:picLocks noChangeAspect="1"/>
          </p:cNvPicPr>
          <p:nvPr/>
        </p:nvPicPr>
        <p:blipFill rotWithShape="1">
          <a:blip r:embed="rId3">
            <a:extLst>
              <a:ext uri="{28A0092B-C50C-407E-A947-70E740481C1C}">
                <a14:useLocalDpi xmlns:a14="http://schemas.microsoft.com/office/drawing/2010/main" val="0"/>
              </a:ext>
            </a:extLst>
          </a:blip>
          <a:srcRect l="7259" t="2377" r="15193" b="24766"/>
          <a:stretch/>
        </p:blipFill>
        <p:spPr bwMode="auto">
          <a:xfrm>
            <a:off x="621962" y="1603374"/>
            <a:ext cx="1401914" cy="1477241"/>
          </a:xfrm>
          <a:prstGeom prst="ellipse">
            <a:avLst/>
          </a:prstGeom>
          <a:ln>
            <a:solidFill>
              <a:schemeClr val="tx1">
                <a:lumMod val="60000"/>
                <a:lumOff val="40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41968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05F6ADB-F4B2-47F5-A365-38446DD94D7E}"/>
              </a:ext>
            </a:extLst>
          </p:cNvPr>
          <p:cNvSpPr>
            <a:spLocks noGrp="1"/>
          </p:cNvSpPr>
          <p:nvPr>
            <p:ph type="title"/>
          </p:nvPr>
        </p:nvSpPr>
        <p:spPr/>
        <p:txBody>
          <a:bodyPr/>
          <a:lstStyle/>
          <a:p>
            <a:r>
              <a:rPr lang="en-IN" dirty="0"/>
              <a:t>Thank You</a:t>
            </a:r>
          </a:p>
        </p:txBody>
      </p:sp>
    </p:spTree>
    <p:extLst>
      <p:ext uri="{BB962C8B-B14F-4D97-AF65-F5344CB8AC3E}">
        <p14:creationId xmlns:p14="http://schemas.microsoft.com/office/powerpoint/2010/main" val="27315426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name="Slide2">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3DBBDEE0-4E52-437A-ACB7-70EA3E527421}"/>
              </a:ext>
            </a:extLst>
          </p:cNvPr>
          <p:cNvSpPr/>
          <p:nvPr/>
        </p:nvSpPr>
        <p:spPr>
          <a:xfrm>
            <a:off x="11356284" y="5434651"/>
            <a:ext cx="835716" cy="869205"/>
          </a:xfrm>
          <a:custGeom>
            <a:avLst/>
            <a:gdLst>
              <a:gd name="connsiteX0" fmla="*/ 719995 w 1448982"/>
              <a:gd name="connsiteY0" fmla="*/ 1119378 h 1507045"/>
              <a:gd name="connsiteX1" fmla="*/ 1331309 w 1448982"/>
              <a:gd name="connsiteY1" fmla="*/ 1119378 h 1507045"/>
              <a:gd name="connsiteX2" fmla="*/ 1404338 w 1448982"/>
              <a:gd name="connsiteY2" fmla="*/ 1135373 h 1507045"/>
              <a:gd name="connsiteX3" fmla="*/ 1448982 w 1448982"/>
              <a:gd name="connsiteY3" fmla="*/ 1165809 h 1507045"/>
              <a:gd name="connsiteX4" fmla="*/ 1448982 w 1448982"/>
              <a:gd name="connsiteY4" fmla="*/ 1459947 h 1507045"/>
              <a:gd name="connsiteX5" fmla="*/ 1406401 w 1448982"/>
              <a:gd name="connsiteY5" fmla="*/ 1490049 h 1507045"/>
              <a:gd name="connsiteX6" fmla="*/ 1331309 w 1448982"/>
              <a:gd name="connsiteY6" fmla="*/ 1506950 h 1507045"/>
              <a:gd name="connsiteX7" fmla="*/ 719995 w 1448982"/>
              <a:gd name="connsiteY7" fmla="*/ 1506950 h 1507045"/>
              <a:gd name="connsiteX8" fmla="*/ 526256 w 1448982"/>
              <a:gd name="connsiteY8" fmla="*/ 1313116 h 1507045"/>
              <a:gd name="connsiteX9" fmla="*/ 719995 w 1448982"/>
              <a:gd name="connsiteY9" fmla="*/ 1119378 h 1507045"/>
              <a:gd name="connsiteX10" fmla="*/ 193834 w 1448982"/>
              <a:gd name="connsiteY10" fmla="*/ 1119378 h 1507045"/>
              <a:gd name="connsiteX11" fmla="*/ 194024 w 1448982"/>
              <a:gd name="connsiteY11" fmla="*/ 1119378 h 1507045"/>
              <a:gd name="connsiteX12" fmla="*/ 387763 w 1448982"/>
              <a:gd name="connsiteY12" fmla="*/ 1313307 h 1507045"/>
              <a:gd name="connsiteX13" fmla="*/ 193834 w 1448982"/>
              <a:gd name="connsiteY13" fmla="*/ 1507045 h 1507045"/>
              <a:gd name="connsiteX14" fmla="*/ 95 w 1448982"/>
              <a:gd name="connsiteY14" fmla="*/ 1313116 h 1507045"/>
              <a:gd name="connsiteX15" fmla="*/ 193834 w 1448982"/>
              <a:gd name="connsiteY15" fmla="*/ 1119378 h 1507045"/>
              <a:gd name="connsiteX16" fmla="*/ 193929 w 1448982"/>
              <a:gd name="connsiteY16" fmla="*/ 559784 h 1507045"/>
              <a:gd name="connsiteX17" fmla="*/ 805149 w 1448982"/>
              <a:gd name="connsiteY17" fmla="*/ 559784 h 1507045"/>
              <a:gd name="connsiteX18" fmla="*/ 813740 w 1448982"/>
              <a:gd name="connsiteY18" fmla="*/ 559784 h 1507045"/>
              <a:gd name="connsiteX19" fmla="*/ 1003230 w 1448982"/>
              <a:gd name="connsiteY19" fmla="*/ 757866 h 1507045"/>
              <a:gd name="connsiteX20" fmla="*/ 805149 w 1448982"/>
              <a:gd name="connsiteY20" fmla="*/ 947356 h 1507045"/>
              <a:gd name="connsiteX21" fmla="*/ 193929 w 1448982"/>
              <a:gd name="connsiteY21" fmla="*/ 947356 h 1507045"/>
              <a:gd name="connsiteX22" fmla="*/ 95 w 1448982"/>
              <a:gd name="connsiteY22" fmla="*/ 753523 h 1507045"/>
              <a:gd name="connsiteX23" fmla="*/ 193929 w 1448982"/>
              <a:gd name="connsiteY23" fmla="*/ 559784 h 1507045"/>
              <a:gd name="connsiteX24" fmla="*/ 1331214 w 1448982"/>
              <a:gd name="connsiteY24" fmla="*/ 559689 h 1507045"/>
              <a:gd name="connsiteX25" fmla="*/ 1406663 w 1448982"/>
              <a:gd name="connsiteY25" fmla="*/ 574922 h 1507045"/>
              <a:gd name="connsiteX26" fmla="*/ 1448982 w 1448982"/>
              <a:gd name="connsiteY26" fmla="*/ 603454 h 1507045"/>
              <a:gd name="connsiteX27" fmla="*/ 1448982 w 1448982"/>
              <a:gd name="connsiteY27" fmla="*/ 903636 h 1507045"/>
              <a:gd name="connsiteX28" fmla="*/ 1406719 w 1448982"/>
              <a:gd name="connsiteY28" fmla="*/ 932131 h 1507045"/>
              <a:gd name="connsiteX29" fmla="*/ 1331309 w 1448982"/>
              <a:gd name="connsiteY29" fmla="*/ 947356 h 1507045"/>
              <a:gd name="connsiteX30" fmla="*/ 1331214 w 1448982"/>
              <a:gd name="connsiteY30" fmla="*/ 947356 h 1507045"/>
              <a:gd name="connsiteX31" fmla="*/ 1137381 w 1448982"/>
              <a:gd name="connsiteY31" fmla="*/ 753523 h 1507045"/>
              <a:gd name="connsiteX32" fmla="*/ 1331214 w 1448982"/>
              <a:gd name="connsiteY32" fmla="*/ 559689 h 1507045"/>
              <a:gd name="connsiteX33" fmla="*/ 719995 w 1448982"/>
              <a:gd name="connsiteY33" fmla="*/ 95 h 1507045"/>
              <a:gd name="connsiteX34" fmla="*/ 1331309 w 1448982"/>
              <a:gd name="connsiteY34" fmla="*/ 95 h 1507045"/>
              <a:gd name="connsiteX35" fmla="*/ 1406727 w 1448982"/>
              <a:gd name="connsiteY35" fmla="*/ 15357 h 1507045"/>
              <a:gd name="connsiteX36" fmla="*/ 1448982 w 1448982"/>
              <a:gd name="connsiteY36" fmla="*/ 43864 h 1507045"/>
              <a:gd name="connsiteX37" fmla="*/ 1448982 w 1448982"/>
              <a:gd name="connsiteY37" fmla="*/ 343951 h 1507045"/>
              <a:gd name="connsiteX38" fmla="*/ 1406719 w 1448982"/>
              <a:gd name="connsiteY38" fmla="*/ 372444 h 1507045"/>
              <a:gd name="connsiteX39" fmla="*/ 1331309 w 1448982"/>
              <a:gd name="connsiteY39" fmla="*/ 387668 h 1507045"/>
              <a:gd name="connsiteX40" fmla="*/ 719995 w 1448982"/>
              <a:gd name="connsiteY40" fmla="*/ 387668 h 1507045"/>
              <a:gd name="connsiteX41" fmla="*/ 530504 w 1448982"/>
              <a:gd name="connsiteY41" fmla="*/ 198177 h 1507045"/>
              <a:gd name="connsiteX42" fmla="*/ 719995 w 1448982"/>
              <a:gd name="connsiteY42" fmla="*/ 95 h 1507045"/>
              <a:gd name="connsiteX43" fmla="*/ 193929 w 1448982"/>
              <a:gd name="connsiteY43" fmla="*/ 0 h 1507045"/>
              <a:gd name="connsiteX44" fmla="*/ 387668 w 1448982"/>
              <a:gd name="connsiteY44" fmla="*/ 193929 h 1507045"/>
              <a:gd name="connsiteX45" fmla="*/ 193834 w 1448982"/>
              <a:gd name="connsiteY45" fmla="*/ 387668 h 1507045"/>
              <a:gd name="connsiteX46" fmla="*/ 193739 w 1448982"/>
              <a:gd name="connsiteY46" fmla="*/ 387668 h 1507045"/>
              <a:gd name="connsiteX47" fmla="*/ 0 w 1448982"/>
              <a:gd name="connsiteY47" fmla="*/ 193738 h 1507045"/>
              <a:gd name="connsiteX48" fmla="*/ 193929 w 1448982"/>
              <a:gd name="connsiteY48" fmla="*/ 0 h 1507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48982" h="1507045">
                <a:moveTo>
                  <a:pt x="719995" y="1119378"/>
                </a:moveTo>
                <a:lnTo>
                  <a:pt x="1331309" y="1119378"/>
                </a:lnTo>
                <a:cubicBezTo>
                  <a:pt x="1357231" y="1119952"/>
                  <a:pt x="1381892" y="1125601"/>
                  <a:pt x="1404338" y="1135373"/>
                </a:cubicBezTo>
                <a:lnTo>
                  <a:pt x="1448982" y="1165809"/>
                </a:lnTo>
                <a:lnTo>
                  <a:pt x="1448982" y="1459947"/>
                </a:lnTo>
                <a:lnTo>
                  <a:pt x="1406401" y="1490049"/>
                </a:lnTo>
                <a:cubicBezTo>
                  <a:pt x="1383434" y="1500370"/>
                  <a:pt x="1358065" y="1506357"/>
                  <a:pt x="1331309" y="1506950"/>
                </a:cubicBezTo>
                <a:lnTo>
                  <a:pt x="719995" y="1506950"/>
                </a:lnTo>
                <a:cubicBezTo>
                  <a:pt x="612982" y="1506893"/>
                  <a:pt x="526256" y="1420130"/>
                  <a:pt x="526256" y="1313116"/>
                </a:cubicBezTo>
                <a:cubicBezTo>
                  <a:pt x="526256" y="1206112"/>
                  <a:pt x="613000" y="1119378"/>
                  <a:pt x="719995" y="1119378"/>
                </a:cubicBezTo>
                <a:close/>
                <a:moveTo>
                  <a:pt x="193834" y="1119378"/>
                </a:moveTo>
                <a:cubicBezTo>
                  <a:pt x="193900" y="1119378"/>
                  <a:pt x="193958" y="1119378"/>
                  <a:pt x="194024" y="1119378"/>
                </a:cubicBezTo>
                <a:cubicBezTo>
                  <a:pt x="301076" y="1119425"/>
                  <a:pt x="387820" y="1206255"/>
                  <a:pt x="387763" y="1313307"/>
                </a:cubicBezTo>
                <a:cubicBezTo>
                  <a:pt x="387715" y="1420358"/>
                  <a:pt x="300885" y="1507093"/>
                  <a:pt x="193834" y="1507045"/>
                </a:cubicBezTo>
                <a:cubicBezTo>
                  <a:pt x="86782" y="1506988"/>
                  <a:pt x="48" y="1420168"/>
                  <a:pt x="95" y="1313116"/>
                </a:cubicBezTo>
                <a:cubicBezTo>
                  <a:pt x="143" y="1206141"/>
                  <a:pt x="86859" y="1119425"/>
                  <a:pt x="193834" y="1119378"/>
                </a:cubicBezTo>
                <a:close/>
                <a:moveTo>
                  <a:pt x="193929" y="559784"/>
                </a:moveTo>
                <a:lnTo>
                  <a:pt x="805149" y="559784"/>
                </a:lnTo>
                <a:cubicBezTo>
                  <a:pt x="808015" y="559717"/>
                  <a:pt x="810882" y="559717"/>
                  <a:pt x="813740" y="559784"/>
                </a:cubicBezTo>
                <a:cubicBezTo>
                  <a:pt x="920763" y="562156"/>
                  <a:pt x="1005602" y="650843"/>
                  <a:pt x="1003230" y="757866"/>
                </a:cubicBezTo>
                <a:cubicBezTo>
                  <a:pt x="1000859" y="864889"/>
                  <a:pt x="912171" y="949728"/>
                  <a:pt x="805149" y="947356"/>
                </a:cubicBezTo>
                <a:lnTo>
                  <a:pt x="193929" y="947356"/>
                </a:lnTo>
                <a:cubicBezTo>
                  <a:pt x="86878" y="947356"/>
                  <a:pt x="95" y="860574"/>
                  <a:pt x="95" y="753523"/>
                </a:cubicBezTo>
                <a:cubicBezTo>
                  <a:pt x="143" y="646509"/>
                  <a:pt x="86916" y="559784"/>
                  <a:pt x="193929" y="559784"/>
                </a:cubicBezTo>
                <a:close/>
                <a:moveTo>
                  <a:pt x="1331214" y="559689"/>
                </a:moveTo>
                <a:cubicBezTo>
                  <a:pt x="1357977" y="559689"/>
                  <a:pt x="1383473" y="565113"/>
                  <a:pt x="1406663" y="574922"/>
                </a:cubicBezTo>
                <a:lnTo>
                  <a:pt x="1448982" y="603454"/>
                </a:lnTo>
                <a:lnTo>
                  <a:pt x="1448982" y="903636"/>
                </a:lnTo>
                <a:lnTo>
                  <a:pt x="1406719" y="932131"/>
                </a:lnTo>
                <a:cubicBezTo>
                  <a:pt x="1383541" y="941935"/>
                  <a:pt x="1358058" y="947356"/>
                  <a:pt x="1331309" y="947356"/>
                </a:cubicBezTo>
                <a:cubicBezTo>
                  <a:pt x="1331281" y="947356"/>
                  <a:pt x="1331243" y="947356"/>
                  <a:pt x="1331214" y="947356"/>
                </a:cubicBezTo>
                <a:cubicBezTo>
                  <a:pt x="1224163" y="947356"/>
                  <a:pt x="1137381" y="860574"/>
                  <a:pt x="1137381" y="753523"/>
                </a:cubicBezTo>
                <a:cubicBezTo>
                  <a:pt x="1137381" y="646471"/>
                  <a:pt x="1224163" y="559689"/>
                  <a:pt x="1331214" y="559689"/>
                </a:cubicBezTo>
                <a:close/>
                <a:moveTo>
                  <a:pt x="719995" y="95"/>
                </a:moveTo>
                <a:lnTo>
                  <a:pt x="1331309" y="95"/>
                </a:lnTo>
                <a:cubicBezTo>
                  <a:pt x="1358063" y="109"/>
                  <a:pt x="1383548" y="5543"/>
                  <a:pt x="1406727" y="15357"/>
                </a:cubicBezTo>
                <a:lnTo>
                  <a:pt x="1448982" y="43864"/>
                </a:lnTo>
                <a:lnTo>
                  <a:pt x="1448982" y="343951"/>
                </a:lnTo>
                <a:lnTo>
                  <a:pt x="1406719" y="372444"/>
                </a:lnTo>
                <a:cubicBezTo>
                  <a:pt x="1383541" y="382247"/>
                  <a:pt x="1358058" y="387668"/>
                  <a:pt x="1331309" y="387668"/>
                </a:cubicBezTo>
                <a:lnTo>
                  <a:pt x="719995" y="387668"/>
                </a:lnTo>
                <a:cubicBezTo>
                  <a:pt x="616306" y="385372"/>
                  <a:pt x="532800" y="301866"/>
                  <a:pt x="530504" y="198177"/>
                </a:cubicBezTo>
                <a:cubicBezTo>
                  <a:pt x="528133" y="91154"/>
                  <a:pt x="612972" y="2467"/>
                  <a:pt x="719995" y="95"/>
                </a:cubicBezTo>
                <a:close/>
                <a:moveTo>
                  <a:pt x="193929" y="0"/>
                </a:moveTo>
                <a:cubicBezTo>
                  <a:pt x="300980" y="57"/>
                  <a:pt x="387715" y="86877"/>
                  <a:pt x="387668" y="193929"/>
                </a:cubicBezTo>
                <a:cubicBezTo>
                  <a:pt x="387620" y="300942"/>
                  <a:pt x="300847" y="387668"/>
                  <a:pt x="193834" y="387668"/>
                </a:cubicBezTo>
                <a:cubicBezTo>
                  <a:pt x="193805" y="387668"/>
                  <a:pt x="193767" y="387668"/>
                  <a:pt x="193739" y="387668"/>
                </a:cubicBezTo>
                <a:cubicBezTo>
                  <a:pt x="86687" y="387620"/>
                  <a:pt x="-57" y="300790"/>
                  <a:pt x="0" y="193738"/>
                </a:cubicBezTo>
                <a:cubicBezTo>
                  <a:pt x="48" y="86687"/>
                  <a:pt x="86878" y="-48"/>
                  <a:pt x="193929" y="0"/>
                </a:cubicBezTo>
                <a:close/>
              </a:path>
            </a:pathLst>
          </a:custGeom>
          <a:solidFill>
            <a:srgbClr val="E0044E"/>
          </a:solidFill>
          <a:ln w="9525" cap="flat">
            <a:noFill/>
            <a:prstDash val="solid"/>
            <a:miter/>
          </a:ln>
        </p:spPr>
        <p:txBody>
          <a:bodyPr rtlCol="0" anchor="ctr"/>
          <a:lstStyle/>
          <a:p>
            <a:endParaRPr lang="en-GB" dirty="0"/>
          </a:p>
        </p:txBody>
      </p:sp>
      <p:sp>
        <p:nvSpPr>
          <p:cNvPr id="34" name="Title 33">
            <a:extLst>
              <a:ext uri="{FF2B5EF4-FFF2-40B4-BE49-F238E27FC236}">
                <a16:creationId xmlns:a16="http://schemas.microsoft.com/office/drawing/2014/main" id="{88D0C828-45A6-4683-BEC0-3C804271824C}"/>
              </a:ext>
            </a:extLst>
          </p:cNvPr>
          <p:cNvSpPr>
            <a:spLocks noGrp="1"/>
          </p:cNvSpPr>
          <p:nvPr>
            <p:ph type="title"/>
          </p:nvPr>
        </p:nvSpPr>
        <p:spPr/>
        <p:txBody>
          <a:bodyPr/>
          <a:lstStyle/>
          <a:p>
            <a:r>
              <a:rPr lang="en-US" dirty="0"/>
              <a:t>Global IPO Market Trends: A Roller Coaster Journey from Peak to Recovery</a:t>
            </a:r>
            <a:endParaRPr lang="en-IN" dirty="0"/>
          </a:p>
        </p:txBody>
      </p:sp>
      <p:sp>
        <p:nvSpPr>
          <p:cNvPr id="40" name="Slide Number Placeholder 39">
            <a:extLst>
              <a:ext uri="{FF2B5EF4-FFF2-40B4-BE49-F238E27FC236}">
                <a16:creationId xmlns:a16="http://schemas.microsoft.com/office/drawing/2014/main" id="{C7532BC8-4745-4BB2-8C81-6C639A6284C4}"/>
              </a:ext>
            </a:extLst>
          </p:cNvPr>
          <p:cNvSpPr>
            <a:spLocks noGrp="1"/>
          </p:cNvSpPr>
          <p:nvPr>
            <p:ph type="sldNum" sz="quarter" idx="17"/>
          </p:nvPr>
        </p:nvSpPr>
        <p:spPr/>
        <p:txBody>
          <a:bodyPr/>
          <a:lstStyle/>
          <a:p>
            <a:fld id="{2604F1CA-F590-4AD7-82C4-33C5478F726E}" type="slidenum">
              <a:rPr lang="en-GB" smtClean="0"/>
              <a:pPr/>
              <a:t>2</a:t>
            </a:fld>
            <a:endParaRPr lang="en-GB" dirty="0"/>
          </a:p>
        </p:txBody>
      </p:sp>
      <p:grpSp>
        <p:nvGrpSpPr>
          <p:cNvPr id="44" name="Group 43">
            <a:extLst>
              <a:ext uri="{FF2B5EF4-FFF2-40B4-BE49-F238E27FC236}">
                <a16:creationId xmlns:a16="http://schemas.microsoft.com/office/drawing/2014/main" id="{8D8516BA-E75C-42DD-923A-CFBB3AFCFB35}"/>
              </a:ext>
            </a:extLst>
          </p:cNvPr>
          <p:cNvGrpSpPr/>
          <p:nvPr/>
        </p:nvGrpSpPr>
        <p:grpSpPr>
          <a:xfrm>
            <a:off x="587375" y="903087"/>
            <a:ext cx="11149802" cy="631586"/>
            <a:chOff x="587375" y="798288"/>
            <a:chExt cx="11149802" cy="631586"/>
          </a:xfrm>
        </p:grpSpPr>
        <p:grpSp>
          <p:nvGrpSpPr>
            <p:cNvPr id="43" name="Group 42">
              <a:extLst>
                <a:ext uri="{FF2B5EF4-FFF2-40B4-BE49-F238E27FC236}">
                  <a16:creationId xmlns:a16="http://schemas.microsoft.com/office/drawing/2014/main" id="{9213CB66-FCA3-408D-BCE8-F3ADEED58C4F}"/>
                </a:ext>
              </a:extLst>
            </p:cNvPr>
            <p:cNvGrpSpPr/>
            <p:nvPr/>
          </p:nvGrpSpPr>
          <p:grpSpPr>
            <a:xfrm>
              <a:off x="587375" y="798288"/>
              <a:ext cx="11149802" cy="631586"/>
              <a:chOff x="587375" y="798288"/>
              <a:chExt cx="11149802" cy="631586"/>
            </a:xfrm>
            <a:effectLst>
              <a:outerShdw blurRad="50800" dist="38100" dir="2700000" algn="tl" rotWithShape="0">
                <a:prstClr val="black">
                  <a:alpha val="40000"/>
                </a:prstClr>
              </a:outerShdw>
            </a:effectLst>
          </p:grpSpPr>
          <p:sp>
            <p:nvSpPr>
              <p:cNvPr id="42" name="Freeform: Shape 41">
                <a:extLst>
                  <a:ext uri="{FF2B5EF4-FFF2-40B4-BE49-F238E27FC236}">
                    <a16:creationId xmlns:a16="http://schemas.microsoft.com/office/drawing/2014/main" id="{F9EAA5F2-FDC0-47A5-B7B5-858D69C11C34}"/>
                  </a:ext>
                </a:extLst>
              </p:cNvPr>
              <p:cNvSpPr/>
              <p:nvPr/>
            </p:nvSpPr>
            <p:spPr>
              <a:xfrm rot="5400000">
                <a:off x="11230937" y="923634"/>
                <a:ext cx="631586" cy="380894"/>
              </a:xfrm>
              <a:custGeom>
                <a:avLst/>
                <a:gdLst>
                  <a:gd name="connsiteX0" fmla="*/ 0 w 631586"/>
                  <a:gd name="connsiteY0" fmla="*/ 380894 h 380894"/>
                  <a:gd name="connsiteX1" fmla="*/ 315793 w 631586"/>
                  <a:gd name="connsiteY1" fmla="*/ 0 h 380894"/>
                  <a:gd name="connsiteX2" fmla="*/ 631586 w 631586"/>
                  <a:gd name="connsiteY2" fmla="*/ 380894 h 380894"/>
                  <a:gd name="connsiteX3" fmla="*/ 483554 w 631586"/>
                  <a:gd name="connsiteY3" fmla="*/ 380894 h 380894"/>
                  <a:gd name="connsiteX4" fmla="*/ 481237 w 631586"/>
                  <a:gd name="connsiteY4" fmla="*/ 348453 h 380894"/>
                  <a:gd name="connsiteX5" fmla="*/ 474887 w 631586"/>
                  <a:gd name="connsiteY5" fmla="*/ 294478 h 380894"/>
                  <a:gd name="connsiteX6" fmla="*/ 439962 w 631586"/>
                  <a:gd name="connsiteY6" fmla="*/ 221453 h 380894"/>
                  <a:gd name="connsiteX7" fmla="*/ 385987 w 631586"/>
                  <a:gd name="connsiteY7" fmla="*/ 192878 h 380894"/>
                  <a:gd name="connsiteX8" fmla="*/ 309787 w 631586"/>
                  <a:gd name="connsiteY8" fmla="*/ 192878 h 380894"/>
                  <a:gd name="connsiteX9" fmla="*/ 233587 w 631586"/>
                  <a:gd name="connsiteY9" fmla="*/ 230978 h 380894"/>
                  <a:gd name="connsiteX10" fmla="*/ 182787 w 631586"/>
                  <a:gd name="connsiteY10" fmla="*/ 272253 h 380894"/>
                  <a:gd name="connsiteX11" fmla="*/ 144687 w 631586"/>
                  <a:gd name="connsiteY11" fmla="*/ 332578 h 380894"/>
                  <a:gd name="connsiteX12" fmla="*/ 139855 w 631586"/>
                  <a:gd name="connsiteY12" fmla="*/ 380894 h 38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1586" h="380894">
                    <a:moveTo>
                      <a:pt x="0" y="380894"/>
                    </a:moveTo>
                    <a:lnTo>
                      <a:pt x="315793" y="0"/>
                    </a:lnTo>
                    <a:lnTo>
                      <a:pt x="631586" y="380894"/>
                    </a:lnTo>
                    <a:lnTo>
                      <a:pt x="483554" y="380894"/>
                    </a:lnTo>
                    <a:lnTo>
                      <a:pt x="481237" y="348453"/>
                    </a:lnTo>
                    <a:lnTo>
                      <a:pt x="474887" y="294478"/>
                    </a:lnTo>
                    <a:lnTo>
                      <a:pt x="439962" y="221453"/>
                    </a:lnTo>
                    <a:lnTo>
                      <a:pt x="385987" y="192878"/>
                    </a:lnTo>
                    <a:lnTo>
                      <a:pt x="309787" y="192878"/>
                    </a:lnTo>
                    <a:lnTo>
                      <a:pt x="233587" y="230978"/>
                    </a:lnTo>
                    <a:lnTo>
                      <a:pt x="182787" y="272253"/>
                    </a:lnTo>
                    <a:lnTo>
                      <a:pt x="144687" y="332578"/>
                    </a:lnTo>
                    <a:lnTo>
                      <a:pt x="139855" y="38089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3" name="Freeform: Shape 32">
                <a:extLst>
                  <a:ext uri="{FF2B5EF4-FFF2-40B4-BE49-F238E27FC236}">
                    <a16:creationId xmlns:a16="http://schemas.microsoft.com/office/drawing/2014/main" id="{95B0BA4B-C6D6-4DB6-ADCA-8C56D6EB6619}"/>
                  </a:ext>
                </a:extLst>
              </p:cNvPr>
              <p:cNvSpPr/>
              <p:nvPr/>
            </p:nvSpPr>
            <p:spPr>
              <a:xfrm>
                <a:off x="587375" y="909547"/>
                <a:ext cx="11017250" cy="410852"/>
              </a:xfrm>
              <a:custGeom>
                <a:avLst/>
                <a:gdLst>
                  <a:gd name="connsiteX0" fmla="*/ 236095 w 11017250"/>
                  <a:gd name="connsiteY0" fmla="*/ 77873 h 410852"/>
                  <a:gd name="connsiteX1" fmla="*/ 108542 w 11017250"/>
                  <a:gd name="connsiteY1" fmla="*/ 205426 h 410852"/>
                  <a:gd name="connsiteX2" fmla="*/ 236095 w 11017250"/>
                  <a:gd name="connsiteY2" fmla="*/ 332979 h 410852"/>
                  <a:gd name="connsiteX3" fmla="*/ 10781155 w 11017250"/>
                  <a:gd name="connsiteY3" fmla="*/ 332979 h 410852"/>
                  <a:gd name="connsiteX4" fmla="*/ 10908708 w 11017250"/>
                  <a:gd name="connsiteY4" fmla="*/ 205426 h 410852"/>
                  <a:gd name="connsiteX5" fmla="*/ 10781155 w 11017250"/>
                  <a:gd name="connsiteY5" fmla="*/ 77873 h 410852"/>
                  <a:gd name="connsiteX6" fmla="*/ 205426 w 11017250"/>
                  <a:gd name="connsiteY6" fmla="*/ 0 h 410852"/>
                  <a:gd name="connsiteX7" fmla="*/ 10811824 w 11017250"/>
                  <a:gd name="connsiteY7" fmla="*/ 0 h 410852"/>
                  <a:gd name="connsiteX8" fmla="*/ 11017250 w 11017250"/>
                  <a:gd name="connsiteY8" fmla="*/ 205426 h 410852"/>
                  <a:gd name="connsiteX9" fmla="*/ 10811824 w 11017250"/>
                  <a:gd name="connsiteY9" fmla="*/ 410852 h 410852"/>
                  <a:gd name="connsiteX10" fmla="*/ 205426 w 11017250"/>
                  <a:gd name="connsiteY10" fmla="*/ 410852 h 410852"/>
                  <a:gd name="connsiteX11" fmla="*/ 0 w 11017250"/>
                  <a:gd name="connsiteY11" fmla="*/ 205426 h 410852"/>
                  <a:gd name="connsiteX12" fmla="*/ 205426 w 11017250"/>
                  <a:gd name="connsiteY12" fmla="*/ 0 h 41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7250" h="410852">
                    <a:moveTo>
                      <a:pt x="236095" y="77873"/>
                    </a:moveTo>
                    <a:cubicBezTo>
                      <a:pt x="165649" y="77873"/>
                      <a:pt x="108542" y="134980"/>
                      <a:pt x="108542" y="205426"/>
                    </a:cubicBezTo>
                    <a:cubicBezTo>
                      <a:pt x="108542" y="275872"/>
                      <a:pt x="165649" y="332979"/>
                      <a:pt x="236095" y="332979"/>
                    </a:cubicBezTo>
                    <a:lnTo>
                      <a:pt x="10781155" y="332979"/>
                    </a:lnTo>
                    <a:cubicBezTo>
                      <a:pt x="10851601" y="332979"/>
                      <a:pt x="10908708" y="275872"/>
                      <a:pt x="10908708" y="205426"/>
                    </a:cubicBezTo>
                    <a:cubicBezTo>
                      <a:pt x="10908708" y="134980"/>
                      <a:pt x="10851601" y="77873"/>
                      <a:pt x="10781155" y="77873"/>
                    </a:cubicBezTo>
                    <a:close/>
                    <a:moveTo>
                      <a:pt x="205426" y="0"/>
                    </a:moveTo>
                    <a:lnTo>
                      <a:pt x="10811824" y="0"/>
                    </a:lnTo>
                    <a:cubicBezTo>
                      <a:pt x="10925278" y="0"/>
                      <a:pt x="11017250" y="91972"/>
                      <a:pt x="11017250" y="205426"/>
                    </a:cubicBezTo>
                    <a:cubicBezTo>
                      <a:pt x="11017250" y="318880"/>
                      <a:pt x="10925278" y="410852"/>
                      <a:pt x="10811824" y="410852"/>
                    </a:cubicBezTo>
                    <a:lnTo>
                      <a:pt x="205426" y="410852"/>
                    </a:lnTo>
                    <a:cubicBezTo>
                      <a:pt x="91972" y="410852"/>
                      <a:pt x="0" y="318880"/>
                      <a:pt x="0" y="205426"/>
                    </a:cubicBezTo>
                    <a:cubicBezTo>
                      <a:pt x="0" y="91972"/>
                      <a:pt x="91972" y="0"/>
                      <a:pt x="205426" y="0"/>
                    </a:cubicBezTo>
                    <a:close/>
                  </a:path>
                </a:pathLst>
              </a:custGeom>
              <a:solidFill>
                <a:srgbClr val="4322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b="1" dirty="0">
                  <a:solidFill>
                    <a:schemeClr val="bg2"/>
                  </a:solidFill>
                </a:endParaRPr>
              </a:p>
            </p:txBody>
          </p:sp>
        </p:grpSp>
        <p:sp>
          <p:nvSpPr>
            <p:cNvPr id="36" name="TextBox 35">
              <a:extLst>
                <a:ext uri="{FF2B5EF4-FFF2-40B4-BE49-F238E27FC236}">
                  <a16:creationId xmlns:a16="http://schemas.microsoft.com/office/drawing/2014/main" id="{617D1380-9975-49ED-AEDE-2B026E3EA73E}"/>
                </a:ext>
              </a:extLst>
            </p:cNvPr>
            <p:cNvSpPr txBox="1"/>
            <p:nvPr/>
          </p:nvSpPr>
          <p:spPr>
            <a:xfrm>
              <a:off x="3263900" y="945634"/>
              <a:ext cx="6096000" cy="338554"/>
            </a:xfrm>
            <a:prstGeom prst="rect">
              <a:avLst/>
            </a:prstGeom>
            <a:noFill/>
          </p:spPr>
          <p:txBody>
            <a:bodyPr wrap="square" anchor="ctr">
              <a:spAutoFit/>
            </a:bodyPr>
            <a:lstStyle/>
            <a:p>
              <a:pPr algn="ctr"/>
              <a:r>
                <a:rPr lang="en-IN" sz="1600" b="1" dirty="0">
                  <a:solidFill>
                    <a:schemeClr val="bg2"/>
                  </a:solidFill>
                </a:rPr>
                <a:t>Global IPO Market Overview</a:t>
              </a:r>
            </a:p>
          </p:txBody>
        </p:sp>
      </p:grpSp>
      <p:sp>
        <p:nvSpPr>
          <p:cNvPr id="2" name="TextBox 1">
            <a:extLst>
              <a:ext uri="{FF2B5EF4-FFF2-40B4-BE49-F238E27FC236}">
                <a16:creationId xmlns:a16="http://schemas.microsoft.com/office/drawing/2014/main" id="{F23FD7A3-B531-4FC2-B177-F1DB1C37FC4A}"/>
              </a:ext>
            </a:extLst>
          </p:cNvPr>
          <p:cNvSpPr txBox="1"/>
          <p:nvPr/>
        </p:nvSpPr>
        <p:spPr>
          <a:xfrm>
            <a:off x="571500" y="6543674"/>
            <a:ext cx="8788400" cy="161925"/>
          </a:xfrm>
          <a:prstGeom prst="rect">
            <a:avLst/>
          </a:prstGeom>
          <a:noFill/>
        </p:spPr>
        <p:txBody>
          <a:bodyPr wrap="square" lIns="45720" rtlCol="0" anchor="ctr">
            <a:noAutofit/>
          </a:bodyPr>
          <a:lstStyle/>
          <a:p>
            <a:pPr algn="l">
              <a:lnSpc>
                <a:spcPct val="90000"/>
              </a:lnSpc>
              <a:spcBef>
                <a:spcPts val="800"/>
              </a:spcBef>
              <a:buClr>
                <a:srgbClr val="E0044E"/>
              </a:buClr>
            </a:pPr>
            <a:r>
              <a:rPr lang="en-US" sz="900" dirty="0">
                <a:latin typeface="Segoe UI" panose="020B0502040204020203" pitchFamily="34" charset="0"/>
                <a:cs typeface="Segoe UI" panose="020B0502040204020203" pitchFamily="34" charset="0"/>
              </a:rPr>
              <a:t>Source: EY, PwC, Press</a:t>
            </a:r>
            <a:endParaRPr lang="en-IN" sz="900" dirty="0">
              <a:latin typeface="Segoe UI" panose="020B0502040204020203" pitchFamily="34" charset="0"/>
              <a:cs typeface="Segoe UI" panose="020B0502040204020203" pitchFamily="34" charset="0"/>
            </a:endParaRPr>
          </a:p>
        </p:txBody>
      </p:sp>
      <p:graphicFrame>
        <p:nvGraphicFramePr>
          <p:cNvPr id="6" name="Chart 5">
            <a:extLst>
              <a:ext uri="{FF2B5EF4-FFF2-40B4-BE49-F238E27FC236}">
                <a16:creationId xmlns:a16="http://schemas.microsoft.com/office/drawing/2014/main" id="{A81071A9-25CC-42C3-9459-6FCF58A56660}"/>
              </a:ext>
            </a:extLst>
          </p:cNvPr>
          <p:cNvGraphicFramePr/>
          <p:nvPr>
            <p:extLst>
              <p:ext uri="{D42A27DB-BD31-4B8C-83A1-F6EECF244321}">
                <p14:modId xmlns:p14="http://schemas.microsoft.com/office/powerpoint/2010/main" val="2528080296"/>
              </p:ext>
            </p:extLst>
          </p:nvPr>
        </p:nvGraphicFramePr>
        <p:xfrm>
          <a:off x="587375" y="1727200"/>
          <a:ext cx="10707624" cy="191957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7">
            <a:extLst>
              <a:ext uri="{FF2B5EF4-FFF2-40B4-BE49-F238E27FC236}">
                <a16:creationId xmlns:a16="http://schemas.microsoft.com/office/drawing/2014/main" id="{B5F48EC2-734A-43AD-BE57-AC2C028F298E}"/>
              </a:ext>
            </a:extLst>
          </p:cNvPr>
          <p:cNvGraphicFramePr>
            <a:graphicFrameLocks noGrp="1"/>
          </p:cNvGraphicFramePr>
          <p:nvPr>
            <p:extLst>
              <p:ext uri="{D42A27DB-BD31-4B8C-83A1-F6EECF244321}">
                <p14:modId xmlns:p14="http://schemas.microsoft.com/office/powerpoint/2010/main" val="1411501151"/>
              </p:ext>
            </p:extLst>
          </p:nvPr>
        </p:nvGraphicFramePr>
        <p:xfrm>
          <a:off x="572860" y="1436648"/>
          <a:ext cx="10706094" cy="405094"/>
        </p:xfrm>
        <a:graphic>
          <a:graphicData uri="http://schemas.openxmlformats.org/drawingml/2006/table">
            <a:tbl>
              <a:tblPr firstRow="1" bandRow="1">
                <a:tableStyleId>{6E25E649-3F16-4E02-A733-19D2CDBF48F0}</a:tableStyleId>
              </a:tblPr>
              <a:tblGrid>
                <a:gridCol w="1189566">
                  <a:extLst>
                    <a:ext uri="{9D8B030D-6E8A-4147-A177-3AD203B41FA5}">
                      <a16:colId xmlns:a16="http://schemas.microsoft.com/office/drawing/2014/main" val="4250289056"/>
                    </a:ext>
                  </a:extLst>
                </a:gridCol>
                <a:gridCol w="1189566">
                  <a:extLst>
                    <a:ext uri="{9D8B030D-6E8A-4147-A177-3AD203B41FA5}">
                      <a16:colId xmlns:a16="http://schemas.microsoft.com/office/drawing/2014/main" val="1622359329"/>
                    </a:ext>
                  </a:extLst>
                </a:gridCol>
                <a:gridCol w="1189566">
                  <a:extLst>
                    <a:ext uri="{9D8B030D-6E8A-4147-A177-3AD203B41FA5}">
                      <a16:colId xmlns:a16="http://schemas.microsoft.com/office/drawing/2014/main" val="4026755770"/>
                    </a:ext>
                  </a:extLst>
                </a:gridCol>
                <a:gridCol w="1189566">
                  <a:extLst>
                    <a:ext uri="{9D8B030D-6E8A-4147-A177-3AD203B41FA5}">
                      <a16:colId xmlns:a16="http://schemas.microsoft.com/office/drawing/2014/main" val="2175228803"/>
                    </a:ext>
                  </a:extLst>
                </a:gridCol>
                <a:gridCol w="1189566">
                  <a:extLst>
                    <a:ext uri="{9D8B030D-6E8A-4147-A177-3AD203B41FA5}">
                      <a16:colId xmlns:a16="http://schemas.microsoft.com/office/drawing/2014/main" val="2265923654"/>
                    </a:ext>
                  </a:extLst>
                </a:gridCol>
                <a:gridCol w="1189566">
                  <a:extLst>
                    <a:ext uri="{9D8B030D-6E8A-4147-A177-3AD203B41FA5}">
                      <a16:colId xmlns:a16="http://schemas.microsoft.com/office/drawing/2014/main" val="4178897678"/>
                    </a:ext>
                  </a:extLst>
                </a:gridCol>
                <a:gridCol w="1189566">
                  <a:extLst>
                    <a:ext uri="{9D8B030D-6E8A-4147-A177-3AD203B41FA5}">
                      <a16:colId xmlns:a16="http://schemas.microsoft.com/office/drawing/2014/main" val="751936685"/>
                    </a:ext>
                  </a:extLst>
                </a:gridCol>
                <a:gridCol w="1189566">
                  <a:extLst>
                    <a:ext uri="{9D8B030D-6E8A-4147-A177-3AD203B41FA5}">
                      <a16:colId xmlns:a16="http://schemas.microsoft.com/office/drawing/2014/main" val="2930558130"/>
                    </a:ext>
                  </a:extLst>
                </a:gridCol>
                <a:gridCol w="1189566">
                  <a:extLst>
                    <a:ext uri="{9D8B030D-6E8A-4147-A177-3AD203B41FA5}">
                      <a16:colId xmlns:a16="http://schemas.microsoft.com/office/drawing/2014/main" val="2263612513"/>
                    </a:ext>
                  </a:extLst>
                </a:gridCol>
              </a:tblGrid>
              <a:tr h="202547">
                <a:tc gridSpan="8">
                  <a:txBody>
                    <a:bodyPr/>
                    <a:lstStyle/>
                    <a:p>
                      <a:pPr algn="l"/>
                      <a:r>
                        <a:rPr lang="en-US" sz="1100" b="1" i="1" dirty="0">
                          <a:solidFill>
                            <a:schemeClr val="tx2"/>
                          </a:solidFill>
                          <a:latin typeface="+mn-lt"/>
                        </a:rPr>
                        <a:t>Average IPO Value ($Mn)</a:t>
                      </a:r>
                      <a:endParaRPr lang="en-IN" sz="1100" b="1" i="1" dirty="0">
                        <a:solidFill>
                          <a:schemeClr val="tx2"/>
                        </a:solidFill>
                        <a:latin typeface="+mn-lt"/>
                      </a:endParaRPr>
                    </a:p>
                  </a:txBody>
                  <a:tcPr marL="0" marR="0" marT="0" marB="0" anchor="ctr">
                    <a:lnL>
                      <a:noFill/>
                    </a:lnL>
                    <a:lnR>
                      <a:noFill/>
                    </a:lnR>
                    <a:lnT w="25400" cmpd="sng">
                      <a:noFill/>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IN" sz="1100" dirty="0">
                        <a:solidFill>
                          <a:schemeClr val="tx1"/>
                        </a:solidFill>
                        <a:latin typeface="+mn-lt"/>
                      </a:endParaRP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hMerge="1">
                  <a:txBody>
                    <a:bodyPr/>
                    <a:lstStyle/>
                    <a:p>
                      <a:pPr algn="ctr"/>
                      <a:endParaRPr lang="en-IN" sz="1100" dirty="0">
                        <a:solidFill>
                          <a:schemeClr val="tx1"/>
                        </a:solidFill>
                        <a:latin typeface="+mn-lt"/>
                      </a:endParaRP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hMerge="1">
                  <a:txBody>
                    <a:bodyPr/>
                    <a:lstStyle/>
                    <a:p>
                      <a:pPr algn="ctr"/>
                      <a:endParaRPr lang="en-IN" sz="1100" dirty="0">
                        <a:solidFill>
                          <a:schemeClr val="tx1"/>
                        </a:solidFill>
                        <a:latin typeface="+mn-lt"/>
                      </a:endParaRP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hMerge="1">
                  <a:txBody>
                    <a:bodyPr/>
                    <a:lstStyle/>
                    <a:p>
                      <a:pPr algn="ctr"/>
                      <a:endParaRPr lang="en-IN" sz="1100" dirty="0">
                        <a:solidFill>
                          <a:schemeClr val="tx1"/>
                        </a:solidFill>
                        <a:latin typeface="+mn-lt"/>
                      </a:endParaRP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hMerge="1">
                  <a:txBody>
                    <a:bodyPr/>
                    <a:lstStyle/>
                    <a:p>
                      <a:pPr algn="ctr"/>
                      <a:endParaRPr lang="en-IN" sz="1100" dirty="0">
                        <a:solidFill>
                          <a:schemeClr val="tx1"/>
                        </a:solidFill>
                        <a:latin typeface="+mn-lt"/>
                      </a:endParaRP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hMerge="1">
                  <a:txBody>
                    <a:bodyPr/>
                    <a:lstStyle/>
                    <a:p>
                      <a:pPr algn="ctr"/>
                      <a:endParaRPr lang="en-IN" sz="1100" dirty="0">
                        <a:solidFill>
                          <a:schemeClr val="tx1"/>
                        </a:solidFill>
                        <a:latin typeface="+mn-lt"/>
                      </a:endParaRP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hMerge="1">
                  <a:txBody>
                    <a:bodyPr/>
                    <a:lstStyle/>
                    <a:p>
                      <a:pPr algn="ctr"/>
                      <a:endParaRPr lang="en-IN" sz="1100" dirty="0">
                        <a:solidFill>
                          <a:schemeClr val="tx1"/>
                        </a:solidFill>
                        <a:latin typeface="+mn-lt"/>
                      </a:endParaRPr>
                    </a:p>
                  </a:txBody>
                  <a:tcPr marL="0" marR="0" marT="0" marB="0"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algn="l"/>
                      <a:endParaRPr lang="en-IN" sz="1100" b="1" i="1" dirty="0">
                        <a:solidFill>
                          <a:schemeClr val="tx2"/>
                        </a:solidFill>
                        <a:latin typeface="+mn-lt"/>
                      </a:endParaRPr>
                    </a:p>
                  </a:txBody>
                  <a:tcPr marL="0" marR="0" marT="0" marB="0" anchor="ctr">
                    <a:lnL>
                      <a:noFill/>
                    </a:lnL>
                    <a:lnR>
                      <a:noFill/>
                    </a:lnR>
                    <a:lnT w="25400" cmpd="sng">
                      <a:noFill/>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35869402"/>
                  </a:ext>
                </a:extLst>
              </a:tr>
              <a:tr h="202547">
                <a:tc>
                  <a:txBody>
                    <a:bodyPr/>
                    <a:lstStyle/>
                    <a:p>
                      <a:pPr algn="ctr" fontAlgn="b"/>
                      <a:r>
                        <a:rPr lang="en-IN" sz="1100" b="1" i="0" u="none" strike="noStrike" dirty="0">
                          <a:solidFill>
                            <a:schemeClr val="tx2"/>
                          </a:solidFill>
                          <a:effectLst/>
                          <a:latin typeface="+mn-lt"/>
                        </a:rPr>
                        <a:t>$125.6</a:t>
                      </a:r>
                    </a:p>
                  </a:txBody>
                  <a:tcPr marL="0" marR="0" marT="0" marB="0" anchor="ctr">
                    <a:lnL w="12700" cap="flat" cmpd="sng" algn="ctr">
                      <a:solidFill>
                        <a:schemeClr val="bg2"/>
                      </a:solidFill>
                      <a:prstDash val="sysDash"/>
                      <a:round/>
                      <a:headEnd type="none" w="med" len="med"/>
                      <a:tailEnd type="none" w="med" len="med"/>
                    </a:lnL>
                    <a:lnR>
                      <a:noFill/>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100" b="1" i="0" u="none" strike="noStrike" dirty="0">
                          <a:solidFill>
                            <a:schemeClr val="tx2"/>
                          </a:solidFill>
                          <a:effectLst/>
                          <a:latin typeface="+mn-lt"/>
                        </a:rPr>
                        <a:t>$112.2</a:t>
                      </a:r>
                    </a:p>
                  </a:txBody>
                  <a:tcPr marL="0" marR="0" marT="0" marB="0" anchor="ctr">
                    <a:lnL>
                      <a:noFill/>
                    </a:lnL>
                    <a:lnR>
                      <a:noFill/>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100" b="1" i="0" u="none" strike="noStrike" dirty="0">
                          <a:solidFill>
                            <a:schemeClr val="tx2"/>
                          </a:solidFill>
                          <a:effectLst/>
                          <a:latin typeface="+mn-lt"/>
                        </a:rPr>
                        <a:t>$148.8</a:t>
                      </a:r>
                    </a:p>
                  </a:txBody>
                  <a:tcPr marL="0" marR="0" marT="0" marB="0" anchor="ctr">
                    <a:lnL>
                      <a:noFill/>
                    </a:lnL>
                    <a:lnR>
                      <a:noFill/>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100" b="1" i="0" u="none" strike="noStrike" dirty="0">
                          <a:solidFill>
                            <a:schemeClr val="tx2"/>
                          </a:solidFill>
                          <a:effectLst/>
                          <a:latin typeface="+mn-lt"/>
                        </a:rPr>
                        <a:t>$181.8</a:t>
                      </a:r>
                    </a:p>
                  </a:txBody>
                  <a:tcPr marL="0" marR="0" marT="0" marB="0" anchor="ctr">
                    <a:lnL>
                      <a:noFill/>
                    </a:lnL>
                    <a:lnR>
                      <a:noFill/>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100" b="1" i="0" u="none" strike="noStrike" dirty="0">
                          <a:solidFill>
                            <a:schemeClr val="tx2"/>
                          </a:solidFill>
                          <a:effectLst/>
                          <a:latin typeface="+mn-lt"/>
                        </a:rPr>
                        <a:t>$186.8</a:t>
                      </a:r>
                    </a:p>
                  </a:txBody>
                  <a:tcPr marL="0" marR="0" marT="0" marB="0" anchor="ctr">
                    <a:lnL>
                      <a:noFill/>
                    </a:lnL>
                    <a:lnR>
                      <a:noFill/>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100" b="1" i="0" u="none" strike="noStrike" dirty="0">
                          <a:solidFill>
                            <a:schemeClr val="tx2"/>
                          </a:solidFill>
                          <a:effectLst/>
                          <a:latin typeface="+mn-lt"/>
                        </a:rPr>
                        <a:t>$188.8</a:t>
                      </a:r>
                    </a:p>
                  </a:txBody>
                  <a:tcPr marL="0" marR="0" marT="0" marB="0" anchor="ctr">
                    <a:lnL>
                      <a:noFill/>
                    </a:lnL>
                    <a:lnR>
                      <a:noFill/>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IN" sz="1100" b="1" i="0" u="none" strike="noStrike" dirty="0">
                          <a:solidFill>
                            <a:schemeClr val="tx2"/>
                          </a:solidFill>
                          <a:effectLst/>
                          <a:latin typeface="+mn-lt"/>
                        </a:rPr>
                        <a:t>$130.2</a:t>
                      </a:r>
                    </a:p>
                  </a:txBody>
                  <a:tcPr marL="0" marR="0" marT="0" marB="0" anchor="ctr">
                    <a:lnL>
                      <a:noFill/>
                    </a:lnL>
                    <a:lnR>
                      <a:noFill/>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chemeClr val="tx2"/>
                          </a:solidFill>
                          <a:effectLst/>
                          <a:latin typeface="+mn-lt"/>
                        </a:rPr>
                        <a:t>$93.3</a:t>
                      </a:r>
                      <a:endParaRPr lang="en-IN" sz="1100" b="1" i="0" u="none" strike="noStrike" dirty="0">
                        <a:solidFill>
                          <a:schemeClr val="tx2"/>
                        </a:solidFill>
                        <a:effectLst/>
                        <a:latin typeface="+mn-lt"/>
                      </a:endParaRPr>
                    </a:p>
                  </a:txBody>
                  <a:tcPr marL="0" marR="0" marT="0" marB="0" anchor="ctr">
                    <a:lnL>
                      <a:noFill/>
                    </a:lnL>
                    <a:lnR w="12700" cap="flat" cmpd="sng" algn="ctr">
                      <a:noFill/>
                      <a:prstDash val="sysDot"/>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100" b="1" i="0" u="none" strike="noStrike" dirty="0">
                          <a:solidFill>
                            <a:schemeClr val="tx2"/>
                          </a:solidFill>
                          <a:effectLst/>
                          <a:latin typeface="+mn-lt"/>
                        </a:rPr>
                        <a:t>$99.8</a:t>
                      </a:r>
                      <a:endParaRPr lang="en-IN" sz="1100" b="1" i="0" u="none" strike="noStrike" dirty="0">
                        <a:solidFill>
                          <a:schemeClr val="tx2"/>
                        </a:solidFill>
                        <a:effectLst/>
                        <a:latin typeface="+mn-lt"/>
                      </a:endParaRPr>
                    </a:p>
                  </a:txBody>
                  <a:tcPr marL="0" marR="0" marT="0" marB="0" anchor="ctr">
                    <a:lnL>
                      <a:noFill/>
                    </a:lnL>
                    <a:lnR w="12700" cap="flat" cmpd="sng" algn="ctr">
                      <a:solidFill>
                        <a:schemeClr val="tx1"/>
                      </a:solidFill>
                      <a:prstDash val="sysDot"/>
                      <a:round/>
                      <a:headEnd type="none" w="med" len="med"/>
                      <a:tailEnd type="none" w="med" len="med"/>
                    </a:lnR>
                    <a:lnT w="12700" cap="flat" cmpd="sng" algn="ctr">
                      <a:solidFill>
                        <a:schemeClr val="bg2"/>
                      </a:solidFill>
                      <a:prstDash val="sysDash"/>
                      <a:round/>
                      <a:headEnd type="none" w="med" len="med"/>
                      <a:tailEnd type="none" w="med" len="med"/>
                    </a:lnT>
                    <a:lnB w="12700" cap="flat" cmpd="sng" algn="ctr">
                      <a:solidFill>
                        <a:schemeClr val="bg2"/>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879229"/>
                  </a:ext>
                </a:extLst>
              </a:tr>
            </a:tbl>
          </a:graphicData>
        </a:graphic>
      </p:graphicFrame>
      <p:sp>
        <p:nvSpPr>
          <p:cNvPr id="22" name="Content Placeholder 6">
            <a:extLst>
              <a:ext uri="{FF2B5EF4-FFF2-40B4-BE49-F238E27FC236}">
                <a16:creationId xmlns:a16="http://schemas.microsoft.com/office/drawing/2014/main" id="{171EFB62-E6DB-41F8-9F61-7CDC420E4825}"/>
              </a:ext>
            </a:extLst>
          </p:cNvPr>
          <p:cNvSpPr txBox="1">
            <a:spLocks/>
          </p:cNvSpPr>
          <p:nvPr/>
        </p:nvSpPr>
        <p:spPr>
          <a:xfrm>
            <a:off x="571500" y="3541486"/>
            <a:ext cx="10721975" cy="2935513"/>
          </a:xfrm>
          <a:prstGeom prst="roundRect">
            <a:avLst>
              <a:gd name="adj" fmla="val 7305"/>
            </a:avLst>
          </a:prstGeom>
          <a:solidFill>
            <a:srgbClr val="F9F9F9"/>
          </a:solidFill>
          <a:ln>
            <a:solidFill>
              <a:schemeClr val="bg2"/>
            </a:solidFill>
            <a:prstDash val="solid"/>
          </a:ln>
        </p:spPr>
        <p:txBody>
          <a:bodyPr vert="horz" lIns="36000" tIns="72000" rIns="36000" bIns="36000" rtlCol="0" anchor="t">
            <a:noAutofit/>
          </a:bodyPr>
          <a:lstStyle>
            <a:lvl1pPr marL="228600" indent="-228600" algn="l" defTabSz="914400" rtl="0" eaLnBrk="1" latinLnBrk="0" hangingPunct="1">
              <a:lnSpc>
                <a:spcPct val="100000"/>
              </a:lnSpc>
              <a:spcBef>
                <a:spcPts val="600"/>
              </a:spcBef>
              <a:spcAft>
                <a:spcPts val="300"/>
              </a:spcAft>
              <a:buClr>
                <a:schemeClr val="tx1"/>
              </a:buClr>
              <a:buSzPct val="130000"/>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228600" algn="l" defTabSz="914400" rtl="0" eaLnBrk="1" latinLnBrk="0" hangingPunct="1">
              <a:lnSpc>
                <a:spcPct val="100000"/>
              </a:lnSpc>
              <a:spcBef>
                <a:spcPts val="600"/>
              </a:spcBef>
              <a:spcAft>
                <a:spcPts val="300"/>
              </a:spcAft>
              <a:buClr>
                <a:schemeClr val="tx1"/>
              </a:buClr>
              <a:buFont typeface="Segoe UI" panose="020B0502040204020203"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685800" indent="-228600" algn="l" defTabSz="914400" rtl="0" eaLnBrk="1" latinLnBrk="0" hangingPunct="1">
              <a:lnSpc>
                <a:spcPct val="100000"/>
              </a:lnSpc>
              <a:spcBef>
                <a:spcPts val="600"/>
              </a:spcBef>
              <a:spcAft>
                <a:spcPts val="300"/>
              </a:spcAft>
              <a:buClr>
                <a:schemeClr val="tx1"/>
              </a:buClr>
              <a:buSzPct val="100000"/>
              <a:buFont typeface="Courier New" panose="02070309020205020404" pitchFamily="49" charset="0"/>
              <a:buChar char="o"/>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144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1430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944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j-lt"/>
                <a:ea typeface="Lato" panose="020F0502020204030203" pitchFamily="34" charset="0"/>
                <a:cs typeface="Poppins" panose="00000500000000000000" pitchFamily="50" charset="0"/>
              </a:defRPr>
            </a:lvl6pPr>
            <a:lvl7pPr marL="2268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n-lt"/>
                <a:ea typeface="Lato" panose="020F0502020204030203" pitchFamily="34" charset="0"/>
                <a:cs typeface="Poppins" panose="00000500000000000000" pitchFamily="50" charset="0"/>
              </a:defRPr>
            </a:lvl7pPr>
            <a:lvl8pPr marL="2592000" indent="-342000" algn="l" defTabSz="914400" rtl="0" eaLnBrk="1" latinLnBrk="0" hangingPunct="1">
              <a:lnSpc>
                <a:spcPct val="90000"/>
              </a:lnSpc>
              <a:spcBef>
                <a:spcPts val="800"/>
              </a:spcBef>
              <a:buClr>
                <a:srgbClr val="E0044E"/>
              </a:buClr>
              <a:buFont typeface="Arial" panose="020B0604020202020204" pitchFamily="34" charset="0"/>
              <a:buChar char="•"/>
              <a:defRPr sz="1600" b="0" i="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182880">
              <a:lnSpc>
                <a:spcPts val="1700"/>
              </a:lnSpc>
              <a:spcBef>
                <a:spcPts val="200"/>
              </a:spcBef>
            </a:pPr>
            <a:r>
              <a:rPr lang="en-US" sz="1200" dirty="0"/>
              <a:t>IPO activity has experienced significant fluctuations over the years, peaking in 2021 with 2,436 IPOs before entering a downward trend in both deal volume and total proceeds</a:t>
            </a:r>
          </a:p>
          <a:p>
            <a:pPr marL="182880" indent="-182880">
              <a:lnSpc>
                <a:spcPts val="1700"/>
              </a:lnSpc>
              <a:spcBef>
                <a:spcPts val="200"/>
              </a:spcBef>
            </a:pPr>
            <a:r>
              <a:rPr lang="en-US" sz="1200" dirty="0"/>
              <a:t>In 2024, Global IPO market slowed down with 1,215 IPOs (10% drop YoY) and $121.2Bn proceeds (4% drop YoY). On comparison with the deal activity of pre-pandemic year (2019), global IPO offerings were still up 6% up in 2024, but total proceed generated have dropped by a significant 42%</a:t>
            </a:r>
          </a:p>
          <a:p>
            <a:pPr marL="411480" lvl="1" indent="-182880">
              <a:lnSpc>
                <a:spcPts val="1700"/>
              </a:lnSpc>
              <a:spcBef>
                <a:spcPts val="200"/>
              </a:spcBef>
            </a:pPr>
            <a:r>
              <a:rPr lang="en-US" sz="1200" dirty="0"/>
              <a:t>The Asia-Pacific region faced a confluence of economic, political and geopolitical uncertainty and restrictive global monetary policies which drove the IPO activity in the region to 11-year low. The companies are delaying or reconsidering their listings due to tightened liquidity, challenging valuations, post-IPO underperformance and weakened confidence</a:t>
            </a:r>
          </a:p>
          <a:p>
            <a:pPr marL="411480" lvl="1" indent="-182880">
              <a:lnSpc>
                <a:spcPts val="1700"/>
              </a:lnSpc>
              <a:spcBef>
                <a:spcPts val="200"/>
              </a:spcBef>
            </a:pPr>
            <a:r>
              <a:rPr lang="en-US" sz="1200" dirty="0"/>
              <a:t>Americas and EMEIA witnessed a relatively more stabilized IPO market than Asia-Pacific. However, the resolution of the US presidential election quelled pre-election jitters and post-election tariff announcement introduced fresh uncertainties</a:t>
            </a:r>
          </a:p>
          <a:p>
            <a:pPr marL="411480" lvl="1" indent="-182880">
              <a:lnSpc>
                <a:spcPts val="1700"/>
              </a:lnSpc>
              <a:spcBef>
                <a:spcPts val="200"/>
              </a:spcBef>
            </a:pPr>
            <a:r>
              <a:rPr lang="en-US" sz="1200" dirty="0"/>
              <a:t>India led in IPO volume with 327 deals, while the U.S. attained the top spot in terms of proceeds, raising $32.8Bn from 183 IPOs. Despite economic headwinds, Mainland China delivered the highest IPO returns at 123.9%</a:t>
            </a:r>
          </a:p>
        </p:txBody>
      </p:sp>
    </p:spTree>
    <p:extLst>
      <p:ext uri="{BB962C8B-B14F-4D97-AF65-F5344CB8AC3E}">
        <p14:creationId xmlns:p14="http://schemas.microsoft.com/office/powerpoint/2010/main" val="36161315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name="Slide3">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147817E-AB33-489B-9DF3-A9955C51574D}"/>
              </a:ext>
            </a:extLst>
          </p:cNvPr>
          <p:cNvSpPr>
            <a:spLocks noGrp="1"/>
          </p:cNvSpPr>
          <p:nvPr>
            <p:ph type="title"/>
          </p:nvPr>
        </p:nvSpPr>
        <p:spPr/>
        <p:txBody>
          <a:bodyPr/>
          <a:lstStyle/>
          <a:p>
            <a:r>
              <a:rPr lang="en-US" dirty="0"/>
              <a:t>Themes / Factors Impacting 2024 Global IPO Market</a:t>
            </a:r>
          </a:p>
        </p:txBody>
      </p:sp>
      <p:sp>
        <p:nvSpPr>
          <p:cNvPr id="40" name="Slide Number Placeholder 39">
            <a:extLst>
              <a:ext uri="{FF2B5EF4-FFF2-40B4-BE49-F238E27FC236}">
                <a16:creationId xmlns:a16="http://schemas.microsoft.com/office/drawing/2014/main" id="{C7532BC8-4745-4BB2-8C81-6C639A6284C4}"/>
              </a:ext>
            </a:extLst>
          </p:cNvPr>
          <p:cNvSpPr>
            <a:spLocks noGrp="1"/>
          </p:cNvSpPr>
          <p:nvPr>
            <p:ph type="sldNum" sz="quarter" idx="17"/>
          </p:nvPr>
        </p:nvSpPr>
        <p:spPr/>
        <p:txBody>
          <a:bodyPr/>
          <a:lstStyle/>
          <a:p>
            <a:fld id="{2604F1CA-F590-4AD7-82C4-33C5478F726E}" type="slidenum">
              <a:rPr lang="en-GB" smtClean="0"/>
              <a:pPr/>
              <a:t>3</a:t>
            </a:fld>
            <a:endParaRPr lang="en-GB" dirty="0"/>
          </a:p>
        </p:txBody>
      </p:sp>
      <p:grpSp>
        <p:nvGrpSpPr>
          <p:cNvPr id="8" name="Group 7">
            <a:extLst>
              <a:ext uri="{FF2B5EF4-FFF2-40B4-BE49-F238E27FC236}">
                <a16:creationId xmlns:a16="http://schemas.microsoft.com/office/drawing/2014/main" id="{49224623-B922-4E4D-9DFF-B1D6C94CD21E}"/>
              </a:ext>
            </a:extLst>
          </p:cNvPr>
          <p:cNvGrpSpPr>
            <a:grpSpLocks/>
          </p:cNvGrpSpPr>
          <p:nvPr/>
        </p:nvGrpSpPr>
        <p:grpSpPr>
          <a:xfrm>
            <a:off x="571501" y="1534673"/>
            <a:ext cx="10721974" cy="3685028"/>
            <a:chOff x="773044" y="1412285"/>
            <a:chExt cx="10157790" cy="3795818"/>
          </a:xfrm>
          <a:solidFill>
            <a:srgbClr val="F9F9F9"/>
          </a:solidFill>
        </p:grpSpPr>
        <p:sp>
          <p:nvSpPr>
            <p:cNvPr id="14" name="Content Placeholder 6">
              <a:extLst>
                <a:ext uri="{FF2B5EF4-FFF2-40B4-BE49-F238E27FC236}">
                  <a16:creationId xmlns:a16="http://schemas.microsoft.com/office/drawing/2014/main" id="{3E5D9FD1-D6B7-42C1-80CF-CF89678661D2}"/>
                </a:ext>
              </a:extLst>
            </p:cNvPr>
            <p:cNvSpPr txBox="1">
              <a:spLocks/>
            </p:cNvSpPr>
            <p:nvPr/>
          </p:nvSpPr>
          <p:spPr>
            <a:xfrm>
              <a:off x="773044" y="1412285"/>
              <a:ext cx="5004904" cy="3795818"/>
            </a:xfrm>
            <a:prstGeom prst="roundRect">
              <a:avLst>
                <a:gd name="adj" fmla="val 4418"/>
              </a:avLst>
            </a:prstGeom>
            <a:grpFill/>
            <a:ln>
              <a:solidFill>
                <a:srgbClr val="43224D"/>
              </a:solidFill>
              <a:prstDash val="solid"/>
            </a:ln>
          </p:spPr>
          <p:txBody>
            <a:bodyPr vert="horz" lIns="45720" tIns="45720" rIns="45720" bIns="36000" rtlCol="0" anchor="t">
              <a:noAutofit/>
            </a:bodyPr>
            <a:lstStyle>
              <a:lvl1pPr marL="228600" indent="-228600" algn="l" defTabSz="914400" rtl="0" eaLnBrk="1" latinLnBrk="0" hangingPunct="1">
                <a:lnSpc>
                  <a:spcPct val="100000"/>
                </a:lnSpc>
                <a:spcBef>
                  <a:spcPts val="600"/>
                </a:spcBef>
                <a:spcAft>
                  <a:spcPts val="300"/>
                </a:spcAft>
                <a:buClr>
                  <a:schemeClr val="tx1"/>
                </a:buClr>
                <a:buSzPct val="130000"/>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228600" algn="l" defTabSz="914400" rtl="0" eaLnBrk="1" latinLnBrk="0" hangingPunct="1">
                <a:lnSpc>
                  <a:spcPct val="100000"/>
                </a:lnSpc>
                <a:spcBef>
                  <a:spcPts val="600"/>
                </a:spcBef>
                <a:spcAft>
                  <a:spcPts val="300"/>
                </a:spcAft>
                <a:buClr>
                  <a:schemeClr val="tx1"/>
                </a:buClr>
                <a:buFont typeface="Segoe UI" panose="020B0502040204020203"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685800" indent="-228600" algn="l" defTabSz="914400" rtl="0" eaLnBrk="1" latinLnBrk="0" hangingPunct="1">
                <a:lnSpc>
                  <a:spcPct val="100000"/>
                </a:lnSpc>
                <a:spcBef>
                  <a:spcPts val="600"/>
                </a:spcBef>
                <a:spcAft>
                  <a:spcPts val="300"/>
                </a:spcAft>
                <a:buClr>
                  <a:schemeClr val="tx1"/>
                </a:buClr>
                <a:buSzPct val="100000"/>
                <a:buFont typeface="Courier New" panose="02070309020205020404" pitchFamily="49" charset="0"/>
                <a:buChar char="o"/>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144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1430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944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j-lt"/>
                  <a:ea typeface="Lato" panose="020F0502020204030203" pitchFamily="34" charset="0"/>
                  <a:cs typeface="Poppins" panose="00000500000000000000" pitchFamily="50" charset="0"/>
                </a:defRPr>
              </a:lvl6pPr>
              <a:lvl7pPr marL="2268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n-lt"/>
                  <a:ea typeface="Lato" panose="020F0502020204030203" pitchFamily="34" charset="0"/>
                  <a:cs typeface="Poppins" panose="00000500000000000000" pitchFamily="50" charset="0"/>
                </a:defRPr>
              </a:lvl7pPr>
              <a:lvl8pPr marL="2592000" indent="-342000" algn="l" defTabSz="914400" rtl="0" eaLnBrk="1" latinLnBrk="0" hangingPunct="1">
                <a:lnSpc>
                  <a:spcPct val="90000"/>
                </a:lnSpc>
                <a:spcBef>
                  <a:spcPts val="800"/>
                </a:spcBef>
                <a:buClr>
                  <a:srgbClr val="E0044E"/>
                </a:buClr>
                <a:buFont typeface="Arial" panose="020B0604020202020204" pitchFamily="34" charset="0"/>
                <a:buChar char="•"/>
                <a:defRPr sz="1600" b="0" i="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400"/>
                </a:spcBef>
                <a:buNone/>
              </a:pPr>
              <a:r>
                <a:rPr lang="en-US" b="1" dirty="0">
                  <a:solidFill>
                    <a:schemeClr val="bg2"/>
                  </a:solidFill>
                </a:rPr>
                <a:t>Key Trends</a:t>
              </a:r>
              <a:endParaRPr lang="en-US" sz="1200" b="1" dirty="0">
                <a:solidFill>
                  <a:schemeClr val="bg2"/>
                </a:solidFill>
              </a:endParaRPr>
            </a:p>
            <a:p>
              <a:pPr marL="182880" indent="-182880">
                <a:spcBef>
                  <a:spcPts val="1000"/>
                </a:spcBef>
                <a:spcAft>
                  <a:spcPts val="0"/>
                </a:spcAft>
              </a:pPr>
              <a:r>
                <a:rPr lang="en-US" sz="1200" dirty="0"/>
                <a:t>IPOs in the Americas and EMEIA grew, but global IPO activity declined due to a slowdown in Asia-Pacific</a:t>
              </a:r>
            </a:p>
            <a:p>
              <a:pPr marL="411480" lvl="1" indent="-182880">
                <a:spcBef>
                  <a:spcPts val="1000"/>
                </a:spcBef>
                <a:spcAft>
                  <a:spcPts val="0"/>
                </a:spcAft>
              </a:pPr>
              <a:r>
                <a:rPr lang="en-US" sz="1200" dirty="0"/>
                <a:t>IPO activity in the Americas normalized to historical trends of being in upside at the year end</a:t>
              </a:r>
            </a:p>
            <a:p>
              <a:pPr marL="182880" indent="-182880">
                <a:spcBef>
                  <a:spcPts val="1000"/>
                </a:spcBef>
                <a:spcAft>
                  <a:spcPts val="0"/>
                </a:spcAft>
              </a:pPr>
              <a:r>
                <a:rPr lang="en-US" sz="1200" dirty="0"/>
                <a:t>The Industrials sector topped the market in terms of number of IPOs (253) and the Consumer sector topped in terms of proceeds ($25.4Bn)</a:t>
              </a:r>
            </a:p>
            <a:p>
              <a:pPr marL="182880" indent="-182880">
                <a:spcAft>
                  <a:spcPts val="0"/>
                </a:spcAft>
              </a:pPr>
              <a:r>
                <a:rPr lang="en-US" sz="1200" dirty="0"/>
                <a:t>Cross-border activities increased by 36% to 113 in deal count, although the average deal size shrank 48%</a:t>
              </a:r>
            </a:p>
            <a:p>
              <a:pPr marL="411480" lvl="1" indent="-182880">
                <a:spcAft>
                  <a:spcPts val="0"/>
                </a:spcAft>
              </a:pPr>
              <a:r>
                <a:rPr lang="en-US" sz="1200" dirty="0"/>
                <a:t>The US continued to be the leading IPO destination internationally accounting for 89% of the listings with a 50% YoY increase in cross-border listings</a:t>
              </a:r>
            </a:p>
            <a:p>
              <a:pPr marL="182880" indent="-182880">
                <a:spcAft>
                  <a:spcPts val="0"/>
                </a:spcAft>
              </a:pPr>
              <a:r>
                <a:rPr lang="en-US" sz="1200" dirty="0"/>
                <a:t>The ten largest IPOs have a diverse industry and geographical mix with Technology losing its top sector spot to Industrials</a:t>
              </a:r>
            </a:p>
            <a:p>
              <a:pPr marL="411480" lvl="1" indent="-182880">
                <a:spcAft>
                  <a:spcPts val="0"/>
                </a:spcAft>
              </a:pPr>
              <a:r>
                <a:rPr lang="en-US" sz="1200" dirty="0"/>
                <a:t>Top 10 IPOs contributed to ~22% of overall proceeds in 2024</a:t>
              </a:r>
            </a:p>
          </p:txBody>
        </p:sp>
        <p:sp>
          <p:nvSpPr>
            <p:cNvPr id="17" name="Content Placeholder 6">
              <a:extLst>
                <a:ext uri="{FF2B5EF4-FFF2-40B4-BE49-F238E27FC236}">
                  <a16:creationId xmlns:a16="http://schemas.microsoft.com/office/drawing/2014/main" id="{403B8FA3-A2D9-4D2A-8F7F-51995690E6F1}"/>
                </a:ext>
              </a:extLst>
            </p:cNvPr>
            <p:cNvSpPr txBox="1">
              <a:spLocks/>
            </p:cNvSpPr>
            <p:nvPr/>
          </p:nvSpPr>
          <p:spPr>
            <a:xfrm>
              <a:off x="5925930" y="1412285"/>
              <a:ext cx="5004904" cy="3795818"/>
            </a:xfrm>
            <a:prstGeom prst="roundRect">
              <a:avLst>
                <a:gd name="adj" fmla="val 4023"/>
              </a:avLst>
            </a:prstGeom>
            <a:grpFill/>
            <a:ln>
              <a:solidFill>
                <a:srgbClr val="43224D"/>
              </a:solidFill>
              <a:prstDash val="solid"/>
            </a:ln>
          </p:spPr>
          <p:txBody>
            <a:bodyPr vert="horz" lIns="45720" tIns="45720" rIns="45720" bIns="36000" rtlCol="0" anchor="t">
              <a:noAutofit/>
            </a:bodyPr>
            <a:lstStyle>
              <a:defPPr>
                <a:defRPr lang="en-US"/>
              </a:defPPr>
              <a:lvl1pPr indent="0">
                <a:lnSpc>
                  <a:spcPts val="1500"/>
                </a:lnSpc>
                <a:spcBef>
                  <a:spcPts val="300"/>
                </a:spcBef>
                <a:spcAft>
                  <a:spcPts val="300"/>
                </a:spcAft>
                <a:buClr>
                  <a:schemeClr val="tx1"/>
                </a:buClr>
                <a:buSzPct val="130000"/>
                <a:buFont typeface="Arial" panose="020B0604020202020204" pitchFamily="34" charset="0"/>
                <a:buNone/>
                <a:defRPr sz="1400" b="1" i="0" u="sng">
                  <a:latin typeface="Segoe UI" panose="020B0502040204020203" pitchFamily="34" charset="0"/>
                  <a:ea typeface="Segoe UI" panose="020B0502040204020203" pitchFamily="34" charset="0"/>
                  <a:cs typeface="Segoe UI" panose="020B0502040204020203" pitchFamily="34" charset="0"/>
                </a:defRPr>
              </a:lvl1pPr>
              <a:lvl2pPr lvl="1" indent="-228600">
                <a:lnSpc>
                  <a:spcPts val="1500"/>
                </a:lnSpc>
                <a:spcBef>
                  <a:spcPts val="300"/>
                </a:spcBef>
                <a:spcAft>
                  <a:spcPts val="300"/>
                </a:spcAft>
                <a:buClr>
                  <a:schemeClr val="tx1"/>
                </a:buClr>
                <a:buFont typeface="Segoe UI" panose="020B0502040204020203" pitchFamily="34" charset="0"/>
                <a:buChar char="–"/>
                <a:defRPr sz="1400" b="0" i="0">
                  <a:latin typeface="Segoe UI" panose="020B0502040204020203" pitchFamily="34" charset="0"/>
                  <a:ea typeface="Segoe UI" panose="020B0502040204020203" pitchFamily="34" charset="0"/>
                  <a:cs typeface="Segoe UI" panose="020B0502040204020203" pitchFamily="34" charset="0"/>
                </a:defRPr>
              </a:lvl2pPr>
              <a:lvl3pPr marL="685800" indent="-228600">
                <a:lnSpc>
                  <a:spcPct val="100000"/>
                </a:lnSpc>
                <a:spcBef>
                  <a:spcPts val="600"/>
                </a:spcBef>
                <a:spcAft>
                  <a:spcPts val="300"/>
                </a:spcAft>
                <a:buClr>
                  <a:schemeClr val="tx1"/>
                </a:buClr>
                <a:buSzPct val="100000"/>
                <a:buFont typeface="Courier New" panose="02070309020205020404" pitchFamily="49" charset="0"/>
                <a:buChar char="o"/>
                <a:defRPr sz="1600" b="0" i="0">
                  <a:latin typeface="Segoe UI" panose="020B0502040204020203" pitchFamily="34" charset="0"/>
                  <a:ea typeface="Segoe UI" panose="020B0502040204020203" pitchFamily="34" charset="0"/>
                  <a:cs typeface="Segoe UI" panose="020B0502040204020203" pitchFamily="34" charset="0"/>
                </a:defRPr>
              </a:lvl3pPr>
              <a:lvl4pPr marL="914400" indent="-228600">
                <a:lnSpc>
                  <a:spcPct val="100000"/>
                </a:lnSpc>
                <a:spcBef>
                  <a:spcPts val="600"/>
                </a:spcBef>
                <a:spcAft>
                  <a:spcPts val="300"/>
                </a:spcAft>
                <a:buClr>
                  <a:schemeClr val="tx1"/>
                </a:buClr>
                <a:buFont typeface="Arial" panose="020B0604020202020204" pitchFamily="34" charset="0"/>
                <a:buChar char="•"/>
                <a:defRPr sz="1600" b="0" i="0">
                  <a:latin typeface="Segoe UI" panose="020B0502040204020203" pitchFamily="34" charset="0"/>
                  <a:ea typeface="Segoe UI" panose="020B0502040204020203" pitchFamily="34" charset="0"/>
                  <a:cs typeface="Segoe UI" panose="020B0502040204020203" pitchFamily="34" charset="0"/>
                </a:defRPr>
              </a:lvl4pPr>
              <a:lvl5pPr marL="1143000" indent="-228600">
                <a:lnSpc>
                  <a:spcPct val="100000"/>
                </a:lnSpc>
                <a:spcBef>
                  <a:spcPts val="600"/>
                </a:spcBef>
                <a:spcAft>
                  <a:spcPts val="300"/>
                </a:spcAft>
                <a:buClr>
                  <a:schemeClr val="tx1"/>
                </a:buClr>
                <a:buFont typeface="Arial" panose="020B0604020202020204" pitchFamily="34" charset="0"/>
                <a:buChar char="•"/>
                <a:defRPr sz="1600" b="0" i="0">
                  <a:latin typeface="Segoe UI" panose="020B0502040204020203" pitchFamily="34" charset="0"/>
                  <a:ea typeface="Segoe UI" panose="020B0502040204020203" pitchFamily="34" charset="0"/>
                  <a:cs typeface="Segoe UI" panose="020B0502040204020203" pitchFamily="34" charset="0"/>
                </a:defRPr>
              </a:lvl5pPr>
              <a:lvl6pPr marL="1944000" indent="-342000">
                <a:lnSpc>
                  <a:spcPct val="90000"/>
                </a:lnSpc>
                <a:spcBef>
                  <a:spcPts val="800"/>
                </a:spcBef>
                <a:buClr>
                  <a:schemeClr val="tx1"/>
                </a:buClr>
                <a:buFont typeface="Arial" panose="020B0604020202020204" pitchFamily="34" charset="0"/>
                <a:buChar char="•"/>
                <a:defRPr sz="1600" b="0" i="0">
                  <a:latin typeface="+mj-lt"/>
                  <a:ea typeface="Lato" panose="020F0502020204030203" pitchFamily="34" charset="0"/>
                  <a:cs typeface="Poppins" panose="00000500000000000000" pitchFamily="50" charset="0"/>
                </a:defRPr>
              </a:lvl6pPr>
              <a:lvl7pPr marL="2268000" indent="-342000">
                <a:lnSpc>
                  <a:spcPct val="90000"/>
                </a:lnSpc>
                <a:spcBef>
                  <a:spcPts val="800"/>
                </a:spcBef>
                <a:buClr>
                  <a:schemeClr val="tx1"/>
                </a:buClr>
                <a:buFont typeface="Arial" panose="020B0604020202020204" pitchFamily="34" charset="0"/>
                <a:buChar char="•"/>
                <a:defRPr sz="1600" b="0" i="0">
                  <a:ea typeface="Lato" panose="020F0502020204030203" pitchFamily="34" charset="0"/>
                  <a:cs typeface="Poppins" panose="00000500000000000000" pitchFamily="50" charset="0"/>
                </a:defRPr>
              </a:lvl7pPr>
              <a:lvl8pPr marL="2592000" indent="-342000">
                <a:lnSpc>
                  <a:spcPct val="90000"/>
                </a:lnSpc>
                <a:spcBef>
                  <a:spcPts val="800"/>
                </a:spcBef>
                <a:buClr>
                  <a:srgbClr val="E0044E"/>
                </a:buClr>
                <a:buFont typeface="Arial" panose="020B0604020202020204" pitchFamily="34" charset="0"/>
                <a:buChar char="•"/>
                <a:defRPr sz="1600" b="0" i="0"/>
              </a:lvl8pPr>
              <a:lvl9pPr marL="3886200" indent="-228600">
                <a:lnSpc>
                  <a:spcPct val="90000"/>
                </a:lnSpc>
                <a:spcBef>
                  <a:spcPts val="500"/>
                </a:spcBef>
                <a:buFont typeface="Arial" panose="020B0604020202020204" pitchFamily="34" charset="0"/>
                <a:buChar char="•"/>
              </a:lvl9pPr>
            </a:lstStyle>
            <a:p>
              <a:pPr>
                <a:lnSpc>
                  <a:spcPct val="100000"/>
                </a:lnSpc>
                <a:spcBef>
                  <a:spcPts val="200"/>
                </a:spcBef>
                <a:spcAft>
                  <a:spcPts val="200"/>
                </a:spcAft>
              </a:pPr>
              <a:r>
                <a:rPr lang="en-US" sz="1600" u="none" dirty="0">
                  <a:solidFill>
                    <a:schemeClr val="bg2"/>
                  </a:solidFill>
                </a:rPr>
                <a:t>Major Thematic Highlights</a:t>
              </a:r>
            </a:p>
            <a:p>
              <a:pPr>
                <a:lnSpc>
                  <a:spcPct val="100000"/>
                </a:lnSpc>
                <a:spcBef>
                  <a:spcPts val="1000"/>
                </a:spcBef>
                <a:spcAft>
                  <a:spcPts val="200"/>
                </a:spcAft>
              </a:pPr>
              <a:r>
                <a:rPr lang="en-US" sz="1200" dirty="0"/>
                <a:t>India topped the position in IPO issuance</a:t>
              </a:r>
            </a:p>
            <a:p>
              <a:pPr marL="182880" lvl="1" indent="-182880">
                <a:lnSpc>
                  <a:spcPct val="100000"/>
                </a:lnSpc>
                <a:spcBef>
                  <a:spcPts val="200"/>
                </a:spcBef>
                <a:spcAft>
                  <a:spcPts val="200"/>
                </a:spcAft>
                <a:buFont typeface="Arial" panose="020B0604020202020204" pitchFamily="34" charset="0"/>
                <a:buChar char="•"/>
              </a:pPr>
              <a:r>
                <a:rPr lang="en-US" sz="1200" b="0" u="none" dirty="0"/>
                <a:t>India has become the global leader in IPO volumes with 327 IPO listings, nearly twice as many as the US and 2.5 times more than Europe</a:t>
              </a:r>
            </a:p>
            <a:p>
              <a:pPr>
                <a:lnSpc>
                  <a:spcPct val="100000"/>
                </a:lnSpc>
                <a:spcBef>
                  <a:spcPts val="400"/>
                </a:spcBef>
                <a:spcAft>
                  <a:spcPts val="200"/>
                </a:spcAft>
              </a:pPr>
              <a:r>
                <a:rPr lang="en-IN" sz="1200" dirty="0"/>
                <a:t>Private Equity and Venture Capital backed IPOs soared</a:t>
              </a:r>
            </a:p>
            <a:p>
              <a:pPr marL="182880" lvl="1" indent="-182880">
                <a:lnSpc>
                  <a:spcPct val="100000"/>
                </a:lnSpc>
                <a:spcBef>
                  <a:spcPts val="200"/>
                </a:spcBef>
                <a:spcAft>
                  <a:spcPts val="200"/>
                </a:spcAft>
                <a:buFont typeface="Arial" panose="020B0604020202020204" pitchFamily="34" charset="0"/>
                <a:buChar char="•"/>
              </a:pPr>
              <a:r>
                <a:rPr lang="en-US" sz="1200" b="0" u="none" dirty="0"/>
                <a:t>Improved inflation and interest rates pushed PE and VC backed IPOs fuel its resurgence in 2024 with PE /  VC backed IPOs accounting for 12% and 46% of total IPOs count and proceeds, respectively</a:t>
              </a:r>
            </a:p>
            <a:p>
              <a:pPr marL="0" lvl="1" indent="0">
                <a:lnSpc>
                  <a:spcPct val="100000"/>
                </a:lnSpc>
                <a:spcBef>
                  <a:spcPts val="200"/>
                </a:spcBef>
                <a:spcAft>
                  <a:spcPts val="200"/>
                </a:spcAft>
                <a:buNone/>
              </a:pPr>
              <a:r>
                <a:rPr lang="en-US" sz="1200" b="1" u="sng" dirty="0"/>
                <a:t>Health and Life Sciences sector IPOs jump</a:t>
              </a:r>
            </a:p>
            <a:p>
              <a:pPr marL="182880" lvl="1" indent="-182880">
                <a:lnSpc>
                  <a:spcPct val="100000"/>
                </a:lnSpc>
                <a:spcBef>
                  <a:spcPts val="200"/>
                </a:spcBef>
                <a:spcAft>
                  <a:spcPts val="200"/>
                </a:spcAft>
                <a:buFont typeface="Arial" panose="020B0604020202020204" pitchFamily="34" charset="0"/>
                <a:buChar char="•"/>
              </a:pPr>
              <a:r>
                <a:rPr lang="en-US" sz="1200" dirty="0"/>
                <a:t>Global Health and Life Sciences sector recorded 37% YoY increase in total IPO proceeds after receiving a major push form the US companies which saw 172% YoY increase in Health and Life Sciences IPO related proceeds</a:t>
              </a:r>
            </a:p>
            <a:p>
              <a:pPr marL="0" lvl="1" indent="0">
                <a:lnSpc>
                  <a:spcPct val="100000"/>
                </a:lnSpc>
                <a:spcBef>
                  <a:spcPts val="200"/>
                </a:spcBef>
                <a:spcAft>
                  <a:spcPts val="200"/>
                </a:spcAft>
                <a:buNone/>
              </a:pPr>
              <a:r>
                <a:rPr lang="en-US" sz="1200" b="1" u="sng" dirty="0"/>
                <a:t>Post election policies bring opportunities for domestic IPOs</a:t>
              </a:r>
            </a:p>
            <a:p>
              <a:pPr marL="182880" lvl="1" indent="-182880">
                <a:lnSpc>
                  <a:spcPct val="100000"/>
                </a:lnSpc>
                <a:spcBef>
                  <a:spcPts val="200"/>
                </a:spcBef>
                <a:spcAft>
                  <a:spcPts val="200"/>
                </a:spcAft>
                <a:buFont typeface="Arial" panose="020B0604020202020204" pitchFamily="34" charset="0"/>
                <a:buChar char="•"/>
              </a:pPr>
              <a:r>
                <a:rPr lang="en-US" sz="1200" dirty="0"/>
                <a:t>Under the second Trump administration, potential extensions of the Tax Cuts and Jobs Act provisions, deregulation, and encouragement of domestic production could bolster US IPO activity</a:t>
              </a:r>
            </a:p>
          </p:txBody>
        </p:sp>
      </p:grpSp>
      <p:grpSp>
        <p:nvGrpSpPr>
          <p:cNvPr id="10" name="Group 9">
            <a:extLst>
              <a:ext uri="{FF2B5EF4-FFF2-40B4-BE49-F238E27FC236}">
                <a16:creationId xmlns:a16="http://schemas.microsoft.com/office/drawing/2014/main" id="{643CAB98-E3F6-45B3-9196-86732B7E7569}"/>
              </a:ext>
            </a:extLst>
          </p:cNvPr>
          <p:cNvGrpSpPr/>
          <p:nvPr/>
        </p:nvGrpSpPr>
        <p:grpSpPr>
          <a:xfrm>
            <a:off x="587375" y="903087"/>
            <a:ext cx="11149802" cy="631586"/>
            <a:chOff x="587375" y="798288"/>
            <a:chExt cx="11149802" cy="631586"/>
          </a:xfrm>
        </p:grpSpPr>
        <p:grpSp>
          <p:nvGrpSpPr>
            <p:cNvPr id="11" name="Group 10">
              <a:extLst>
                <a:ext uri="{FF2B5EF4-FFF2-40B4-BE49-F238E27FC236}">
                  <a16:creationId xmlns:a16="http://schemas.microsoft.com/office/drawing/2014/main" id="{013A4F3E-7DCE-4BE0-86B5-9CBD969CCD66}"/>
                </a:ext>
              </a:extLst>
            </p:cNvPr>
            <p:cNvGrpSpPr/>
            <p:nvPr/>
          </p:nvGrpSpPr>
          <p:grpSpPr>
            <a:xfrm>
              <a:off x="587375" y="798288"/>
              <a:ext cx="11149802" cy="631586"/>
              <a:chOff x="587375" y="798288"/>
              <a:chExt cx="11149802" cy="631586"/>
            </a:xfrm>
            <a:effectLst>
              <a:outerShdw blurRad="50800" dist="38100" dir="2700000" algn="tl" rotWithShape="0">
                <a:prstClr val="black">
                  <a:alpha val="40000"/>
                </a:prstClr>
              </a:outerShdw>
            </a:effectLst>
          </p:grpSpPr>
          <p:sp>
            <p:nvSpPr>
              <p:cNvPr id="13" name="Freeform: Shape 12">
                <a:extLst>
                  <a:ext uri="{FF2B5EF4-FFF2-40B4-BE49-F238E27FC236}">
                    <a16:creationId xmlns:a16="http://schemas.microsoft.com/office/drawing/2014/main" id="{7C753B8B-EF11-4FC0-90CB-B1F029F5CEF8}"/>
                  </a:ext>
                </a:extLst>
              </p:cNvPr>
              <p:cNvSpPr/>
              <p:nvPr/>
            </p:nvSpPr>
            <p:spPr>
              <a:xfrm rot="5400000">
                <a:off x="11230937" y="923634"/>
                <a:ext cx="631586" cy="380894"/>
              </a:xfrm>
              <a:custGeom>
                <a:avLst/>
                <a:gdLst>
                  <a:gd name="connsiteX0" fmla="*/ 0 w 631586"/>
                  <a:gd name="connsiteY0" fmla="*/ 380894 h 380894"/>
                  <a:gd name="connsiteX1" fmla="*/ 315793 w 631586"/>
                  <a:gd name="connsiteY1" fmla="*/ 0 h 380894"/>
                  <a:gd name="connsiteX2" fmla="*/ 631586 w 631586"/>
                  <a:gd name="connsiteY2" fmla="*/ 380894 h 380894"/>
                  <a:gd name="connsiteX3" fmla="*/ 483554 w 631586"/>
                  <a:gd name="connsiteY3" fmla="*/ 380894 h 380894"/>
                  <a:gd name="connsiteX4" fmla="*/ 481237 w 631586"/>
                  <a:gd name="connsiteY4" fmla="*/ 348453 h 380894"/>
                  <a:gd name="connsiteX5" fmla="*/ 474887 w 631586"/>
                  <a:gd name="connsiteY5" fmla="*/ 294478 h 380894"/>
                  <a:gd name="connsiteX6" fmla="*/ 439962 w 631586"/>
                  <a:gd name="connsiteY6" fmla="*/ 221453 h 380894"/>
                  <a:gd name="connsiteX7" fmla="*/ 385987 w 631586"/>
                  <a:gd name="connsiteY7" fmla="*/ 192878 h 380894"/>
                  <a:gd name="connsiteX8" fmla="*/ 309787 w 631586"/>
                  <a:gd name="connsiteY8" fmla="*/ 192878 h 380894"/>
                  <a:gd name="connsiteX9" fmla="*/ 233587 w 631586"/>
                  <a:gd name="connsiteY9" fmla="*/ 230978 h 380894"/>
                  <a:gd name="connsiteX10" fmla="*/ 182787 w 631586"/>
                  <a:gd name="connsiteY10" fmla="*/ 272253 h 380894"/>
                  <a:gd name="connsiteX11" fmla="*/ 144687 w 631586"/>
                  <a:gd name="connsiteY11" fmla="*/ 332578 h 380894"/>
                  <a:gd name="connsiteX12" fmla="*/ 139855 w 631586"/>
                  <a:gd name="connsiteY12" fmla="*/ 380894 h 38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1586" h="380894">
                    <a:moveTo>
                      <a:pt x="0" y="380894"/>
                    </a:moveTo>
                    <a:lnTo>
                      <a:pt x="315793" y="0"/>
                    </a:lnTo>
                    <a:lnTo>
                      <a:pt x="631586" y="380894"/>
                    </a:lnTo>
                    <a:lnTo>
                      <a:pt x="483554" y="380894"/>
                    </a:lnTo>
                    <a:lnTo>
                      <a:pt x="481237" y="348453"/>
                    </a:lnTo>
                    <a:lnTo>
                      <a:pt x="474887" y="294478"/>
                    </a:lnTo>
                    <a:lnTo>
                      <a:pt x="439962" y="221453"/>
                    </a:lnTo>
                    <a:lnTo>
                      <a:pt x="385987" y="192878"/>
                    </a:lnTo>
                    <a:lnTo>
                      <a:pt x="309787" y="192878"/>
                    </a:lnTo>
                    <a:lnTo>
                      <a:pt x="233587" y="230978"/>
                    </a:lnTo>
                    <a:lnTo>
                      <a:pt x="182787" y="272253"/>
                    </a:lnTo>
                    <a:lnTo>
                      <a:pt x="144687" y="332578"/>
                    </a:lnTo>
                    <a:lnTo>
                      <a:pt x="139855" y="38089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15" name="Freeform: Shape 14">
                <a:extLst>
                  <a:ext uri="{FF2B5EF4-FFF2-40B4-BE49-F238E27FC236}">
                    <a16:creationId xmlns:a16="http://schemas.microsoft.com/office/drawing/2014/main" id="{8D0A64B9-611B-4220-BFBB-73F6F6EEA42B}"/>
                  </a:ext>
                </a:extLst>
              </p:cNvPr>
              <p:cNvSpPr/>
              <p:nvPr/>
            </p:nvSpPr>
            <p:spPr>
              <a:xfrm>
                <a:off x="587375" y="909547"/>
                <a:ext cx="11017250" cy="410852"/>
              </a:xfrm>
              <a:custGeom>
                <a:avLst/>
                <a:gdLst>
                  <a:gd name="connsiteX0" fmla="*/ 236095 w 11017250"/>
                  <a:gd name="connsiteY0" fmla="*/ 77873 h 410852"/>
                  <a:gd name="connsiteX1" fmla="*/ 108542 w 11017250"/>
                  <a:gd name="connsiteY1" fmla="*/ 205426 h 410852"/>
                  <a:gd name="connsiteX2" fmla="*/ 236095 w 11017250"/>
                  <a:gd name="connsiteY2" fmla="*/ 332979 h 410852"/>
                  <a:gd name="connsiteX3" fmla="*/ 10781155 w 11017250"/>
                  <a:gd name="connsiteY3" fmla="*/ 332979 h 410852"/>
                  <a:gd name="connsiteX4" fmla="*/ 10908708 w 11017250"/>
                  <a:gd name="connsiteY4" fmla="*/ 205426 h 410852"/>
                  <a:gd name="connsiteX5" fmla="*/ 10781155 w 11017250"/>
                  <a:gd name="connsiteY5" fmla="*/ 77873 h 410852"/>
                  <a:gd name="connsiteX6" fmla="*/ 205426 w 11017250"/>
                  <a:gd name="connsiteY6" fmla="*/ 0 h 410852"/>
                  <a:gd name="connsiteX7" fmla="*/ 10811824 w 11017250"/>
                  <a:gd name="connsiteY7" fmla="*/ 0 h 410852"/>
                  <a:gd name="connsiteX8" fmla="*/ 11017250 w 11017250"/>
                  <a:gd name="connsiteY8" fmla="*/ 205426 h 410852"/>
                  <a:gd name="connsiteX9" fmla="*/ 10811824 w 11017250"/>
                  <a:gd name="connsiteY9" fmla="*/ 410852 h 410852"/>
                  <a:gd name="connsiteX10" fmla="*/ 205426 w 11017250"/>
                  <a:gd name="connsiteY10" fmla="*/ 410852 h 410852"/>
                  <a:gd name="connsiteX11" fmla="*/ 0 w 11017250"/>
                  <a:gd name="connsiteY11" fmla="*/ 205426 h 410852"/>
                  <a:gd name="connsiteX12" fmla="*/ 205426 w 11017250"/>
                  <a:gd name="connsiteY12" fmla="*/ 0 h 41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7250" h="410852">
                    <a:moveTo>
                      <a:pt x="236095" y="77873"/>
                    </a:moveTo>
                    <a:cubicBezTo>
                      <a:pt x="165649" y="77873"/>
                      <a:pt x="108542" y="134980"/>
                      <a:pt x="108542" y="205426"/>
                    </a:cubicBezTo>
                    <a:cubicBezTo>
                      <a:pt x="108542" y="275872"/>
                      <a:pt x="165649" y="332979"/>
                      <a:pt x="236095" y="332979"/>
                    </a:cubicBezTo>
                    <a:lnTo>
                      <a:pt x="10781155" y="332979"/>
                    </a:lnTo>
                    <a:cubicBezTo>
                      <a:pt x="10851601" y="332979"/>
                      <a:pt x="10908708" y="275872"/>
                      <a:pt x="10908708" y="205426"/>
                    </a:cubicBezTo>
                    <a:cubicBezTo>
                      <a:pt x="10908708" y="134980"/>
                      <a:pt x="10851601" y="77873"/>
                      <a:pt x="10781155" y="77873"/>
                    </a:cubicBezTo>
                    <a:close/>
                    <a:moveTo>
                      <a:pt x="205426" y="0"/>
                    </a:moveTo>
                    <a:lnTo>
                      <a:pt x="10811824" y="0"/>
                    </a:lnTo>
                    <a:cubicBezTo>
                      <a:pt x="10925278" y="0"/>
                      <a:pt x="11017250" y="91972"/>
                      <a:pt x="11017250" y="205426"/>
                    </a:cubicBezTo>
                    <a:cubicBezTo>
                      <a:pt x="11017250" y="318880"/>
                      <a:pt x="10925278" y="410852"/>
                      <a:pt x="10811824" y="410852"/>
                    </a:cubicBezTo>
                    <a:lnTo>
                      <a:pt x="205426" y="410852"/>
                    </a:lnTo>
                    <a:cubicBezTo>
                      <a:pt x="91972" y="410852"/>
                      <a:pt x="0" y="318880"/>
                      <a:pt x="0" y="205426"/>
                    </a:cubicBezTo>
                    <a:cubicBezTo>
                      <a:pt x="0" y="91972"/>
                      <a:pt x="91972" y="0"/>
                      <a:pt x="205426" y="0"/>
                    </a:cubicBezTo>
                    <a:close/>
                  </a:path>
                </a:pathLst>
              </a:custGeom>
              <a:solidFill>
                <a:srgbClr val="4322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b="1" dirty="0">
                  <a:solidFill>
                    <a:schemeClr val="bg2"/>
                  </a:solidFill>
                </a:endParaRPr>
              </a:p>
            </p:txBody>
          </p:sp>
        </p:grpSp>
        <p:sp>
          <p:nvSpPr>
            <p:cNvPr id="12" name="TextBox 11">
              <a:extLst>
                <a:ext uri="{FF2B5EF4-FFF2-40B4-BE49-F238E27FC236}">
                  <a16:creationId xmlns:a16="http://schemas.microsoft.com/office/drawing/2014/main" id="{F9FB8688-42A3-4236-9374-A3CC5AE1FDEC}"/>
                </a:ext>
              </a:extLst>
            </p:cNvPr>
            <p:cNvSpPr txBox="1"/>
            <p:nvPr/>
          </p:nvSpPr>
          <p:spPr>
            <a:xfrm>
              <a:off x="3263900" y="945634"/>
              <a:ext cx="6096000" cy="338554"/>
            </a:xfrm>
            <a:prstGeom prst="rect">
              <a:avLst/>
            </a:prstGeom>
            <a:noFill/>
          </p:spPr>
          <p:txBody>
            <a:bodyPr wrap="square" anchor="ctr">
              <a:spAutoFit/>
            </a:bodyPr>
            <a:lstStyle/>
            <a:p>
              <a:pPr algn="ctr"/>
              <a:r>
                <a:rPr lang="en-US" sz="1600" b="1" dirty="0">
                  <a:solidFill>
                    <a:schemeClr val="bg2"/>
                  </a:solidFill>
                </a:rPr>
                <a:t>Key Trends and Major Thematic Highlights</a:t>
              </a:r>
              <a:endParaRPr lang="en-IN" sz="1600" b="1" dirty="0">
                <a:solidFill>
                  <a:schemeClr val="bg2"/>
                </a:solidFill>
              </a:endParaRPr>
            </a:p>
          </p:txBody>
        </p:sp>
      </p:grpSp>
      <p:cxnSp>
        <p:nvCxnSpPr>
          <p:cNvPr id="20" name="Straight Connector 19">
            <a:extLst>
              <a:ext uri="{FF2B5EF4-FFF2-40B4-BE49-F238E27FC236}">
                <a16:creationId xmlns:a16="http://schemas.microsoft.com/office/drawing/2014/main" id="{3B99C66B-C2D8-439B-8654-64F7321DE23F}"/>
              </a:ext>
            </a:extLst>
          </p:cNvPr>
          <p:cNvCxnSpPr/>
          <p:nvPr/>
        </p:nvCxnSpPr>
        <p:spPr>
          <a:xfrm>
            <a:off x="699347" y="1925127"/>
            <a:ext cx="36576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589690A4-1515-46E4-A1ED-3193FC84A778}"/>
              </a:ext>
            </a:extLst>
          </p:cNvPr>
          <p:cNvCxnSpPr/>
          <p:nvPr/>
        </p:nvCxnSpPr>
        <p:spPr>
          <a:xfrm>
            <a:off x="6096000" y="1925127"/>
            <a:ext cx="36576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7E5B5913-89A2-444E-AFCB-22B1742CF772}"/>
              </a:ext>
            </a:extLst>
          </p:cNvPr>
          <p:cNvSpPr>
            <a:spLocks/>
          </p:cNvSpPr>
          <p:nvPr/>
        </p:nvSpPr>
        <p:spPr>
          <a:xfrm>
            <a:off x="1828801" y="5321300"/>
            <a:ext cx="9464674" cy="1156184"/>
          </a:xfrm>
          <a:prstGeom prst="roundRect">
            <a:avLst>
              <a:gd name="adj" fmla="val 17871"/>
            </a:avLst>
          </a:prstGeom>
          <a:solidFill>
            <a:schemeClr val="bg2"/>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100" i="1" dirty="0">
              <a:solidFill>
                <a:schemeClr val="bg2"/>
              </a:solidFill>
            </a:endParaRPr>
          </a:p>
        </p:txBody>
      </p:sp>
      <p:sp>
        <p:nvSpPr>
          <p:cNvPr id="24" name="TextBox 23">
            <a:extLst>
              <a:ext uri="{FF2B5EF4-FFF2-40B4-BE49-F238E27FC236}">
                <a16:creationId xmlns:a16="http://schemas.microsoft.com/office/drawing/2014/main" id="{BB3520ED-4F12-40C0-A93A-81182AA1DA36}"/>
              </a:ext>
            </a:extLst>
          </p:cNvPr>
          <p:cNvSpPr txBox="1">
            <a:spLocks/>
          </p:cNvSpPr>
          <p:nvPr/>
        </p:nvSpPr>
        <p:spPr>
          <a:xfrm>
            <a:off x="571501" y="5321300"/>
            <a:ext cx="1587499" cy="1156184"/>
          </a:xfrm>
          <a:prstGeom prst="roundRect">
            <a:avLst/>
          </a:prstGeom>
          <a:solidFill>
            <a:schemeClr val="bg2"/>
          </a:solidFill>
        </p:spPr>
        <p:txBody>
          <a:bodyPr wrap="square" anchor="ctr">
            <a:noAutofit/>
          </a:bodyPr>
          <a:lstStyle/>
          <a:p>
            <a:pPr algn="ctr"/>
            <a:r>
              <a:rPr lang="en-IN" sz="1400" b="1" dirty="0">
                <a:solidFill>
                  <a:schemeClr val="bg1"/>
                </a:solidFill>
              </a:rPr>
              <a:t>Expert’s Forecast for 2025 IPOs</a:t>
            </a:r>
          </a:p>
        </p:txBody>
      </p:sp>
      <p:sp>
        <p:nvSpPr>
          <p:cNvPr id="22" name="Rectangle: Rounded Corners 21">
            <a:extLst>
              <a:ext uri="{FF2B5EF4-FFF2-40B4-BE49-F238E27FC236}">
                <a16:creationId xmlns:a16="http://schemas.microsoft.com/office/drawing/2014/main" id="{55E9609E-B7AF-4B97-9796-F47D1A5632A7}"/>
              </a:ext>
            </a:extLst>
          </p:cNvPr>
          <p:cNvSpPr>
            <a:spLocks/>
          </p:cNvSpPr>
          <p:nvPr/>
        </p:nvSpPr>
        <p:spPr>
          <a:xfrm>
            <a:off x="2177668" y="5371645"/>
            <a:ext cx="9052560" cy="1055494"/>
          </a:xfrm>
          <a:prstGeom prst="roundRect">
            <a:avLst>
              <a:gd name="adj" fmla="val 13201"/>
            </a:avLst>
          </a:prstGeom>
          <a:solidFill>
            <a:srgbClr val="F9F9F9"/>
          </a:solid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ctr"/>
          <a:lstStyle/>
          <a:p>
            <a:pPr>
              <a:lnSpc>
                <a:spcPct val="92000"/>
              </a:lnSpc>
              <a:spcBef>
                <a:spcPts val="200"/>
              </a:spcBef>
            </a:pPr>
            <a:r>
              <a:rPr lang="en-US" sz="1100" dirty="0">
                <a:solidFill>
                  <a:schemeClr val="tx1"/>
                </a:solidFill>
              </a:rPr>
              <a:t>Improving market conditions and a backlog of private equity sales are setting the stage for a busy year in equity capital markets, with IPOs likely to further pick up across various regions. However, uncertainties in trade policies and geopolitical factors may elevate the cost of capital, possibly dampening IPO momentum. Moving forward, IPO candidates should remain agile and be prepared to capitalize on opportune moments to list as they emerge.</a:t>
            </a:r>
          </a:p>
          <a:p>
            <a:pPr>
              <a:lnSpc>
                <a:spcPct val="92000"/>
              </a:lnSpc>
              <a:spcBef>
                <a:spcPts val="200"/>
              </a:spcBef>
            </a:pPr>
            <a:r>
              <a:rPr lang="en-US" sz="1100" b="1" i="1" dirty="0">
                <a:solidFill>
                  <a:schemeClr val="bg2"/>
                </a:solidFill>
              </a:rPr>
              <a:t> 	                                  	                                 </a:t>
            </a:r>
            <a:r>
              <a:rPr lang="en-US" sz="1100" b="1" i="1" dirty="0">
                <a:solidFill>
                  <a:schemeClr val="tx2"/>
                </a:solidFill>
              </a:rPr>
              <a:t>- Paul Lau, </a:t>
            </a:r>
            <a:r>
              <a:rPr lang="en-US" sz="1100" b="1" i="1" dirty="0">
                <a:solidFill>
                  <a:schemeClr val="bg2"/>
                </a:solidFill>
              </a:rPr>
              <a:t>Head of Capital Markets and Professional Practice at KPMG</a:t>
            </a:r>
          </a:p>
        </p:txBody>
      </p:sp>
      <p:sp>
        <p:nvSpPr>
          <p:cNvPr id="18" name="Rectangle: Rounded Corners 17">
            <a:extLst>
              <a:ext uri="{FF2B5EF4-FFF2-40B4-BE49-F238E27FC236}">
                <a16:creationId xmlns:a16="http://schemas.microsoft.com/office/drawing/2014/main" id="{154396F8-4E80-460E-BAA1-9AF4C85ED381}"/>
              </a:ext>
            </a:extLst>
          </p:cNvPr>
          <p:cNvSpPr>
            <a:spLocks/>
          </p:cNvSpPr>
          <p:nvPr/>
        </p:nvSpPr>
        <p:spPr>
          <a:xfrm>
            <a:off x="641670" y="5373854"/>
            <a:ext cx="1450654" cy="1051077"/>
          </a:xfrm>
          <a:prstGeom prst="roundRect">
            <a:avLst/>
          </a:prstGeom>
          <a:noFill/>
          <a:ln>
            <a:solidFill>
              <a:schemeClr val="bg1"/>
            </a:solidFill>
          </a:ln>
        </p:spPr>
        <p:txBody>
          <a:bodyPr wrap="square" anchor="ctr">
            <a:noAutofit/>
          </a:bodyPr>
          <a:lstStyle/>
          <a:p>
            <a:pPr algn="ctr"/>
            <a:endParaRPr lang="en-IN" sz="1400" b="1" dirty="0">
              <a:solidFill>
                <a:schemeClr val="bg1"/>
              </a:solidFill>
            </a:endParaRPr>
          </a:p>
        </p:txBody>
      </p:sp>
      <p:sp>
        <p:nvSpPr>
          <p:cNvPr id="19" name="Oval 18">
            <a:extLst>
              <a:ext uri="{FF2B5EF4-FFF2-40B4-BE49-F238E27FC236}">
                <a16:creationId xmlns:a16="http://schemas.microsoft.com/office/drawing/2014/main" id="{B5C51E44-4502-4391-889F-CFDDA0260041}"/>
              </a:ext>
            </a:extLst>
          </p:cNvPr>
          <p:cNvSpPr/>
          <p:nvPr/>
        </p:nvSpPr>
        <p:spPr>
          <a:xfrm>
            <a:off x="2177668" y="5493221"/>
            <a:ext cx="236220" cy="25897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dirty="0">
                <a:solidFill>
                  <a:schemeClr val="tx2"/>
                </a:solidFill>
                <a:latin typeface="Calibri" panose="020F0502020204030204" pitchFamily="34" charset="0"/>
                <a:cs typeface="Calibri" panose="020F0502020204030204" pitchFamily="34" charset="0"/>
              </a:rPr>
              <a:t>“</a:t>
            </a:r>
          </a:p>
        </p:txBody>
      </p:sp>
      <p:sp>
        <p:nvSpPr>
          <p:cNvPr id="33" name="Oval 32">
            <a:extLst>
              <a:ext uri="{FF2B5EF4-FFF2-40B4-BE49-F238E27FC236}">
                <a16:creationId xmlns:a16="http://schemas.microsoft.com/office/drawing/2014/main" id="{3788CEBF-5E56-44DA-90D7-9037957E37CF}"/>
              </a:ext>
            </a:extLst>
          </p:cNvPr>
          <p:cNvSpPr/>
          <p:nvPr/>
        </p:nvSpPr>
        <p:spPr>
          <a:xfrm rot="10800000">
            <a:off x="5085443" y="5843654"/>
            <a:ext cx="236220" cy="258978"/>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2400" dirty="0">
                <a:solidFill>
                  <a:schemeClr val="tx2"/>
                </a:solidFill>
                <a:latin typeface="Calibri" panose="020F0502020204030204" pitchFamily="34" charset="0"/>
                <a:cs typeface="Calibri" panose="020F0502020204030204" pitchFamily="34" charset="0"/>
              </a:rPr>
              <a:t>“</a:t>
            </a:r>
          </a:p>
        </p:txBody>
      </p:sp>
      <p:sp>
        <p:nvSpPr>
          <p:cNvPr id="26" name="TextBox 25">
            <a:extLst>
              <a:ext uri="{FF2B5EF4-FFF2-40B4-BE49-F238E27FC236}">
                <a16:creationId xmlns:a16="http://schemas.microsoft.com/office/drawing/2014/main" id="{526AC9BB-4098-4285-817E-68CD2BF167CF}"/>
              </a:ext>
            </a:extLst>
          </p:cNvPr>
          <p:cNvSpPr txBox="1"/>
          <p:nvPr/>
        </p:nvSpPr>
        <p:spPr>
          <a:xfrm>
            <a:off x="571500" y="6543674"/>
            <a:ext cx="8788400" cy="161925"/>
          </a:xfrm>
          <a:prstGeom prst="rect">
            <a:avLst/>
          </a:prstGeom>
          <a:noFill/>
        </p:spPr>
        <p:txBody>
          <a:bodyPr wrap="square" lIns="45720" rtlCol="0" anchor="ctr">
            <a:noAutofit/>
          </a:bodyPr>
          <a:lstStyle/>
          <a:p>
            <a:pPr algn="l">
              <a:lnSpc>
                <a:spcPct val="90000"/>
              </a:lnSpc>
              <a:spcBef>
                <a:spcPts val="800"/>
              </a:spcBef>
              <a:buClr>
                <a:srgbClr val="E0044E"/>
              </a:buClr>
            </a:pPr>
            <a:r>
              <a:rPr lang="en-US" sz="900" dirty="0">
                <a:latin typeface="Segoe UI" panose="020B0502040204020203" pitchFamily="34" charset="0"/>
                <a:cs typeface="Segoe UI" panose="020B0502040204020203" pitchFamily="34" charset="0"/>
              </a:rPr>
              <a:t>Source: Press</a:t>
            </a:r>
            <a:endParaRPr lang="en-IN" sz="9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7108135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name="Slide4">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423AFA83-31B8-4421-8663-67F5A6F15E6B}"/>
              </a:ext>
            </a:extLst>
          </p:cNvPr>
          <p:cNvSpPr/>
          <p:nvPr/>
        </p:nvSpPr>
        <p:spPr>
          <a:xfrm>
            <a:off x="9647555" y="1516835"/>
            <a:ext cx="1645920" cy="1620065"/>
          </a:xfrm>
          <a:prstGeom prst="rect">
            <a:avLst/>
          </a:prstGeom>
          <a:solidFill>
            <a:srgbClr val="F4FBFE"/>
          </a:solidFill>
          <a:ln>
            <a:solidFill>
              <a:schemeClr val="tx2"/>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ysClr val="windowText" lastClr="000000"/>
              </a:solidFill>
            </a:endParaRPr>
          </a:p>
        </p:txBody>
      </p:sp>
      <p:graphicFrame>
        <p:nvGraphicFramePr>
          <p:cNvPr id="38" name="Chart 37">
            <a:extLst>
              <a:ext uri="{FF2B5EF4-FFF2-40B4-BE49-F238E27FC236}">
                <a16:creationId xmlns:a16="http://schemas.microsoft.com/office/drawing/2014/main" id="{A288D666-69BA-4B0A-ADE9-2DEBD6BD1291}"/>
              </a:ext>
            </a:extLst>
          </p:cNvPr>
          <p:cNvGraphicFramePr/>
          <p:nvPr>
            <p:extLst>
              <p:ext uri="{D42A27DB-BD31-4B8C-83A1-F6EECF244321}">
                <p14:modId xmlns:p14="http://schemas.microsoft.com/office/powerpoint/2010/main" val="4085553911"/>
              </p:ext>
            </p:extLst>
          </p:nvPr>
        </p:nvGraphicFramePr>
        <p:xfrm>
          <a:off x="9523301" y="1447073"/>
          <a:ext cx="1826996" cy="1993928"/>
        </p:xfrm>
        <a:graphic>
          <a:graphicData uri="http://schemas.openxmlformats.org/drawingml/2006/chart">
            <c:chart xmlns:c="http://schemas.openxmlformats.org/drawingml/2006/chart" xmlns:r="http://schemas.openxmlformats.org/officeDocument/2006/relationships" r:id="rId2"/>
          </a:graphicData>
        </a:graphic>
      </p:graphicFrame>
      <p:sp>
        <p:nvSpPr>
          <p:cNvPr id="46" name="Rectangle 45">
            <a:extLst>
              <a:ext uri="{FF2B5EF4-FFF2-40B4-BE49-F238E27FC236}">
                <a16:creationId xmlns:a16="http://schemas.microsoft.com/office/drawing/2014/main" id="{73E2D6FA-8CCD-4232-80D3-0EE2D52487B3}"/>
              </a:ext>
            </a:extLst>
          </p:cNvPr>
          <p:cNvSpPr/>
          <p:nvPr/>
        </p:nvSpPr>
        <p:spPr>
          <a:xfrm>
            <a:off x="4220004" y="1516835"/>
            <a:ext cx="1645920" cy="1620065"/>
          </a:xfrm>
          <a:prstGeom prst="rect">
            <a:avLst/>
          </a:prstGeom>
          <a:solidFill>
            <a:srgbClr val="F4FBFE"/>
          </a:solidFill>
          <a:ln>
            <a:solidFill>
              <a:schemeClr val="tx2"/>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ysClr val="windowText" lastClr="000000"/>
              </a:solidFill>
            </a:endParaRPr>
          </a:p>
        </p:txBody>
      </p:sp>
      <p:graphicFrame>
        <p:nvGraphicFramePr>
          <p:cNvPr id="37" name="Chart 36">
            <a:extLst>
              <a:ext uri="{FF2B5EF4-FFF2-40B4-BE49-F238E27FC236}">
                <a16:creationId xmlns:a16="http://schemas.microsoft.com/office/drawing/2014/main" id="{78A94126-9EE5-403B-AFC9-32428306ECC2}"/>
              </a:ext>
            </a:extLst>
          </p:cNvPr>
          <p:cNvGraphicFramePr/>
          <p:nvPr>
            <p:extLst>
              <p:ext uri="{D42A27DB-BD31-4B8C-83A1-F6EECF244321}">
                <p14:modId xmlns:p14="http://schemas.microsoft.com/office/powerpoint/2010/main" val="3065304482"/>
              </p:ext>
            </p:extLst>
          </p:nvPr>
        </p:nvGraphicFramePr>
        <p:xfrm>
          <a:off x="4106650" y="1447073"/>
          <a:ext cx="1826996" cy="1993928"/>
        </p:xfrm>
        <a:graphic>
          <a:graphicData uri="http://schemas.openxmlformats.org/drawingml/2006/chart">
            <c:chart xmlns:c="http://schemas.openxmlformats.org/drawingml/2006/chart" xmlns:r="http://schemas.openxmlformats.org/officeDocument/2006/relationships" r:id="rId3"/>
          </a:graphicData>
        </a:graphic>
      </p:graphicFrame>
      <p:sp>
        <p:nvSpPr>
          <p:cNvPr id="44" name="Rectangle 43">
            <a:extLst>
              <a:ext uri="{FF2B5EF4-FFF2-40B4-BE49-F238E27FC236}">
                <a16:creationId xmlns:a16="http://schemas.microsoft.com/office/drawing/2014/main" id="{9CE7DD1F-A627-4A3F-9F45-A447830EE79B}"/>
              </a:ext>
            </a:extLst>
          </p:cNvPr>
          <p:cNvSpPr/>
          <p:nvPr/>
        </p:nvSpPr>
        <p:spPr>
          <a:xfrm>
            <a:off x="601636" y="1516835"/>
            <a:ext cx="1645920" cy="1620065"/>
          </a:xfrm>
          <a:prstGeom prst="rect">
            <a:avLst/>
          </a:prstGeom>
          <a:solidFill>
            <a:schemeClr val="bg1"/>
          </a:solidFill>
          <a:ln w="3175">
            <a:solidFill>
              <a:schemeClr val="bg1">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ysClr val="windowText" lastClr="000000"/>
              </a:solidFill>
            </a:endParaRPr>
          </a:p>
        </p:txBody>
      </p:sp>
      <p:sp>
        <p:nvSpPr>
          <p:cNvPr id="45" name="Rectangle 44">
            <a:extLst>
              <a:ext uri="{FF2B5EF4-FFF2-40B4-BE49-F238E27FC236}">
                <a16:creationId xmlns:a16="http://schemas.microsoft.com/office/drawing/2014/main" id="{955A5895-1BAA-4E0A-B554-919C55170C46}"/>
              </a:ext>
            </a:extLst>
          </p:cNvPr>
          <p:cNvSpPr/>
          <p:nvPr/>
        </p:nvSpPr>
        <p:spPr>
          <a:xfrm>
            <a:off x="2410820" y="1516835"/>
            <a:ext cx="1645920" cy="1620065"/>
          </a:xfrm>
          <a:prstGeom prst="rect">
            <a:avLst/>
          </a:prstGeom>
          <a:solidFill>
            <a:schemeClr val="bg1"/>
          </a:solidFill>
          <a:ln w="3175">
            <a:solidFill>
              <a:schemeClr val="bg1">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ysClr val="windowText" lastClr="000000"/>
              </a:solidFill>
            </a:endParaRPr>
          </a:p>
        </p:txBody>
      </p:sp>
      <p:sp>
        <p:nvSpPr>
          <p:cNvPr id="47" name="Rectangle 46">
            <a:extLst>
              <a:ext uri="{FF2B5EF4-FFF2-40B4-BE49-F238E27FC236}">
                <a16:creationId xmlns:a16="http://schemas.microsoft.com/office/drawing/2014/main" id="{1010AE20-0AD5-4B31-9874-2CEDF3EACBD5}"/>
              </a:ext>
            </a:extLst>
          </p:cNvPr>
          <p:cNvSpPr/>
          <p:nvPr/>
        </p:nvSpPr>
        <p:spPr>
          <a:xfrm>
            <a:off x="6029188" y="1516835"/>
            <a:ext cx="1645920" cy="1620065"/>
          </a:xfrm>
          <a:prstGeom prst="rect">
            <a:avLst/>
          </a:prstGeom>
          <a:solidFill>
            <a:schemeClr val="bg1"/>
          </a:solidFill>
          <a:ln w="3175">
            <a:solidFill>
              <a:schemeClr val="bg1">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ysClr val="windowText" lastClr="000000"/>
              </a:solidFill>
            </a:endParaRPr>
          </a:p>
        </p:txBody>
      </p:sp>
      <p:sp>
        <p:nvSpPr>
          <p:cNvPr id="48" name="Rectangle 47">
            <a:extLst>
              <a:ext uri="{FF2B5EF4-FFF2-40B4-BE49-F238E27FC236}">
                <a16:creationId xmlns:a16="http://schemas.microsoft.com/office/drawing/2014/main" id="{38A81473-2DF6-4D42-9D55-6A4141A016D0}"/>
              </a:ext>
            </a:extLst>
          </p:cNvPr>
          <p:cNvSpPr/>
          <p:nvPr/>
        </p:nvSpPr>
        <p:spPr>
          <a:xfrm>
            <a:off x="7838372" y="1516835"/>
            <a:ext cx="1645920" cy="1620065"/>
          </a:xfrm>
          <a:prstGeom prst="rect">
            <a:avLst/>
          </a:prstGeom>
          <a:solidFill>
            <a:schemeClr val="bg1"/>
          </a:solidFill>
          <a:ln w="3175">
            <a:solidFill>
              <a:schemeClr val="bg1">
                <a:lumMod val="75000"/>
              </a:schemeClr>
            </a:solidFill>
            <a:prstDash val="solid"/>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ysClr val="windowText" lastClr="000000"/>
              </a:solidFill>
            </a:endParaRPr>
          </a:p>
        </p:txBody>
      </p:sp>
      <p:grpSp>
        <p:nvGrpSpPr>
          <p:cNvPr id="17" name="Group 16">
            <a:extLst>
              <a:ext uri="{FF2B5EF4-FFF2-40B4-BE49-F238E27FC236}">
                <a16:creationId xmlns:a16="http://schemas.microsoft.com/office/drawing/2014/main" id="{AB95D79F-BE80-4B0A-AE29-3D7432BBE527}"/>
              </a:ext>
            </a:extLst>
          </p:cNvPr>
          <p:cNvGrpSpPr/>
          <p:nvPr/>
        </p:nvGrpSpPr>
        <p:grpSpPr>
          <a:xfrm>
            <a:off x="587375" y="903087"/>
            <a:ext cx="11149802" cy="631586"/>
            <a:chOff x="587375" y="798288"/>
            <a:chExt cx="11149802" cy="631586"/>
          </a:xfrm>
        </p:grpSpPr>
        <p:grpSp>
          <p:nvGrpSpPr>
            <p:cNvPr id="18" name="Group 17">
              <a:extLst>
                <a:ext uri="{FF2B5EF4-FFF2-40B4-BE49-F238E27FC236}">
                  <a16:creationId xmlns:a16="http://schemas.microsoft.com/office/drawing/2014/main" id="{68005075-0DBA-45C2-BB43-E310E30DBB9A}"/>
                </a:ext>
              </a:extLst>
            </p:cNvPr>
            <p:cNvGrpSpPr/>
            <p:nvPr/>
          </p:nvGrpSpPr>
          <p:grpSpPr>
            <a:xfrm>
              <a:off x="587375" y="798288"/>
              <a:ext cx="11149802" cy="631586"/>
              <a:chOff x="587375" y="798288"/>
              <a:chExt cx="11149802" cy="631586"/>
            </a:xfrm>
            <a:effectLst>
              <a:outerShdw blurRad="50800" dist="38100" dir="2700000" algn="tl" rotWithShape="0">
                <a:prstClr val="black">
                  <a:alpha val="40000"/>
                </a:prstClr>
              </a:outerShdw>
            </a:effectLst>
          </p:grpSpPr>
          <p:sp>
            <p:nvSpPr>
              <p:cNvPr id="20" name="Freeform: Shape 19">
                <a:extLst>
                  <a:ext uri="{FF2B5EF4-FFF2-40B4-BE49-F238E27FC236}">
                    <a16:creationId xmlns:a16="http://schemas.microsoft.com/office/drawing/2014/main" id="{502B4151-C1F3-41E7-9DFC-2668F328B8FC}"/>
                  </a:ext>
                </a:extLst>
              </p:cNvPr>
              <p:cNvSpPr/>
              <p:nvPr/>
            </p:nvSpPr>
            <p:spPr>
              <a:xfrm rot="5400000">
                <a:off x="11230937" y="923634"/>
                <a:ext cx="631586" cy="380894"/>
              </a:xfrm>
              <a:custGeom>
                <a:avLst/>
                <a:gdLst>
                  <a:gd name="connsiteX0" fmla="*/ 0 w 631586"/>
                  <a:gd name="connsiteY0" fmla="*/ 380894 h 380894"/>
                  <a:gd name="connsiteX1" fmla="*/ 315793 w 631586"/>
                  <a:gd name="connsiteY1" fmla="*/ 0 h 380894"/>
                  <a:gd name="connsiteX2" fmla="*/ 631586 w 631586"/>
                  <a:gd name="connsiteY2" fmla="*/ 380894 h 380894"/>
                  <a:gd name="connsiteX3" fmla="*/ 483554 w 631586"/>
                  <a:gd name="connsiteY3" fmla="*/ 380894 h 380894"/>
                  <a:gd name="connsiteX4" fmla="*/ 481237 w 631586"/>
                  <a:gd name="connsiteY4" fmla="*/ 348453 h 380894"/>
                  <a:gd name="connsiteX5" fmla="*/ 474887 w 631586"/>
                  <a:gd name="connsiteY5" fmla="*/ 294478 h 380894"/>
                  <a:gd name="connsiteX6" fmla="*/ 439962 w 631586"/>
                  <a:gd name="connsiteY6" fmla="*/ 221453 h 380894"/>
                  <a:gd name="connsiteX7" fmla="*/ 385987 w 631586"/>
                  <a:gd name="connsiteY7" fmla="*/ 192878 h 380894"/>
                  <a:gd name="connsiteX8" fmla="*/ 309787 w 631586"/>
                  <a:gd name="connsiteY8" fmla="*/ 192878 h 380894"/>
                  <a:gd name="connsiteX9" fmla="*/ 233587 w 631586"/>
                  <a:gd name="connsiteY9" fmla="*/ 230978 h 380894"/>
                  <a:gd name="connsiteX10" fmla="*/ 182787 w 631586"/>
                  <a:gd name="connsiteY10" fmla="*/ 272253 h 380894"/>
                  <a:gd name="connsiteX11" fmla="*/ 144687 w 631586"/>
                  <a:gd name="connsiteY11" fmla="*/ 332578 h 380894"/>
                  <a:gd name="connsiteX12" fmla="*/ 139855 w 631586"/>
                  <a:gd name="connsiteY12" fmla="*/ 380894 h 38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1586" h="380894">
                    <a:moveTo>
                      <a:pt x="0" y="380894"/>
                    </a:moveTo>
                    <a:lnTo>
                      <a:pt x="315793" y="0"/>
                    </a:lnTo>
                    <a:lnTo>
                      <a:pt x="631586" y="380894"/>
                    </a:lnTo>
                    <a:lnTo>
                      <a:pt x="483554" y="380894"/>
                    </a:lnTo>
                    <a:lnTo>
                      <a:pt x="481237" y="348453"/>
                    </a:lnTo>
                    <a:lnTo>
                      <a:pt x="474887" y="294478"/>
                    </a:lnTo>
                    <a:lnTo>
                      <a:pt x="439962" y="221453"/>
                    </a:lnTo>
                    <a:lnTo>
                      <a:pt x="385987" y="192878"/>
                    </a:lnTo>
                    <a:lnTo>
                      <a:pt x="309787" y="192878"/>
                    </a:lnTo>
                    <a:lnTo>
                      <a:pt x="233587" y="230978"/>
                    </a:lnTo>
                    <a:lnTo>
                      <a:pt x="182787" y="272253"/>
                    </a:lnTo>
                    <a:lnTo>
                      <a:pt x="144687" y="332578"/>
                    </a:lnTo>
                    <a:lnTo>
                      <a:pt x="139855" y="38089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1" name="Freeform: Shape 20">
                <a:extLst>
                  <a:ext uri="{FF2B5EF4-FFF2-40B4-BE49-F238E27FC236}">
                    <a16:creationId xmlns:a16="http://schemas.microsoft.com/office/drawing/2014/main" id="{6EE944EE-898E-440A-81C9-AAE805D234C5}"/>
                  </a:ext>
                </a:extLst>
              </p:cNvPr>
              <p:cNvSpPr/>
              <p:nvPr/>
            </p:nvSpPr>
            <p:spPr>
              <a:xfrm>
                <a:off x="587375" y="909547"/>
                <a:ext cx="11017250" cy="410852"/>
              </a:xfrm>
              <a:custGeom>
                <a:avLst/>
                <a:gdLst>
                  <a:gd name="connsiteX0" fmla="*/ 236095 w 11017250"/>
                  <a:gd name="connsiteY0" fmla="*/ 77873 h 410852"/>
                  <a:gd name="connsiteX1" fmla="*/ 108542 w 11017250"/>
                  <a:gd name="connsiteY1" fmla="*/ 205426 h 410852"/>
                  <a:gd name="connsiteX2" fmla="*/ 236095 w 11017250"/>
                  <a:gd name="connsiteY2" fmla="*/ 332979 h 410852"/>
                  <a:gd name="connsiteX3" fmla="*/ 10781155 w 11017250"/>
                  <a:gd name="connsiteY3" fmla="*/ 332979 h 410852"/>
                  <a:gd name="connsiteX4" fmla="*/ 10908708 w 11017250"/>
                  <a:gd name="connsiteY4" fmla="*/ 205426 h 410852"/>
                  <a:gd name="connsiteX5" fmla="*/ 10781155 w 11017250"/>
                  <a:gd name="connsiteY5" fmla="*/ 77873 h 410852"/>
                  <a:gd name="connsiteX6" fmla="*/ 205426 w 11017250"/>
                  <a:gd name="connsiteY6" fmla="*/ 0 h 410852"/>
                  <a:gd name="connsiteX7" fmla="*/ 10811824 w 11017250"/>
                  <a:gd name="connsiteY7" fmla="*/ 0 h 410852"/>
                  <a:gd name="connsiteX8" fmla="*/ 11017250 w 11017250"/>
                  <a:gd name="connsiteY8" fmla="*/ 205426 h 410852"/>
                  <a:gd name="connsiteX9" fmla="*/ 10811824 w 11017250"/>
                  <a:gd name="connsiteY9" fmla="*/ 410852 h 410852"/>
                  <a:gd name="connsiteX10" fmla="*/ 205426 w 11017250"/>
                  <a:gd name="connsiteY10" fmla="*/ 410852 h 410852"/>
                  <a:gd name="connsiteX11" fmla="*/ 0 w 11017250"/>
                  <a:gd name="connsiteY11" fmla="*/ 205426 h 410852"/>
                  <a:gd name="connsiteX12" fmla="*/ 205426 w 11017250"/>
                  <a:gd name="connsiteY12" fmla="*/ 0 h 41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7250" h="410852">
                    <a:moveTo>
                      <a:pt x="236095" y="77873"/>
                    </a:moveTo>
                    <a:cubicBezTo>
                      <a:pt x="165649" y="77873"/>
                      <a:pt x="108542" y="134980"/>
                      <a:pt x="108542" y="205426"/>
                    </a:cubicBezTo>
                    <a:cubicBezTo>
                      <a:pt x="108542" y="275872"/>
                      <a:pt x="165649" y="332979"/>
                      <a:pt x="236095" y="332979"/>
                    </a:cubicBezTo>
                    <a:lnTo>
                      <a:pt x="10781155" y="332979"/>
                    </a:lnTo>
                    <a:cubicBezTo>
                      <a:pt x="10851601" y="332979"/>
                      <a:pt x="10908708" y="275872"/>
                      <a:pt x="10908708" y="205426"/>
                    </a:cubicBezTo>
                    <a:cubicBezTo>
                      <a:pt x="10908708" y="134980"/>
                      <a:pt x="10851601" y="77873"/>
                      <a:pt x="10781155" y="77873"/>
                    </a:cubicBezTo>
                    <a:close/>
                    <a:moveTo>
                      <a:pt x="205426" y="0"/>
                    </a:moveTo>
                    <a:lnTo>
                      <a:pt x="10811824" y="0"/>
                    </a:lnTo>
                    <a:cubicBezTo>
                      <a:pt x="10925278" y="0"/>
                      <a:pt x="11017250" y="91972"/>
                      <a:pt x="11017250" y="205426"/>
                    </a:cubicBezTo>
                    <a:cubicBezTo>
                      <a:pt x="11017250" y="318880"/>
                      <a:pt x="10925278" y="410852"/>
                      <a:pt x="10811824" y="410852"/>
                    </a:cubicBezTo>
                    <a:lnTo>
                      <a:pt x="205426" y="410852"/>
                    </a:lnTo>
                    <a:cubicBezTo>
                      <a:pt x="91972" y="410852"/>
                      <a:pt x="0" y="318880"/>
                      <a:pt x="0" y="205426"/>
                    </a:cubicBezTo>
                    <a:cubicBezTo>
                      <a:pt x="0" y="91972"/>
                      <a:pt x="91972" y="0"/>
                      <a:pt x="205426" y="0"/>
                    </a:cubicBezTo>
                    <a:close/>
                  </a:path>
                </a:pathLst>
              </a:custGeom>
              <a:solidFill>
                <a:srgbClr val="4322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b="1" dirty="0">
                  <a:solidFill>
                    <a:schemeClr val="bg2"/>
                  </a:solidFill>
                </a:endParaRPr>
              </a:p>
            </p:txBody>
          </p:sp>
        </p:grpSp>
        <p:sp>
          <p:nvSpPr>
            <p:cNvPr id="19" name="TextBox 18">
              <a:extLst>
                <a:ext uri="{FF2B5EF4-FFF2-40B4-BE49-F238E27FC236}">
                  <a16:creationId xmlns:a16="http://schemas.microsoft.com/office/drawing/2014/main" id="{9148F9C8-425E-46C8-8B52-DD9419C97E88}"/>
                </a:ext>
              </a:extLst>
            </p:cNvPr>
            <p:cNvSpPr txBox="1"/>
            <p:nvPr/>
          </p:nvSpPr>
          <p:spPr>
            <a:xfrm>
              <a:off x="3263900" y="945634"/>
              <a:ext cx="6096000" cy="338554"/>
            </a:xfrm>
            <a:prstGeom prst="rect">
              <a:avLst/>
            </a:prstGeom>
            <a:noFill/>
          </p:spPr>
          <p:txBody>
            <a:bodyPr wrap="square" anchor="ctr">
              <a:spAutoFit/>
            </a:bodyPr>
            <a:lstStyle/>
            <a:p>
              <a:pPr algn="ctr"/>
              <a:r>
                <a:rPr lang="en-US" sz="1600" b="1" dirty="0">
                  <a:solidFill>
                    <a:schemeClr val="bg2"/>
                  </a:solidFill>
                </a:rPr>
                <a:t>Shift of IPO Markets Regionally Over the Last 5 Years</a:t>
              </a:r>
              <a:endParaRPr lang="en-IN" sz="1600" b="1" dirty="0">
                <a:solidFill>
                  <a:schemeClr val="bg2"/>
                </a:solidFill>
              </a:endParaRPr>
            </a:p>
          </p:txBody>
        </p:sp>
      </p:grpSp>
      <p:sp>
        <p:nvSpPr>
          <p:cNvPr id="34" name="Title 33">
            <a:extLst>
              <a:ext uri="{FF2B5EF4-FFF2-40B4-BE49-F238E27FC236}">
                <a16:creationId xmlns:a16="http://schemas.microsoft.com/office/drawing/2014/main" id="{88D0C828-45A6-4683-BEC0-3C804271824C}"/>
              </a:ext>
            </a:extLst>
          </p:cNvPr>
          <p:cNvSpPr>
            <a:spLocks noGrp="1"/>
          </p:cNvSpPr>
          <p:nvPr>
            <p:ph type="title"/>
          </p:nvPr>
        </p:nvSpPr>
        <p:spPr/>
        <p:txBody>
          <a:bodyPr/>
          <a:lstStyle/>
          <a:p>
            <a:r>
              <a:rPr lang="en-US" dirty="0"/>
              <a:t>Surge in EMEIA IPO Activity: A Beacon Amid Global Uncertainties</a:t>
            </a:r>
            <a:endParaRPr lang="en-IN" dirty="0"/>
          </a:p>
        </p:txBody>
      </p:sp>
      <p:sp>
        <p:nvSpPr>
          <p:cNvPr id="40" name="Slide Number Placeholder 39">
            <a:extLst>
              <a:ext uri="{FF2B5EF4-FFF2-40B4-BE49-F238E27FC236}">
                <a16:creationId xmlns:a16="http://schemas.microsoft.com/office/drawing/2014/main" id="{C7532BC8-4745-4BB2-8C81-6C639A6284C4}"/>
              </a:ext>
            </a:extLst>
          </p:cNvPr>
          <p:cNvSpPr>
            <a:spLocks noGrp="1"/>
          </p:cNvSpPr>
          <p:nvPr>
            <p:ph type="sldNum" sz="quarter" idx="17"/>
          </p:nvPr>
        </p:nvSpPr>
        <p:spPr/>
        <p:txBody>
          <a:bodyPr/>
          <a:lstStyle/>
          <a:p>
            <a:fld id="{2604F1CA-F590-4AD7-82C4-33C5478F726E}" type="slidenum">
              <a:rPr lang="en-GB" smtClean="0"/>
              <a:pPr/>
              <a:t>4</a:t>
            </a:fld>
            <a:endParaRPr lang="en-GB" dirty="0"/>
          </a:p>
        </p:txBody>
      </p:sp>
      <p:graphicFrame>
        <p:nvGraphicFramePr>
          <p:cNvPr id="11" name="Chart 10">
            <a:extLst>
              <a:ext uri="{FF2B5EF4-FFF2-40B4-BE49-F238E27FC236}">
                <a16:creationId xmlns:a16="http://schemas.microsoft.com/office/drawing/2014/main" id="{C129FF53-3744-4699-9B72-86C8D4F8E014}"/>
              </a:ext>
            </a:extLst>
          </p:cNvPr>
          <p:cNvGraphicFramePr/>
          <p:nvPr>
            <p:extLst>
              <p:ext uri="{D42A27DB-BD31-4B8C-83A1-F6EECF244321}">
                <p14:modId xmlns:p14="http://schemas.microsoft.com/office/powerpoint/2010/main" val="2988489425"/>
              </p:ext>
            </p:extLst>
          </p:nvPr>
        </p:nvGraphicFramePr>
        <p:xfrm>
          <a:off x="490330" y="1447073"/>
          <a:ext cx="1826996" cy="199392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9" name="Chart 28">
            <a:extLst>
              <a:ext uri="{FF2B5EF4-FFF2-40B4-BE49-F238E27FC236}">
                <a16:creationId xmlns:a16="http://schemas.microsoft.com/office/drawing/2014/main" id="{DC1F4855-FDCE-4438-807A-E5911D5B4899}"/>
              </a:ext>
            </a:extLst>
          </p:cNvPr>
          <p:cNvGraphicFramePr/>
          <p:nvPr>
            <p:extLst>
              <p:ext uri="{D42A27DB-BD31-4B8C-83A1-F6EECF244321}">
                <p14:modId xmlns:p14="http://schemas.microsoft.com/office/powerpoint/2010/main" val="2047756054"/>
              </p:ext>
            </p:extLst>
          </p:nvPr>
        </p:nvGraphicFramePr>
        <p:xfrm>
          <a:off x="2266814" y="1447073"/>
          <a:ext cx="1826996" cy="199392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1" name="Chart 30">
            <a:extLst>
              <a:ext uri="{FF2B5EF4-FFF2-40B4-BE49-F238E27FC236}">
                <a16:creationId xmlns:a16="http://schemas.microsoft.com/office/drawing/2014/main" id="{5BF254F2-CE2C-4A05-88A6-F63AB2AB41A0}"/>
              </a:ext>
            </a:extLst>
          </p:cNvPr>
          <p:cNvGraphicFramePr/>
          <p:nvPr>
            <p:extLst>
              <p:ext uri="{D42A27DB-BD31-4B8C-83A1-F6EECF244321}">
                <p14:modId xmlns:p14="http://schemas.microsoft.com/office/powerpoint/2010/main" val="4061520817"/>
              </p:ext>
            </p:extLst>
          </p:nvPr>
        </p:nvGraphicFramePr>
        <p:xfrm>
          <a:off x="5929727" y="1447073"/>
          <a:ext cx="1826996" cy="1993928"/>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2" name="Chart 31">
            <a:extLst>
              <a:ext uri="{FF2B5EF4-FFF2-40B4-BE49-F238E27FC236}">
                <a16:creationId xmlns:a16="http://schemas.microsoft.com/office/drawing/2014/main" id="{5C08CC2B-A289-4B72-950E-A8FCA485FA68}"/>
              </a:ext>
            </a:extLst>
          </p:cNvPr>
          <p:cNvGraphicFramePr/>
          <p:nvPr>
            <p:extLst>
              <p:ext uri="{D42A27DB-BD31-4B8C-83A1-F6EECF244321}">
                <p14:modId xmlns:p14="http://schemas.microsoft.com/office/powerpoint/2010/main" val="2960605225"/>
              </p:ext>
            </p:extLst>
          </p:nvPr>
        </p:nvGraphicFramePr>
        <p:xfrm>
          <a:off x="7752803" y="1464825"/>
          <a:ext cx="1826996" cy="1993928"/>
        </p:xfrm>
        <a:graphic>
          <a:graphicData uri="http://schemas.openxmlformats.org/drawingml/2006/chart">
            <c:chart xmlns:c="http://schemas.openxmlformats.org/drawingml/2006/chart" xmlns:r="http://schemas.openxmlformats.org/officeDocument/2006/relationships" r:id="rId7"/>
          </a:graphicData>
        </a:graphic>
      </p:graphicFrame>
      <p:sp>
        <p:nvSpPr>
          <p:cNvPr id="26" name="Content Placeholder 6">
            <a:extLst>
              <a:ext uri="{FF2B5EF4-FFF2-40B4-BE49-F238E27FC236}">
                <a16:creationId xmlns:a16="http://schemas.microsoft.com/office/drawing/2014/main" id="{EAA04166-3D5D-4BB4-944F-64EF85B8CCBA}"/>
              </a:ext>
            </a:extLst>
          </p:cNvPr>
          <p:cNvSpPr txBox="1">
            <a:spLocks/>
          </p:cNvSpPr>
          <p:nvPr/>
        </p:nvSpPr>
        <p:spPr>
          <a:xfrm>
            <a:off x="571500" y="3512046"/>
            <a:ext cx="10721975" cy="2964954"/>
          </a:xfrm>
          <a:prstGeom prst="roundRect">
            <a:avLst>
              <a:gd name="adj" fmla="val 7305"/>
            </a:avLst>
          </a:prstGeom>
          <a:solidFill>
            <a:srgbClr val="F9F9F9"/>
          </a:solidFill>
          <a:ln>
            <a:solidFill>
              <a:schemeClr val="bg2"/>
            </a:solidFill>
            <a:prstDash val="solid"/>
          </a:ln>
        </p:spPr>
        <p:txBody>
          <a:bodyPr vert="horz" lIns="36000" tIns="72000" rIns="36000" bIns="36000" rtlCol="0" anchor="t">
            <a:noAutofit/>
          </a:bodyPr>
          <a:lstStyle>
            <a:lvl1pPr marL="228600" indent="-228600" algn="l" defTabSz="914400" rtl="0" eaLnBrk="1" latinLnBrk="0" hangingPunct="1">
              <a:lnSpc>
                <a:spcPct val="100000"/>
              </a:lnSpc>
              <a:spcBef>
                <a:spcPts val="600"/>
              </a:spcBef>
              <a:spcAft>
                <a:spcPts val="300"/>
              </a:spcAft>
              <a:buClr>
                <a:schemeClr val="tx1"/>
              </a:buClr>
              <a:buSzPct val="130000"/>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228600" algn="l" defTabSz="914400" rtl="0" eaLnBrk="1" latinLnBrk="0" hangingPunct="1">
              <a:lnSpc>
                <a:spcPct val="100000"/>
              </a:lnSpc>
              <a:spcBef>
                <a:spcPts val="600"/>
              </a:spcBef>
              <a:spcAft>
                <a:spcPts val="300"/>
              </a:spcAft>
              <a:buClr>
                <a:schemeClr val="tx1"/>
              </a:buClr>
              <a:buFont typeface="Segoe UI" panose="020B0502040204020203"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685800" indent="-228600" algn="l" defTabSz="914400" rtl="0" eaLnBrk="1" latinLnBrk="0" hangingPunct="1">
              <a:lnSpc>
                <a:spcPct val="100000"/>
              </a:lnSpc>
              <a:spcBef>
                <a:spcPts val="600"/>
              </a:spcBef>
              <a:spcAft>
                <a:spcPts val="300"/>
              </a:spcAft>
              <a:buClr>
                <a:schemeClr val="tx1"/>
              </a:buClr>
              <a:buSzPct val="100000"/>
              <a:buFont typeface="Courier New" panose="02070309020205020404" pitchFamily="49" charset="0"/>
              <a:buChar char="o"/>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144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1430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944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j-lt"/>
                <a:ea typeface="Lato" panose="020F0502020204030203" pitchFamily="34" charset="0"/>
                <a:cs typeface="Poppins" panose="00000500000000000000" pitchFamily="50" charset="0"/>
              </a:defRPr>
            </a:lvl6pPr>
            <a:lvl7pPr marL="2268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n-lt"/>
                <a:ea typeface="Lato" panose="020F0502020204030203" pitchFamily="34" charset="0"/>
                <a:cs typeface="Poppins" panose="00000500000000000000" pitchFamily="50" charset="0"/>
              </a:defRPr>
            </a:lvl7pPr>
            <a:lvl8pPr marL="2592000" indent="-342000" algn="l" defTabSz="914400" rtl="0" eaLnBrk="1" latinLnBrk="0" hangingPunct="1">
              <a:lnSpc>
                <a:spcPct val="90000"/>
              </a:lnSpc>
              <a:spcBef>
                <a:spcPts val="800"/>
              </a:spcBef>
              <a:buClr>
                <a:srgbClr val="E0044E"/>
              </a:buClr>
              <a:buFont typeface="Arial" panose="020B0604020202020204" pitchFamily="34" charset="0"/>
              <a:buChar char="•"/>
              <a:defRPr sz="1600" b="0" i="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182880">
              <a:spcBef>
                <a:spcPts val="100"/>
              </a:spcBef>
              <a:spcAft>
                <a:spcPts val="100"/>
              </a:spcAft>
            </a:pPr>
            <a:r>
              <a:rPr lang="en-US" sz="1200" dirty="0"/>
              <a:t>2024 global IPO market faced a convergence of challenges, shaped by economic, political, and geopolitical uncertainties, along with restrictive monetary policies across nearly all regions</a:t>
            </a:r>
          </a:p>
          <a:p>
            <a:pPr marL="411480" lvl="1" indent="-182880">
              <a:spcBef>
                <a:spcPts val="100"/>
              </a:spcBef>
              <a:spcAft>
                <a:spcPts val="100"/>
              </a:spcAft>
            </a:pPr>
            <a:r>
              <a:rPr lang="en-US" sz="1200" spc="-10" dirty="0"/>
              <a:t>Cross-border listings exhibited a positive correlation between deal size and returns, with larger deals outperforming smaller ones in the post-IPO period</a:t>
            </a:r>
          </a:p>
          <a:p>
            <a:pPr marL="182880" indent="-182880">
              <a:spcBef>
                <a:spcPts val="100"/>
              </a:spcBef>
              <a:spcAft>
                <a:spcPts val="100"/>
              </a:spcAft>
            </a:pPr>
            <a:r>
              <a:rPr lang="en-US" sz="1200" b="1" dirty="0"/>
              <a:t>Americas </a:t>
            </a:r>
            <a:r>
              <a:rPr lang="en-US" sz="1200" dirty="0"/>
              <a:t>witnessed a significant jump in both # of IPOs (37%) and IPO proceeds (45%) YoY and has reached almost similar market share as in 2020</a:t>
            </a:r>
          </a:p>
          <a:p>
            <a:pPr marL="365760" lvl="1" indent="-182880">
              <a:spcBef>
                <a:spcPts val="100"/>
              </a:spcBef>
              <a:spcAft>
                <a:spcPts val="100"/>
              </a:spcAft>
            </a:pPr>
            <a:r>
              <a:rPr lang="en-US" sz="1200" dirty="0"/>
              <a:t>The surge in IPO proceeds was driven by 19 deals that raised more than $500Mn and 7 deals that raised more than $1Bn in 2024, as compared to only 7 IPOs that raised more than $500Mn in 2023</a:t>
            </a:r>
          </a:p>
          <a:p>
            <a:pPr marL="365760" lvl="1" indent="-182880">
              <a:spcBef>
                <a:spcPts val="100"/>
              </a:spcBef>
              <a:spcAft>
                <a:spcPts val="100"/>
              </a:spcAft>
            </a:pPr>
            <a:r>
              <a:rPr lang="en-US" sz="1200" dirty="0">
                <a:solidFill>
                  <a:schemeClr val="tx1"/>
                </a:solidFill>
                <a:latin typeface="Segoe UI" panose="020B0502040204020203" pitchFamily="34" charset="0"/>
                <a:cs typeface="Segoe UI" panose="020B0502040204020203" pitchFamily="34" charset="0"/>
              </a:rPr>
              <a:t>Sponsor-backed IPOs accounted for more than 25% of US exchange IPOs in 2024, compared to just 17% in 2023</a:t>
            </a:r>
          </a:p>
          <a:p>
            <a:pPr marL="182880" indent="-182880">
              <a:spcBef>
                <a:spcPts val="100"/>
              </a:spcBef>
              <a:spcAft>
                <a:spcPts val="100"/>
              </a:spcAft>
              <a:buClr>
                <a:schemeClr val="tx1"/>
              </a:buClr>
              <a:buFont typeface="Arial" panose="020B0604020202020204" pitchFamily="34" charset="0"/>
              <a:buChar char="•"/>
            </a:pPr>
            <a:r>
              <a:rPr lang="en-US" sz="1200" dirty="0"/>
              <a:t>In 2024, </a:t>
            </a:r>
            <a:r>
              <a:rPr lang="en-US" sz="1200" b="1" dirty="0"/>
              <a:t>Asia-Pacific </a:t>
            </a:r>
            <a:r>
              <a:rPr lang="en-US" sz="1200" dirty="0"/>
              <a:t>accounted for 40% of the IPOs that collectively generated $34.9Bn proceeds (51% decline YoY)</a:t>
            </a:r>
          </a:p>
          <a:p>
            <a:pPr marL="365760" lvl="1" indent="-182880">
              <a:spcBef>
                <a:spcPts val="100"/>
              </a:spcBef>
              <a:spcAft>
                <a:spcPts val="100"/>
              </a:spcAft>
            </a:pPr>
            <a:r>
              <a:rPr lang="en-US" sz="1200" dirty="0"/>
              <a:t>The Chinese Mainland IPO regulators have significantly slowed the pace of domestic IPO activity, pushing fundraising to near-historic lows</a:t>
            </a:r>
          </a:p>
          <a:p>
            <a:pPr marL="365760" lvl="1" indent="-182880">
              <a:spcBef>
                <a:spcPts val="100"/>
              </a:spcBef>
              <a:spcAft>
                <a:spcPts val="100"/>
              </a:spcAft>
            </a:pPr>
            <a:r>
              <a:rPr lang="en-US" sz="1200" dirty="0">
                <a:solidFill>
                  <a:schemeClr val="tx1"/>
                </a:solidFill>
                <a:latin typeface="Segoe UI" panose="020B0502040204020203" pitchFamily="34" charset="0"/>
                <a:cs typeface="Segoe UI" panose="020B0502040204020203" pitchFamily="34" charset="0"/>
              </a:rPr>
              <a:t>However, IPO activity in Hong Kong improved with 64 IPOs and Japan featured a 7-year high of average deal value, driven by Tokyo Metro Co’s IPO worth $2.3Bn</a:t>
            </a:r>
          </a:p>
          <a:p>
            <a:pPr marL="137160" indent="-182880">
              <a:spcBef>
                <a:spcPts val="100"/>
              </a:spcBef>
              <a:spcAft>
                <a:spcPts val="100"/>
              </a:spcAft>
            </a:pPr>
            <a:r>
              <a:rPr lang="en-IN" sz="1200" b="1" dirty="0">
                <a:solidFill>
                  <a:schemeClr val="tx1"/>
                </a:solidFill>
                <a:latin typeface="Segoe UI" panose="020B0502040204020203" pitchFamily="34" charset="0"/>
                <a:cs typeface="Segoe UI" panose="020B0502040204020203" pitchFamily="34" charset="0"/>
              </a:rPr>
              <a:t>EMIEA </a:t>
            </a:r>
            <a:r>
              <a:rPr lang="en-US" sz="1200" b="1" dirty="0">
                <a:solidFill>
                  <a:schemeClr val="tx1"/>
                </a:solidFill>
                <a:latin typeface="Segoe UI" panose="020B0502040204020203" pitchFamily="34" charset="0"/>
                <a:cs typeface="Segoe UI" panose="020B0502040204020203" pitchFamily="34" charset="0"/>
              </a:rPr>
              <a:t>(Europe, Middle East, India and Africa) </a:t>
            </a:r>
            <a:r>
              <a:rPr lang="en-IN" sz="1200" dirty="0">
                <a:solidFill>
                  <a:schemeClr val="tx1"/>
                </a:solidFill>
                <a:latin typeface="Segoe UI" panose="020B0502040204020203" pitchFamily="34" charset="0"/>
                <a:cs typeface="Segoe UI" panose="020B0502040204020203" pitchFamily="34" charset="0"/>
              </a:rPr>
              <a:t>market share </a:t>
            </a:r>
            <a:r>
              <a:rPr lang="en-IN" sz="1200" dirty="0"/>
              <a:t>has been constantly increasing in the last 5 years</a:t>
            </a:r>
            <a:r>
              <a:rPr lang="en-IN" sz="1200" dirty="0">
                <a:solidFill>
                  <a:schemeClr val="tx1"/>
                </a:solidFill>
                <a:latin typeface="Segoe UI" panose="020B0502040204020203" pitchFamily="34" charset="0"/>
                <a:cs typeface="Segoe UI" panose="020B0502040204020203" pitchFamily="34" charset="0"/>
              </a:rPr>
              <a:t> by both </a:t>
            </a:r>
            <a:r>
              <a:rPr lang="en-IN" sz="1200" dirty="0"/>
              <a:t>deals (#) and proceeds</a:t>
            </a:r>
            <a:endParaRPr lang="en-IN" sz="1200" dirty="0">
              <a:solidFill>
                <a:schemeClr val="tx1"/>
              </a:solidFill>
              <a:latin typeface="Segoe UI" panose="020B0502040204020203" pitchFamily="34" charset="0"/>
              <a:cs typeface="Segoe UI" panose="020B0502040204020203" pitchFamily="34" charset="0"/>
            </a:endParaRPr>
          </a:p>
          <a:p>
            <a:pPr marL="365760" lvl="1" indent="-182880">
              <a:spcBef>
                <a:spcPts val="100"/>
              </a:spcBef>
              <a:spcAft>
                <a:spcPts val="100"/>
              </a:spcAft>
              <a:buClr>
                <a:schemeClr val="tx1"/>
              </a:buClr>
              <a:buFont typeface="Arial" panose="020B0604020202020204" pitchFamily="34" charset="0"/>
              <a:buChar char="–"/>
            </a:pPr>
            <a:r>
              <a:rPr lang="en-US" sz="1200" dirty="0">
                <a:solidFill>
                  <a:schemeClr val="tx1"/>
                </a:solidFill>
                <a:latin typeface="Segoe UI" panose="020B0502040204020203" pitchFamily="34" charset="0"/>
                <a:cs typeface="Segoe UI" panose="020B0502040204020203" pitchFamily="34" charset="0"/>
              </a:rPr>
              <a:t>IPO activity in the region increased strongly in 2024, driven by strong demand from Industrial, Consumer, and Technology sectors and boost from India</a:t>
            </a:r>
          </a:p>
          <a:p>
            <a:pPr marL="365760" lvl="1" indent="-182880">
              <a:spcBef>
                <a:spcPts val="100"/>
              </a:spcBef>
              <a:spcAft>
                <a:spcPts val="100"/>
              </a:spcAft>
              <a:buClr>
                <a:schemeClr val="tx1"/>
              </a:buClr>
              <a:buFont typeface="Arial" panose="020B0604020202020204" pitchFamily="34" charset="0"/>
              <a:buChar char="–"/>
            </a:pPr>
            <a:r>
              <a:rPr lang="en-US" sz="1200" dirty="0"/>
              <a:t>The market saw a positive investor sentiment driven by easing market conditions including reduced volatility, interest rate cuts and utility price declines</a:t>
            </a:r>
            <a:endParaRPr lang="en-US" sz="1200" dirty="0">
              <a:solidFill>
                <a:schemeClr val="tx1"/>
              </a:solidFill>
              <a:latin typeface="Segoe UI" panose="020B0502040204020203" pitchFamily="34" charset="0"/>
              <a:cs typeface="Segoe UI" panose="020B0502040204020203" pitchFamily="34" charset="0"/>
            </a:endParaRPr>
          </a:p>
        </p:txBody>
      </p:sp>
      <p:sp>
        <p:nvSpPr>
          <p:cNvPr id="25" name="TextBox 24">
            <a:extLst>
              <a:ext uri="{FF2B5EF4-FFF2-40B4-BE49-F238E27FC236}">
                <a16:creationId xmlns:a16="http://schemas.microsoft.com/office/drawing/2014/main" id="{8AA86918-CD52-4E98-8331-223639B1D6AF}"/>
              </a:ext>
            </a:extLst>
          </p:cNvPr>
          <p:cNvSpPr txBox="1"/>
          <p:nvPr/>
        </p:nvSpPr>
        <p:spPr>
          <a:xfrm>
            <a:off x="571500" y="6543674"/>
            <a:ext cx="8788400" cy="161925"/>
          </a:xfrm>
          <a:prstGeom prst="rect">
            <a:avLst/>
          </a:prstGeom>
          <a:noFill/>
        </p:spPr>
        <p:txBody>
          <a:bodyPr wrap="square" lIns="45720" rtlCol="0" anchor="ctr">
            <a:noAutofit/>
          </a:bodyPr>
          <a:lstStyle/>
          <a:p>
            <a:pPr algn="l">
              <a:lnSpc>
                <a:spcPct val="90000"/>
              </a:lnSpc>
              <a:spcBef>
                <a:spcPts val="800"/>
              </a:spcBef>
              <a:buClr>
                <a:srgbClr val="E0044E"/>
              </a:buClr>
            </a:pPr>
            <a:r>
              <a:rPr lang="en-US" sz="900" dirty="0">
                <a:latin typeface="Segoe UI" panose="020B0502040204020203" pitchFamily="34" charset="0"/>
                <a:cs typeface="Segoe UI" panose="020B0502040204020203" pitchFamily="34" charset="0"/>
              </a:rPr>
              <a:t>Source: EY, Press</a:t>
            </a:r>
            <a:endParaRPr lang="en-IN" sz="900" dirty="0">
              <a:latin typeface="Segoe UI" panose="020B0502040204020203" pitchFamily="34" charset="0"/>
              <a:cs typeface="Segoe UI" panose="020B0502040204020203" pitchFamily="34" charset="0"/>
            </a:endParaRPr>
          </a:p>
        </p:txBody>
      </p:sp>
      <p:grpSp>
        <p:nvGrpSpPr>
          <p:cNvPr id="7" name="Group 6">
            <a:extLst>
              <a:ext uri="{FF2B5EF4-FFF2-40B4-BE49-F238E27FC236}">
                <a16:creationId xmlns:a16="http://schemas.microsoft.com/office/drawing/2014/main" id="{A01E9FE2-0E3C-44BE-866A-A732B31F4D72}"/>
              </a:ext>
            </a:extLst>
          </p:cNvPr>
          <p:cNvGrpSpPr/>
          <p:nvPr/>
        </p:nvGrpSpPr>
        <p:grpSpPr>
          <a:xfrm>
            <a:off x="5216546" y="3306465"/>
            <a:ext cx="2786475" cy="109723"/>
            <a:chOff x="5216546" y="3242965"/>
            <a:chExt cx="2786475" cy="109723"/>
          </a:xfrm>
        </p:grpSpPr>
        <p:grpSp>
          <p:nvGrpSpPr>
            <p:cNvPr id="6" name="Group 5">
              <a:extLst>
                <a:ext uri="{FF2B5EF4-FFF2-40B4-BE49-F238E27FC236}">
                  <a16:creationId xmlns:a16="http://schemas.microsoft.com/office/drawing/2014/main" id="{241688DC-493C-446A-8BE7-DE960ADCDED7}"/>
                </a:ext>
              </a:extLst>
            </p:cNvPr>
            <p:cNvGrpSpPr/>
            <p:nvPr/>
          </p:nvGrpSpPr>
          <p:grpSpPr>
            <a:xfrm>
              <a:off x="5216546" y="3242965"/>
              <a:ext cx="938668" cy="109723"/>
              <a:chOff x="6676571" y="137927"/>
              <a:chExt cx="938668" cy="109723"/>
            </a:xfrm>
          </p:grpSpPr>
          <p:sp>
            <p:nvSpPr>
              <p:cNvPr id="2" name="Rectangle 1">
                <a:extLst>
                  <a:ext uri="{FF2B5EF4-FFF2-40B4-BE49-F238E27FC236}">
                    <a16:creationId xmlns:a16="http://schemas.microsoft.com/office/drawing/2014/main" id="{EDD2CE60-E66E-4819-874A-626FA908A668}"/>
                  </a:ext>
                </a:extLst>
              </p:cNvPr>
              <p:cNvSpPr/>
              <p:nvPr/>
            </p:nvSpPr>
            <p:spPr>
              <a:xfrm>
                <a:off x="6676571" y="137927"/>
                <a:ext cx="109758" cy="109723"/>
              </a:xfrm>
              <a:prstGeom prst="rect">
                <a:avLst/>
              </a:prstGeom>
              <a:solidFill>
                <a:srgbClr val="43224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 name="TextBox 2">
                <a:extLst>
                  <a:ext uri="{FF2B5EF4-FFF2-40B4-BE49-F238E27FC236}">
                    <a16:creationId xmlns:a16="http://schemas.microsoft.com/office/drawing/2014/main" id="{42C08469-081E-4A75-8C6C-6C43C4000CFD}"/>
                  </a:ext>
                </a:extLst>
              </p:cNvPr>
              <p:cNvSpPr txBox="1"/>
              <p:nvPr/>
            </p:nvSpPr>
            <p:spPr>
              <a:xfrm>
                <a:off x="6786299" y="137927"/>
                <a:ext cx="828940" cy="109723"/>
              </a:xfrm>
              <a:prstGeom prst="rect">
                <a:avLst/>
              </a:prstGeom>
              <a:noFill/>
            </p:spPr>
            <p:txBody>
              <a:bodyPr wrap="square" lIns="27432" rtlCol="0" anchor="ctr">
                <a:noAutofit/>
              </a:bodyPr>
              <a:lstStyle/>
              <a:p>
                <a:pPr algn="l">
                  <a:lnSpc>
                    <a:spcPct val="90000"/>
                  </a:lnSpc>
                  <a:spcBef>
                    <a:spcPts val="800"/>
                  </a:spcBef>
                  <a:buClr>
                    <a:srgbClr val="E0044E"/>
                  </a:buClr>
                </a:pPr>
                <a:r>
                  <a:rPr lang="en-US" sz="1100" dirty="0"/>
                  <a:t>Americas</a:t>
                </a:r>
                <a:endParaRPr lang="en-IN" sz="1100" dirty="0"/>
              </a:p>
            </p:txBody>
          </p:sp>
        </p:grpSp>
        <p:grpSp>
          <p:nvGrpSpPr>
            <p:cNvPr id="5" name="Group 4">
              <a:extLst>
                <a:ext uri="{FF2B5EF4-FFF2-40B4-BE49-F238E27FC236}">
                  <a16:creationId xmlns:a16="http://schemas.microsoft.com/office/drawing/2014/main" id="{D166032C-625D-4E6B-B501-DB888F6108F5}"/>
                </a:ext>
              </a:extLst>
            </p:cNvPr>
            <p:cNvGrpSpPr/>
            <p:nvPr/>
          </p:nvGrpSpPr>
          <p:grpSpPr>
            <a:xfrm>
              <a:off x="6096000" y="3242965"/>
              <a:ext cx="938668" cy="109723"/>
              <a:chOff x="7505511" y="136776"/>
              <a:chExt cx="938668" cy="109723"/>
            </a:xfrm>
          </p:grpSpPr>
          <p:sp>
            <p:nvSpPr>
              <p:cNvPr id="27" name="Rectangle 26">
                <a:extLst>
                  <a:ext uri="{FF2B5EF4-FFF2-40B4-BE49-F238E27FC236}">
                    <a16:creationId xmlns:a16="http://schemas.microsoft.com/office/drawing/2014/main" id="{858E2168-7133-4F8A-A792-305818DC5EAB}"/>
                  </a:ext>
                </a:extLst>
              </p:cNvPr>
              <p:cNvSpPr/>
              <p:nvPr/>
            </p:nvSpPr>
            <p:spPr>
              <a:xfrm>
                <a:off x="7505511" y="136776"/>
                <a:ext cx="109758" cy="109723"/>
              </a:xfrm>
              <a:prstGeom prst="rect">
                <a:avLst/>
              </a:prstGeom>
              <a:solidFill>
                <a:srgbClr val="786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a:extLst>
                  <a:ext uri="{FF2B5EF4-FFF2-40B4-BE49-F238E27FC236}">
                    <a16:creationId xmlns:a16="http://schemas.microsoft.com/office/drawing/2014/main" id="{69239490-A529-4710-96E0-60573562A424}"/>
                  </a:ext>
                </a:extLst>
              </p:cNvPr>
              <p:cNvSpPr txBox="1"/>
              <p:nvPr/>
            </p:nvSpPr>
            <p:spPr>
              <a:xfrm>
                <a:off x="7615239" y="136776"/>
                <a:ext cx="828940" cy="109723"/>
              </a:xfrm>
              <a:prstGeom prst="rect">
                <a:avLst/>
              </a:prstGeom>
              <a:noFill/>
            </p:spPr>
            <p:txBody>
              <a:bodyPr wrap="square" lIns="27432" rtlCol="0" anchor="ctr">
                <a:noAutofit/>
              </a:bodyPr>
              <a:lstStyle/>
              <a:p>
                <a:pPr algn="l">
                  <a:lnSpc>
                    <a:spcPct val="90000"/>
                  </a:lnSpc>
                  <a:spcBef>
                    <a:spcPts val="800"/>
                  </a:spcBef>
                  <a:buClr>
                    <a:srgbClr val="E0044E"/>
                  </a:buClr>
                </a:pPr>
                <a:r>
                  <a:rPr lang="en-US" sz="1100" dirty="0"/>
                  <a:t>Asia-Pacific</a:t>
                </a:r>
                <a:endParaRPr lang="en-IN" sz="1100" dirty="0"/>
              </a:p>
            </p:txBody>
          </p:sp>
        </p:grpSp>
        <p:grpSp>
          <p:nvGrpSpPr>
            <p:cNvPr id="4" name="Group 3">
              <a:extLst>
                <a:ext uri="{FF2B5EF4-FFF2-40B4-BE49-F238E27FC236}">
                  <a16:creationId xmlns:a16="http://schemas.microsoft.com/office/drawing/2014/main" id="{CFDC04AF-6553-411A-8119-F65091B20995}"/>
                </a:ext>
              </a:extLst>
            </p:cNvPr>
            <p:cNvGrpSpPr/>
            <p:nvPr/>
          </p:nvGrpSpPr>
          <p:grpSpPr>
            <a:xfrm>
              <a:off x="7064353" y="3242965"/>
              <a:ext cx="938668" cy="109723"/>
              <a:chOff x="8524378" y="140263"/>
              <a:chExt cx="938668" cy="109723"/>
            </a:xfrm>
          </p:grpSpPr>
          <p:sp>
            <p:nvSpPr>
              <p:cNvPr id="30" name="Rectangle 29">
                <a:extLst>
                  <a:ext uri="{FF2B5EF4-FFF2-40B4-BE49-F238E27FC236}">
                    <a16:creationId xmlns:a16="http://schemas.microsoft.com/office/drawing/2014/main" id="{991B1E26-E9FF-4664-8B36-2F72BE75246C}"/>
                  </a:ext>
                </a:extLst>
              </p:cNvPr>
              <p:cNvSpPr/>
              <p:nvPr/>
            </p:nvSpPr>
            <p:spPr>
              <a:xfrm>
                <a:off x="8524378" y="140263"/>
                <a:ext cx="109758" cy="109723"/>
              </a:xfrm>
              <a:prstGeom prst="rect">
                <a:avLst/>
              </a:prstGeom>
              <a:solidFill>
                <a:srgbClr val="4CB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TextBox 32">
                <a:extLst>
                  <a:ext uri="{FF2B5EF4-FFF2-40B4-BE49-F238E27FC236}">
                    <a16:creationId xmlns:a16="http://schemas.microsoft.com/office/drawing/2014/main" id="{0AA8828A-5203-49F7-82D6-C793A7E7BEE5}"/>
                  </a:ext>
                </a:extLst>
              </p:cNvPr>
              <p:cNvSpPr txBox="1"/>
              <p:nvPr/>
            </p:nvSpPr>
            <p:spPr>
              <a:xfrm>
                <a:off x="8634106" y="140263"/>
                <a:ext cx="828940" cy="109723"/>
              </a:xfrm>
              <a:prstGeom prst="rect">
                <a:avLst/>
              </a:prstGeom>
              <a:noFill/>
            </p:spPr>
            <p:txBody>
              <a:bodyPr wrap="square" lIns="27432" rtlCol="0" anchor="ctr">
                <a:noAutofit/>
              </a:bodyPr>
              <a:lstStyle/>
              <a:p>
                <a:pPr algn="l">
                  <a:lnSpc>
                    <a:spcPct val="90000"/>
                  </a:lnSpc>
                  <a:spcBef>
                    <a:spcPts val="800"/>
                  </a:spcBef>
                  <a:buClr>
                    <a:srgbClr val="E0044E"/>
                  </a:buClr>
                </a:pPr>
                <a:r>
                  <a:rPr lang="en-US" sz="1100" dirty="0"/>
                  <a:t>EMEIA</a:t>
                </a:r>
                <a:endParaRPr lang="en-IN" sz="1100" dirty="0"/>
              </a:p>
            </p:txBody>
          </p:sp>
        </p:grpSp>
      </p:grpSp>
    </p:spTree>
    <p:extLst>
      <p:ext uri="{BB962C8B-B14F-4D97-AF65-F5344CB8AC3E}">
        <p14:creationId xmlns:p14="http://schemas.microsoft.com/office/powerpoint/2010/main" val="36913583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name="Slide5">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C2C21E0-FB95-4F45-B403-5A0F16A7FF89}"/>
              </a:ext>
            </a:extLst>
          </p:cNvPr>
          <p:cNvSpPr>
            <a:spLocks/>
          </p:cNvSpPr>
          <p:nvPr/>
        </p:nvSpPr>
        <p:spPr>
          <a:xfrm>
            <a:off x="571500" y="1484767"/>
            <a:ext cx="3484362" cy="1969633"/>
          </a:xfrm>
          <a:prstGeom prst="rect">
            <a:avLst/>
          </a:prstGeom>
          <a:solidFill>
            <a:schemeClr val="bg1"/>
          </a:solidFill>
          <a:ln w="317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a:extLst>
              <a:ext uri="{FF2B5EF4-FFF2-40B4-BE49-F238E27FC236}">
                <a16:creationId xmlns:a16="http://schemas.microsoft.com/office/drawing/2014/main" id="{F532208E-4B7A-4DC4-8365-7912A7C9DC63}"/>
              </a:ext>
            </a:extLst>
          </p:cNvPr>
          <p:cNvSpPr>
            <a:spLocks/>
          </p:cNvSpPr>
          <p:nvPr/>
        </p:nvSpPr>
        <p:spPr>
          <a:xfrm>
            <a:off x="4190307" y="1484767"/>
            <a:ext cx="3484362" cy="1969633"/>
          </a:xfrm>
          <a:prstGeom prst="rect">
            <a:avLst/>
          </a:prstGeom>
          <a:solidFill>
            <a:schemeClr val="bg1"/>
          </a:solidFill>
          <a:ln w="317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Rectangle 27">
            <a:extLst>
              <a:ext uri="{FF2B5EF4-FFF2-40B4-BE49-F238E27FC236}">
                <a16:creationId xmlns:a16="http://schemas.microsoft.com/office/drawing/2014/main" id="{14619CC3-B966-421B-A4DE-CB925F27526A}"/>
              </a:ext>
            </a:extLst>
          </p:cNvPr>
          <p:cNvSpPr>
            <a:spLocks/>
          </p:cNvSpPr>
          <p:nvPr/>
        </p:nvSpPr>
        <p:spPr>
          <a:xfrm>
            <a:off x="7809113" y="1484767"/>
            <a:ext cx="3484362" cy="1969633"/>
          </a:xfrm>
          <a:prstGeom prst="rect">
            <a:avLst/>
          </a:prstGeom>
          <a:solidFill>
            <a:schemeClr val="bg1"/>
          </a:solidFill>
          <a:ln w="317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Title 33">
            <a:extLst>
              <a:ext uri="{FF2B5EF4-FFF2-40B4-BE49-F238E27FC236}">
                <a16:creationId xmlns:a16="http://schemas.microsoft.com/office/drawing/2014/main" id="{88D0C828-45A6-4683-BEC0-3C804271824C}"/>
              </a:ext>
            </a:extLst>
          </p:cNvPr>
          <p:cNvSpPr>
            <a:spLocks noGrp="1"/>
          </p:cNvSpPr>
          <p:nvPr>
            <p:ph type="title"/>
          </p:nvPr>
        </p:nvSpPr>
        <p:spPr/>
        <p:txBody>
          <a:bodyPr/>
          <a:lstStyle/>
          <a:p>
            <a:r>
              <a:rPr lang="en-US" dirty="0"/>
              <a:t>Global IPO Market by Geography – Gross Proceeds ($Bn) and Deal Volume</a:t>
            </a:r>
            <a:endParaRPr lang="en-IN" dirty="0"/>
          </a:p>
        </p:txBody>
      </p:sp>
      <p:sp>
        <p:nvSpPr>
          <p:cNvPr id="40" name="Slide Number Placeholder 39">
            <a:extLst>
              <a:ext uri="{FF2B5EF4-FFF2-40B4-BE49-F238E27FC236}">
                <a16:creationId xmlns:a16="http://schemas.microsoft.com/office/drawing/2014/main" id="{C7532BC8-4745-4BB2-8C81-6C639A6284C4}"/>
              </a:ext>
            </a:extLst>
          </p:cNvPr>
          <p:cNvSpPr>
            <a:spLocks noGrp="1"/>
          </p:cNvSpPr>
          <p:nvPr>
            <p:ph type="sldNum" sz="quarter" idx="17"/>
          </p:nvPr>
        </p:nvSpPr>
        <p:spPr/>
        <p:txBody>
          <a:bodyPr/>
          <a:lstStyle/>
          <a:p>
            <a:fld id="{2604F1CA-F590-4AD7-82C4-33C5478F726E}" type="slidenum">
              <a:rPr lang="en-GB" smtClean="0"/>
              <a:pPr/>
              <a:t>5</a:t>
            </a:fld>
            <a:endParaRPr lang="en-GB" dirty="0"/>
          </a:p>
        </p:txBody>
      </p:sp>
      <p:sp>
        <p:nvSpPr>
          <p:cNvPr id="12" name="Content Placeholder 6">
            <a:extLst>
              <a:ext uri="{FF2B5EF4-FFF2-40B4-BE49-F238E27FC236}">
                <a16:creationId xmlns:a16="http://schemas.microsoft.com/office/drawing/2014/main" id="{ED1259AE-26B9-4E26-A30E-84A3DBB93738}"/>
              </a:ext>
            </a:extLst>
          </p:cNvPr>
          <p:cNvSpPr txBox="1">
            <a:spLocks/>
          </p:cNvSpPr>
          <p:nvPr/>
        </p:nvSpPr>
        <p:spPr>
          <a:xfrm>
            <a:off x="571500" y="3810000"/>
            <a:ext cx="3484362" cy="2667000"/>
          </a:xfrm>
          <a:prstGeom prst="roundRect">
            <a:avLst>
              <a:gd name="adj" fmla="val 6815"/>
            </a:avLst>
          </a:prstGeom>
          <a:solidFill>
            <a:srgbClr val="F9F9F9"/>
          </a:solidFill>
          <a:ln>
            <a:solidFill>
              <a:schemeClr val="bg2"/>
            </a:solidFill>
            <a:prstDash val="solid"/>
          </a:ln>
        </p:spPr>
        <p:txBody>
          <a:bodyPr vert="horz" lIns="0" tIns="36000" rIns="18000" bIns="36000" rtlCol="0" anchor="t">
            <a:noAutofit/>
          </a:bodyPr>
          <a:lstStyle>
            <a:lvl1pPr marL="228600" indent="-228600" algn="l" defTabSz="914400" rtl="0" eaLnBrk="1" latinLnBrk="0" hangingPunct="1">
              <a:lnSpc>
                <a:spcPct val="100000"/>
              </a:lnSpc>
              <a:spcBef>
                <a:spcPts val="600"/>
              </a:spcBef>
              <a:spcAft>
                <a:spcPts val="300"/>
              </a:spcAft>
              <a:buClr>
                <a:schemeClr val="tx1"/>
              </a:buClr>
              <a:buSzPct val="130000"/>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228600" algn="l" defTabSz="914400" rtl="0" eaLnBrk="1" latinLnBrk="0" hangingPunct="1">
              <a:lnSpc>
                <a:spcPct val="100000"/>
              </a:lnSpc>
              <a:spcBef>
                <a:spcPts val="600"/>
              </a:spcBef>
              <a:spcAft>
                <a:spcPts val="300"/>
              </a:spcAft>
              <a:buClr>
                <a:schemeClr val="tx1"/>
              </a:buClr>
              <a:buFont typeface="Segoe UI" panose="020B0502040204020203"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685800" indent="-228600" algn="l" defTabSz="914400" rtl="0" eaLnBrk="1" latinLnBrk="0" hangingPunct="1">
              <a:lnSpc>
                <a:spcPct val="100000"/>
              </a:lnSpc>
              <a:spcBef>
                <a:spcPts val="600"/>
              </a:spcBef>
              <a:spcAft>
                <a:spcPts val="300"/>
              </a:spcAft>
              <a:buClr>
                <a:schemeClr val="tx1"/>
              </a:buClr>
              <a:buSzPct val="100000"/>
              <a:buFont typeface="Courier New" panose="02070309020205020404" pitchFamily="49" charset="0"/>
              <a:buChar char="o"/>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144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1430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944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j-lt"/>
                <a:ea typeface="Lato" panose="020F0502020204030203" pitchFamily="34" charset="0"/>
                <a:cs typeface="Poppins" panose="00000500000000000000" pitchFamily="50" charset="0"/>
              </a:defRPr>
            </a:lvl6pPr>
            <a:lvl7pPr marL="2268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n-lt"/>
                <a:ea typeface="Lato" panose="020F0502020204030203" pitchFamily="34" charset="0"/>
                <a:cs typeface="Poppins" panose="00000500000000000000" pitchFamily="50" charset="0"/>
              </a:defRPr>
            </a:lvl7pPr>
            <a:lvl8pPr marL="2592000" indent="-342000" algn="l" defTabSz="914400" rtl="0" eaLnBrk="1" latinLnBrk="0" hangingPunct="1">
              <a:lnSpc>
                <a:spcPct val="90000"/>
              </a:lnSpc>
              <a:spcBef>
                <a:spcPts val="800"/>
              </a:spcBef>
              <a:buClr>
                <a:srgbClr val="E0044E"/>
              </a:buClr>
              <a:buFont typeface="Arial" panose="020B0604020202020204" pitchFamily="34" charset="0"/>
              <a:buChar char="•"/>
              <a:defRPr sz="1600" b="0" i="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182880">
              <a:lnSpc>
                <a:spcPct val="110000"/>
              </a:lnSpc>
              <a:spcAft>
                <a:spcPts val="100"/>
              </a:spcAft>
            </a:pPr>
            <a:r>
              <a:rPr lang="en-US" sz="1200" dirty="0"/>
              <a:t>2024 Americas IPO market grew by 37% by # of IPOs and the proceeds generated increased by 45% YoY</a:t>
            </a:r>
          </a:p>
          <a:p>
            <a:pPr marL="182880" indent="-182880">
              <a:lnSpc>
                <a:spcPct val="110000"/>
              </a:lnSpc>
              <a:spcAft>
                <a:spcPts val="100"/>
              </a:spcAft>
            </a:pPr>
            <a:r>
              <a:rPr lang="en-US" sz="1200" dirty="0"/>
              <a:t>Americas accounted for 17% of IPOs globally and 27% of global proceeds raised in 2024</a:t>
            </a:r>
          </a:p>
          <a:p>
            <a:pPr marL="182880" indent="-182880">
              <a:lnSpc>
                <a:spcPct val="110000"/>
              </a:lnSpc>
              <a:spcAft>
                <a:spcPts val="100"/>
              </a:spcAft>
            </a:pPr>
            <a:r>
              <a:rPr lang="en-US" sz="1200" dirty="0"/>
              <a:t>NASDAQ led the IPO spree in terms of both # of IPOs and proceeds generated accounting for 139 IPOs &amp; $17.2Bn proceeds</a:t>
            </a:r>
          </a:p>
          <a:p>
            <a:pPr marL="182880" indent="-182880">
              <a:lnSpc>
                <a:spcPct val="110000"/>
              </a:lnSpc>
              <a:spcAft>
                <a:spcPts val="100"/>
              </a:spcAft>
            </a:pPr>
            <a:r>
              <a:rPr lang="en-US" sz="1200" dirty="0"/>
              <a:t>Health &amp; Life Sciences and Technology sectors continued to lead the market by issuing 45 and 36 IPOs, respectively</a:t>
            </a:r>
          </a:p>
        </p:txBody>
      </p:sp>
      <p:sp>
        <p:nvSpPr>
          <p:cNvPr id="13" name="Content Placeholder 6">
            <a:extLst>
              <a:ext uri="{FF2B5EF4-FFF2-40B4-BE49-F238E27FC236}">
                <a16:creationId xmlns:a16="http://schemas.microsoft.com/office/drawing/2014/main" id="{57FB738B-A9B2-4809-B4C7-A60EA7DE11B1}"/>
              </a:ext>
            </a:extLst>
          </p:cNvPr>
          <p:cNvSpPr txBox="1">
            <a:spLocks/>
          </p:cNvSpPr>
          <p:nvPr/>
        </p:nvSpPr>
        <p:spPr>
          <a:xfrm>
            <a:off x="4190307" y="3810000"/>
            <a:ext cx="3484362" cy="2667000"/>
          </a:xfrm>
          <a:prstGeom prst="roundRect">
            <a:avLst>
              <a:gd name="adj" fmla="val 5959"/>
            </a:avLst>
          </a:prstGeom>
          <a:solidFill>
            <a:srgbClr val="F9F9F9"/>
          </a:solidFill>
          <a:ln>
            <a:solidFill>
              <a:schemeClr val="bg2"/>
            </a:solidFill>
            <a:prstDash val="solid"/>
          </a:ln>
        </p:spPr>
        <p:txBody>
          <a:bodyPr vert="horz" lIns="0" tIns="36000" rIns="18000" bIns="36000" rtlCol="0" anchor="t">
            <a:noAutofit/>
          </a:bodyPr>
          <a:lstStyle>
            <a:defPPr>
              <a:defRPr lang="en-US"/>
            </a:defPPr>
            <a:lvl1pPr marL="228600" indent="-228600">
              <a:lnSpc>
                <a:spcPts val="1500"/>
              </a:lnSpc>
              <a:spcBef>
                <a:spcPts val="200"/>
              </a:spcBef>
              <a:spcAft>
                <a:spcPts val="200"/>
              </a:spcAft>
              <a:buClr>
                <a:schemeClr val="tx1"/>
              </a:buClr>
              <a:buSzPct val="130000"/>
              <a:buFont typeface="Arial" panose="020B0604020202020204" pitchFamily="34" charset="0"/>
              <a:buChar char="•"/>
              <a:defRPr sz="1400" b="0" i="0">
                <a:latin typeface="Segoe UI" panose="020B0502040204020203" pitchFamily="34" charset="0"/>
                <a:ea typeface="Segoe UI" panose="020B0502040204020203" pitchFamily="34" charset="0"/>
                <a:cs typeface="Segoe UI" panose="020B0502040204020203" pitchFamily="34" charset="0"/>
              </a:defRPr>
            </a:lvl1pPr>
            <a:lvl2pPr lvl="1" indent="-228600">
              <a:lnSpc>
                <a:spcPts val="1500"/>
              </a:lnSpc>
              <a:spcBef>
                <a:spcPts val="200"/>
              </a:spcBef>
              <a:spcAft>
                <a:spcPts val="200"/>
              </a:spcAft>
              <a:buClr>
                <a:schemeClr val="tx1"/>
              </a:buClr>
              <a:buFont typeface="Segoe UI" panose="020B0502040204020203" pitchFamily="34" charset="0"/>
              <a:buChar char="–"/>
              <a:defRPr sz="1400" b="0" i="0">
                <a:latin typeface="Segoe UI" panose="020B0502040204020203" pitchFamily="34" charset="0"/>
                <a:ea typeface="Segoe UI" panose="020B0502040204020203" pitchFamily="34" charset="0"/>
                <a:cs typeface="Segoe UI" panose="020B0502040204020203" pitchFamily="34" charset="0"/>
              </a:defRPr>
            </a:lvl2pPr>
            <a:lvl3pPr marL="685800" indent="-228600">
              <a:lnSpc>
                <a:spcPct val="100000"/>
              </a:lnSpc>
              <a:spcBef>
                <a:spcPts val="600"/>
              </a:spcBef>
              <a:spcAft>
                <a:spcPts val="300"/>
              </a:spcAft>
              <a:buClr>
                <a:schemeClr val="tx1"/>
              </a:buClr>
              <a:buSzPct val="100000"/>
              <a:buFont typeface="Courier New" panose="02070309020205020404" pitchFamily="49" charset="0"/>
              <a:buChar char="o"/>
              <a:defRPr sz="1600" b="0" i="0">
                <a:latin typeface="Segoe UI" panose="020B0502040204020203" pitchFamily="34" charset="0"/>
                <a:ea typeface="Segoe UI" panose="020B0502040204020203" pitchFamily="34" charset="0"/>
                <a:cs typeface="Segoe UI" panose="020B0502040204020203" pitchFamily="34" charset="0"/>
              </a:defRPr>
            </a:lvl3pPr>
            <a:lvl4pPr marL="914400" indent="-228600">
              <a:lnSpc>
                <a:spcPct val="100000"/>
              </a:lnSpc>
              <a:spcBef>
                <a:spcPts val="600"/>
              </a:spcBef>
              <a:spcAft>
                <a:spcPts val="300"/>
              </a:spcAft>
              <a:buClr>
                <a:schemeClr val="tx1"/>
              </a:buClr>
              <a:buFont typeface="Arial" panose="020B0604020202020204" pitchFamily="34" charset="0"/>
              <a:buChar char="•"/>
              <a:defRPr sz="1600" b="0" i="0">
                <a:latin typeface="Segoe UI" panose="020B0502040204020203" pitchFamily="34" charset="0"/>
                <a:ea typeface="Segoe UI" panose="020B0502040204020203" pitchFamily="34" charset="0"/>
                <a:cs typeface="Segoe UI" panose="020B0502040204020203" pitchFamily="34" charset="0"/>
              </a:defRPr>
            </a:lvl4pPr>
            <a:lvl5pPr marL="1143000" indent="-228600">
              <a:lnSpc>
                <a:spcPct val="100000"/>
              </a:lnSpc>
              <a:spcBef>
                <a:spcPts val="600"/>
              </a:spcBef>
              <a:spcAft>
                <a:spcPts val="300"/>
              </a:spcAft>
              <a:buClr>
                <a:schemeClr val="tx1"/>
              </a:buClr>
              <a:buFont typeface="Arial" panose="020B0604020202020204" pitchFamily="34" charset="0"/>
              <a:buChar char="•"/>
              <a:defRPr sz="1600" b="0" i="0">
                <a:latin typeface="Segoe UI" panose="020B0502040204020203" pitchFamily="34" charset="0"/>
                <a:ea typeface="Segoe UI" panose="020B0502040204020203" pitchFamily="34" charset="0"/>
                <a:cs typeface="Segoe UI" panose="020B0502040204020203" pitchFamily="34" charset="0"/>
              </a:defRPr>
            </a:lvl5pPr>
            <a:lvl6pPr marL="1944000" indent="-342000">
              <a:lnSpc>
                <a:spcPct val="90000"/>
              </a:lnSpc>
              <a:spcBef>
                <a:spcPts val="800"/>
              </a:spcBef>
              <a:buClr>
                <a:schemeClr val="tx1"/>
              </a:buClr>
              <a:buFont typeface="Arial" panose="020B0604020202020204" pitchFamily="34" charset="0"/>
              <a:buChar char="•"/>
              <a:defRPr sz="1600" b="0" i="0">
                <a:latin typeface="+mj-lt"/>
                <a:ea typeface="Lato" panose="020F0502020204030203" pitchFamily="34" charset="0"/>
                <a:cs typeface="Poppins" panose="00000500000000000000" pitchFamily="50" charset="0"/>
              </a:defRPr>
            </a:lvl6pPr>
            <a:lvl7pPr marL="2268000" indent="-342000">
              <a:lnSpc>
                <a:spcPct val="90000"/>
              </a:lnSpc>
              <a:spcBef>
                <a:spcPts val="800"/>
              </a:spcBef>
              <a:buClr>
                <a:schemeClr val="tx1"/>
              </a:buClr>
              <a:buFont typeface="Arial" panose="020B0604020202020204" pitchFamily="34" charset="0"/>
              <a:buChar char="•"/>
              <a:defRPr sz="1600" b="0" i="0">
                <a:ea typeface="Lato" panose="020F0502020204030203" pitchFamily="34" charset="0"/>
                <a:cs typeface="Poppins" panose="00000500000000000000" pitchFamily="50" charset="0"/>
              </a:defRPr>
            </a:lvl7pPr>
            <a:lvl8pPr marL="2592000" indent="-342000">
              <a:lnSpc>
                <a:spcPct val="90000"/>
              </a:lnSpc>
              <a:spcBef>
                <a:spcPts val="800"/>
              </a:spcBef>
              <a:buClr>
                <a:srgbClr val="E0044E"/>
              </a:buClr>
              <a:buFont typeface="Arial" panose="020B0604020202020204" pitchFamily="34" charset="0"/>
              <a:buChar char="•"/>
              <a:defRPr sz="1600" b="0" i="0"/>
            </a:lvl8pPr>
            <a:lvl9pPr marL="3886200" indent="-228600">
              <a:lnSpc>
                <a:spcPct val="90000"/>
              </a:lnSpc>
              <a:spcBef>
                <a:spcPts val="500"/>
              </a:spcBef>
              <a:buFont typeface="Arial" panose="020B0604020202020204" pitchFamily="34" charset="0"/>
              <a:buChar char="•"/>
            </a:lvl9pPr>
          </a:lstStyle>
          <a:p>
            <a:pPr marL="182880" indent="-182880">
              <a:lnSpc>
                <a:spcPct val="110000"/>
              </a:lnSpc>
              <a:spcBef>
                <a:spcPts val="300"/>
              </a:spcBef>
              <a:spcAft>
                <a:spcPts val="100"/>
              </a:spcAft>
            </a:pPr>
            <a:r>
              <a:rPr lang="en-US" sz="1200" dirty="0"/>
              <a:t>In 2024, Asia Pacific’s IPO volume hit 11-year low with </a:t>
            </a:r>
            <a:r>
              <a:rPr lang="en-IN" sz="1200" dirty="0"/>
              <a:t>488 IPOs generating $34.9Bn proceeds primarily affected by </a:t>
            </a:r>
            <a:r>
              <a:rPr lang="en-US" sz="1200" dirty="0"/>
              <a:t>economic, political and geopolitical uncertainty</a:t>
            </a:r>
            <a:endParaRPr lang="en-IN" sz="1200" dirty="0"/>
          </a:p>
          <a:p>
            <a:pPr marL="182880" indent="-182880">
              <a:lnSpc>
                <a:spcPct val="110000"/>
              </a:lnSpc>
              <a:spcBef>
                <a:spcPts val="300"/>
              </a:spcBef>
              <a:spcAft>
                <a:spcPts val="100"/>
              </a:spcAft>
            </a:pPr>
            <a:r>
              <a:rPr lang="en-US" sz="1200" dirty="0"/>
              <a:t>China’s IPO market continued its descent with 98 IPOs raising $8.9Bn proceeds</a:t>
            </a:r>
          </a:p>
          <a:p>
            <a:pPr marL="182880" indent="-182880">
              <a:lnSpc>
                <a:spcPct val="110000"/>
              </a:lnSpc>
              <a:spcBef>
                <a:spcPts val="300"/>
              </a:spcBef>
              <a:spcAft>
                <a:spcPts val="100"/>
              </a:spcAft>
            </a:pPr>
            <a:r>
              <a:rPr lang="en-US" sz="1200" dirty="0"/>
              <a:t>Hong Kong reversed its downward trend after a push from large-scale IPOs and saw 80% YoY increase in proceeds generated </a:t>
            </a:r>
          </a:p>
          <a:p>
            <a:pPr marL="182880" indent="-182880">
              <a:lnSpc>
                <a:spcPct val="110000"/>
              </a:lnSpc>
              <a:spcBef>
                <a:spcPts val="300"/>
              </a:spcBef>
              <a:spcAft>
                <a:spcPts val="100"/>
              </a:spcAft>
            </a:pPr>
            <a:r>
              <a:rPr lang="en-US" sz="1200" dirty="0"/>
              <a:t>Technology led the market with 135 IPOs and $8.3Bn proceeds, followed by Industrials with 111 IPOs and $9.7Bn proceeds</a:t>
            </a:r>
          </a:p>
        </p:txBody>
      </p:sp>
      <p:sp>
        <p:nvSpPr>
          <p:cNvPr id="15" name="Content Placeholder 6">
            <a:extLst>
              <a:ext uri="{FF2B5EF4-FFF2-40B4-BE49-F238E27FC236}">
                <a16:creationId xmlns:a16="http://schemas.microsoft.com/office/drawing/2014/main" id="{F0086205-4095-4089-9C71-8E719C440675}"/>
              </a:ext>
            </a:extLst>
          </p:cNvPr>
          <p:cNvSpPr txBox="1">
            <a:spLocks/>
          </p:cNvSpPr>
          <p:nvPr/>
        </p:nvSpPr>
        <p:spPr>
          <a:xfrm>
            <a:off x="7809113" y="3810000"/>
            <a:ext cx="3484362" cy="2667000"/>
          </a:xfrm>
          <a:prstGeom prst="roundRect">
            <a:avLst>
              <a:gd name="adj" fmla="val 5635"/>
            </a:avLst>
          </a:prstGeom>
          <a:solidFill>
            <a:srgbClr val="F9F9F9"/>
          </a:solidFill>
          <a:ln>
            <a:solidFill>
              <a:schemeClr val="bg2"/>
            </a:solidFill>
            <a:prstDash val="solid"/>
          </a:ln>
        </p:spPr>
        <p:txBody>
          <a:bodyPr vert="horz" lIns="0" tIns="36000" rIns="18000" bIns="36000" rtlCol="0" anchor="t">
            <a:noAutofit/>
          </a:bodyPr>
          <a:lstStyle>
            <a:defPPr>
              <a:defRPr lang="en-US"/>
            </a:defPPr>
            <a:lvl1pPr marL="228600" indent="-228600">
              <a:lnSpc>
                <a:spcPts val="1500"/>
              </a:lnSpc>
              <a:spcBef>
                <a:spcPts val="200"/>
              </a:spcBef>
              <a:spcAft>
                <a:spcPts val="200"/>
              </a:spcAft>
              <a:buClr>
                <a:schemeClr val="tx1"/>
              </a:buClr>
              <a:buSzPct val="130000"/>
              <a:buFont typeface="Arial" panose="020B0604020202020204" pitchFamily="34" charset="0"/>
              <a:buChar char="•"/>
              <a:defRPr sz="1400" b="0" i="0">
                <a:latin typeface="Segoe UI" panose="020B0502040204020203" pitchFamily="34" charset="0"/>
                <a:ea typeface="Segoe UI" panose="020B0502040204020203" pitchFamily="34" charset="0"/>
                <a:cs typeface="Segoe UI" panose="020B0502040204020203" pitchFamily="34" charset="0"/>
              </a:defRPr>
            </a:lvl1pPr>
            <a:lvl2pPr lvl="1" indent="-228600">
              <a:lnSpc>
                <a:spcPts val="1500"/>
              </a:lnSpc>
              <a:spcBef>
                <a:spcPts val="200"/>
              </a:spcBef>
              <a:spcAft>
                <a:spcPts val="200"/>
              </a:spcAft>
              <a:buClr>
                <a:schemeClr val="tx1"/>
              </a:buClr>
              <a:buFont typeface="Segoe UI" panose="020B0502040204020203" pitchFamily="34" charset="0"/>
              <a:buChar char="–"/>
              <a:defRPr sz="1400" b="0" i="0">
                <a:latin typeface="Segoe UI" panose="020B0502040204020203" pitchFamily="34" charset="0"/>
                <a:ea typeface="Segoe UI" panose="020B0502040204020203" pitchFamily="34" charset="0"/>
                <a:cs typeface="Segoe UI" panose="020B0502040204020203" pitchFamily="34" charset="0"/>
              </a:defRPr>
            </a:lvl2pPr>
            <a:lvl3pPr marL="685800" indent="-228600">
              <a:lnSpc>
                <a:spcPct val="100000"/>
              </a:lnSpc>
              <a:spcBef>
                <a:spcPts val="600"/>
              </a:spcBef>
              <a:spcAft>
                <a:spcPts val="300"/>
              </a:spcAft>
              <a:buClr>
                <a:schemeClr val="tx1"/>
              </a:buClr>
              <a:buSzPct val="100000"/>
              <a:buFont typeface="Courier New" panose="02070309020205020404" pitchFamily="49" charset="0"/>
              <a:buChar char="o"/>
              <a:defRPr sz="1600" b="0" i="0">
                <a:latin typeface="Segoe UI" panose="020B0502040204020203" pitchFamily="34" charset="0"/>
                <a:ea typeface="Segoe UI" panose="020B0502040204020203" pitchFamily="34" charset="0"/>
                <a:cs typeface="Segoe UI" panose="020B0502040204020203" pitchFamily="34" charset="0"/>
              </a:defRPr>
            </a:lvl3pPr>
            <a:lvl4pPr marL="914400" indent="-228600">
              <a:lnSpc>
                <a:spcPct val="100000"/>
              </a:lnSpc>
              <a:spcBef>
                <a:spcPts val="600"/>
              </a:spcBef>
              <a:spcAft>
                <a:spcPts val="300"/>
              </a:spcAft>
              <a:buClr>
                <a:schemeClr val="tx1"/>
              </a:buClr>
              <a:buFont typeface="Arial" panose="020B0604020202020204" pitchFamily="34" charset="0"/>
              <a:buChar char="•"/>
              <a:defRPr sz="1600" b="0" i="0">
                <a:latin typeface="Segoe UI" panose="020B0502040204020203" pitchFamily="34" charset="0"/>
                <a:ea typeface="Segoe UI" panose="020B0502040204020203" pitchFamily="34" charset="0"/>
                <a:cs typeface="Segoe UI" panose="020B0502040204020203" pitchFamily="34" charset="0"/>
              </a:defRPr>
            </a:lvl4pPr>
            <a:lvl5pPr marL="1143000" indent="-228600">
              <a:lnSpc>
                <a:spcPct val="100000"/>
              </a:lnSpc>
              <a:spcBef>
                <a:spcPts val="600"/>
              </a:spcBef>
              <a:spcAft>
                <a:spcPts val="300"/>
              </a:spcAft>
              <a:buClr>
                <a:schemeClr val="tx1"/>
              </a:buClr>
              <a:buFont typeface="Arial" panose="020B0604020202020204" pitchFamily="34" charset="0"/>
              <a:buChar char="•"/>
              <a:defRPr sz="1600" b="0" i="0">
                <a:latin typeface="Segoe UI" panose="020B0502040204020203" pitchFamily="34" charset="0"/>
                <a:ea typeface="Segoe UI" panose="020B0502040204020203" pitchFamily="34" charset="0"/>
                <a:cs typeface="Segoe UI" panose="020B0502040204020203" pitchFamily="34" charset="0"/>
              </a:defRPr>
            </a:lvl5pPr>
            <a:lvl6pPr marL="1944000" indent="-342000">
              <a:lnSpc>
                <a:spcPct val="90000"/>
              </a:lnSpc>
              <a:spcBef>
                <a:spcPts val="800"/>
              </a:spcBef>
              <a:buClr>
                <a:schemeClr val="tx1"/>
              </a:buClr>
              <a:buFont typeface="Arial" panose="020B0604020202020204" pitchFamily="34" charset="0"/>
              <a:buChar char="•"/>
              <a:defRPr sz="1600" b="0" i="0">
                <a:latin typeface="+mj-lt"/>
                <a:ea typeface="Lato" panose="020F0502020204030203" pitchFamily="34" charset="0"/>
                <a:cs typeface="Poppins" panose="00000500000000000000" pitchFamily="50" charset="0"/>
              </a:defRPr>
            </a:lvl6pPr>
            <a:lvl7pPr marL="2268000" indent="-342000">
              <a:lnSpc>
                <a:spcPct val="90000"/>
              </a:lnSpc>
              <a:spcBef>
                <a:spcPts val="800"/>
              </a:spcBef>
              <a:buClr>
                <a:schemeClr val="tx1"/>
              </a:buClr>
              <a:buFont typeface="Arial" panose="020B0604020202020204" pitchFamily="34" charset="0"/>
              <a:buChar char="•"/>
              <a:defRPr sz="1600" b="0" i="0">
                <a:ea typeface="Lato" panose="020F0502020204030203" pitchFamily="34" charset="0"/>
                <a:cs typeface="Poppins" panose="00000500000000000000" pitchFamily="50" charset="0"/>
              </a:defRPr>
            </a:lvl7pPr>
            <a:lvl8pPr marL="2592000" indent="-342000">
              <a:lnSpc>
                <a:spcPct val="90000"/>
              </a:lnSpc>
              <a:spcBef>
                <a:spcPts val="800"/>
              </a:spcBef>
              <a:buClr>
                <a:srgbClr val="E0044E"/>
              </a:buClr>
              <a:buFont typeface="Arial" panose="020B0604020202020204" pitchFamily="34" charset="0"/>
              <a:buChar char="•"/>
              <a:defRPr sz="1600" b="0" i="0"/>
            </a:lvl8pPr>
            <a:lvl9pPr marL="3886200" indent="-228600">
              <a:lnSpc>
                <a:spcPct val="90000"/>
              </a:lnSpc>
              <a:spcBef>
                <a:spcPts val="500"/>
              </a:spcBef>
              <a:buFont typeface="Arial" panose="020B0604020202020204" pitchFamily="34" charset="0"/>
              <a:buChar char="•"/>
            </a:lvl9pPr>
          </a:lstStyle>
          <a:p>
            <a:pPr marL="182880" indent="-182880">
              <a:lnSpc>
                <a:spcPct val="110000"/>
              </a:lnSpc>
              <a:spcBef>
                <a:spcPts val="0"/>
              </a:spcBef>
            </a:pPr>
            <a:r>
              <a:rPr lang="en-US" sz="1200" dirty="0"/>
              <a:t>2024 EMEIA IPO market captured 43% of total IPOs along with 44% of total proceeds due to a substantial increase of 17% in IPO count (522 IPOs) and 64% increase in proceeds ($53.2Bn)</a:t>
            </a:r>
          </a:p>
          <a:p>
            <a:pPr marL="182880" indent="-182880">
              <a:lnSpc>
                <a:spcPct val="110000"/>
              </a:lnSpc>
              <a:spcBef>
                <a:spcPts val="0"/>
              </a:spcBef>
            </a:pPr>
            <a:r>
              <a:rPr lang="en-US" sz="1200" dirty="0"/>
              <a:t>Interest rate cuts and price declines in energy and utilities brought inflation down to more stable levels that fueled an economic rebound</a:t>
            </a:r>
          </a:p>
          <a:p>
            <a:pPr marL="182880" indent="-182880">
              <a:lnSpc>
                <a:spcPct val="110000"/>
              </a:lnSpc>
              <a:spcBef>
                <a:spcPts val="0"/>
              </a:spcBef>
            </a:pPr>
            <a:r>
              <a:rPr lang="en-US" sz="1200" dirty="0"/>
              <a:t>India outperformed most of the countries with 327 IPOs generating $19.9Bn</a:t>
            </a:r>
          </a:p>
          <a:p>
            <a:pPr marL="182880" indent="-182880">
              <a:lnSpc>
                <a:spcPct val="110000"/>
              </a:lnSpc>
              <a:spcBef>
                <a:spcPts val="0"/>
              </a:spcBef>
            </a:pPr>
            <a:r>
              <a:rPr lang="en-US" sz="1200" dirty="0"/>
              <a:t>Industrials led the market with 111 IPOs and $7.8Bn proceeds, followed by Consumer’s 95 IPOs and $12.3Bn proceeds</a:t>
            </a:r>
          </a:p>
        </p:txBody>
      </p:sp>
      <p:cxnSp>
        <p:nvCxnSpPr>
          <p:cNvPr id="16" name="Straight Connector 15">
            <a:extLst>
              <a:ext uri="{FF2B5EF4-FFF2-40B4-BE49-F238E27FC236}">
                <a16:creationId xmlns:a16="http://schemas.microsoft.com/office/drawing/2014/main" id="{710EB336-D680-4A73-AFCA-0C4B8AC53080}"/>
              </a:ext>
            </a:extLst>
          </p:cNvPr>
          <p:cNvCxnSpPr>
            <a:cxnSpLocks/>
          </p:cNvCxnSpPr>
          <p:nvPr/>
        </p:nvCxnSpPr>
        <p:spPr>
          <a:xfrm>
            <a:off x="4123084" y="1407467"/>
            <a:ext cx="0" cy="5069533"/>
          </a:xfrm>
          <a:prstGeom prst="line">
            <a:avLst/>
          </a:prstGeom>
          <a:ln w="12700">
            <a:solidFill>
              <a:srgbClr val="43224D"/>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BF123A7-1A53-410F-8737-6F6349BE0CE2}"/>
              </a:ext>
            </a:extLst>
          </p:cNvPr>
          <p:cNvCxnSpPr>
            <a:cxnSpLocks/>
          </p:cNvCxnSpPr>
          <p:nvPr/>
        </p:nvCxnSpPr>
        <p:spPr>
          <a:xfrm>
            <a:off x="7741891" y="1407467"/>
            <a:ext cx="0" cy="5069533"/>
          </a:xfrm>
          <a:prstGeom prst="line">
            <a:avLst/>
          </a:prstGeom>
          <a:ln w="12700">
            <a:solidFill>
              <a:srgbClr val="43224D"/>
            </a:solidFill>
            <a:prstDash val="dash"/>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373D5400-3791-4268-8438-409FAD9CA3C4}"/>
              </a:ext>
            </a:extLst>
          </p:cNvPr>
          <p:cNvGrpSpPr/>
          <p:nvPr/>
        </p:nvGrpSpPr>
        <p:grpSpPr>
          <a:xfrm>
            <a:off x="587375" y="903087"/>
            <a:ext cx="11149802" cy="631586"/>
            <a:chOff x="587375" y="798288"/>
            <a:chExt cx="11149802" cy="631586"/>
          </a:xfrm>
        </p:grpSpPr>
        <p:grpSp>
          <p:nvGrpSpPr>
            <p:cNvPr id="22" name="Group 21">
              <a:extLst>
                <a:ext uri="{FF2B5EF4-FFF2-40B4-BE49-F238E27FC236}">
                  <a16:creationId xmlns:a16="http://schemas.microsoft.com/office/drawing/2014/main" id="{AB7EDAAC-27A0-4521-AA83-F90608D18D68}"/>
                </a:ext>
              </a:extLst>
            </p:cNvPr>
            <p:cNvGrpSpPr/>
            <p:nvPr/>
          </p:nvGrpSpPr>
          <p:grpSpPr>
            <a:xfrm>
              <a:off x="587375" y="798288"/>
              <a:ext cx="11149802" cy="631586"/>
              <a:chOff x="587375" y="798288"/>
              <a:chExt cx="11149802" cy="631586"/>
            </a:xfrm>
            <a:effectLst>
              <a:outerShdw blurRad="50800" dist="38100" dir="2700000" algn="tl" rotWithShape="0">
                <a:prstClr val="black">
                  <a:alpha val="40000"/>
                </a:prstClr>
              </a:outerShdw>
            </a:effectLst>
          </p:grpSpPr>
          <p:sp>
            <p:nvSpPr>
              <p:cNvPr id="24" name="Freeform: Shape 23">
                <a:extLst>
                  <a:ext uri="{FF2B5EF4-FFF2-40B4-BE49-F238E27FC236}">
                    <a16:creationId xmlns:a16="http://schemas.microsoft.com/office/drawing/2014/main" id="{F104B740-02AC-449C-B090-B0132A2E7317}"/>
                  </a:ext>
                </a:extLst>
              </p:cNvPr>
              <p:cNvSpPr/>
              <p:nvPr/>
            </p:nvSpPr>
            <p:spPr>
              <a:xfrm rot="5400000">
                <a:off x="11230937" y="923634"/>
                <a:ext cx="631586" cy="380894"/>
              </a:xfrm>
              <a:custGeom>
                <a:avLst/>
                <a:gdLst>
                  <a:gd name="connsiteX0" fmla="*/ 0 w 631586"/>
                  <a:gd name="connsiteY0" fmla="*/ 380894 h 380894"/>
                  <a:gd name="connsiteX1" fmla="*/ 315793 w 631586"/>
                  <a:gd name="connsiteY1" fmla="*/ 0 h 380894"/>
                  <a:gd name="connsiteX2" fmla="*/ 631586 w 631586"/>
                  <a:gd name="connsiteY2" fmla="*/ 380894 h 380894"/>
                  <a:gd name="connsiteX3" fmla="*/ 483554 w 631586"/>
                  <a:gd name="connsiteY3" fmla="*/ 380894 h 380894"/>
                  <a:gd name="connsiteX4" fmla="*/ 481237 w 631586"/>
                  <a:gd name="connsiteY4" fmla="*/ 348453 h 380894"/>
                  <a:gd name="connsiteX5" fmla="*/ 474887 w 631586"/>
                  <a:gd name="connsiteY5" fmla="*/ 294478 h 380894"/>
                  <a:gd name="connsiteX6" fmla="*/ 439962 w 631586"/>
                  <a:gd name="connsiteY6" fmla="*/ 221453 h 380894"/>
                  <a:gd name="connsiteX7" fmla="*/ 385987 w 631586"/>
                  <a:gd name="connsiteY7" fmla="*/ 192878 h 380894"/>
                  <a:gd name="connsiteX8" fmla="*/ 309787 w 631586"/>
                  <a:gd name="connsiteY8" fmla="*/ 192878 h 380894"/>
                  <a:gd name="connsiteX9" fmla="*/ 233587 w 631586"/>
                  <a:gd name="connsiteY9" fmla="*/ 230978 h 380894"/>
                  <a:gd name="connsiteX10" fmla="*/ 182787 w 631586"/>
                  <a:gd name="connsiteY10" fmla="*/ 272253 h 380894"/>
                  <a:gd name="connsiteX11" fmla="*/ 144687 w 631586"/>
                  <a:gd name="connsiteY11" fmla="*/ 332578 h 380894"/>
                  <a:gd name="connsiteX12" fmla="*/ 139855 w 631586"/>
                  <a:gd name="connsiteY12" fmla="*/ 380894 h 38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1586" h="380894">
                    <a:moveTo>
                      <a:pt x="0" y="380894"/>
                    </a:moveTo>
                    <a:lnTo>
                      <a:pt x="315793" y="0"/>
                    </a:lnTo>
                    <a:lnTo>
                      <a:pt x="631586" y="380894"/>
                    </a:lnTo>
                    <a:lnTo>
                      <a:pt x="483554" y="380894"/>
                    </a:lnTo>
                    <a:lnTo>
                      <a:pt x="481237" y="348453"/>
                    </a:lnTo>
                    <a:lnTo>
                      <a:pt x="474887" y="294478"/>
                    </a:lnTo>
                    <a:lnTo>
                      <a:pt x="439962" y="221453"/>
                    </a:lnTo>
                    <a:lnTo>
                      <a:pt x="385987" y="192878"/>
                    </a:lnTo>
                    <a:lnTo>
                      <a:pt x="309787" y="192878"/>
                    </a:lnTo>
                    <a:lnTo>
                      <a:pt x="233587" y="230978"/>
                    </a:lnTo>
                    <a:lnTo>
                      <a:pt x="182787" y="272253"/>
                    </a:lnTo>
                    <a:lnTo>
                      <a:pt x="144687" y="332578"/>
                    </a:lnTo>
                    <a:lnTo>
                      <a:pt x="139855" y="38089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25" name="Freeform: Shape 24">
                <a:extLst>
                  <a:ext uri="{FF2B5EF4-FFF2-40B4-BE49-F238E27FC236}">
                    <a16:creationId xmlns:a16="http://schemas.microsoft.com/office/drawing/2014/main" id="{0DF57C98-4926-4374-BDCC-D0AFD05CB150}"/>
                  </a:ext>
                </a:extLst>
              </p:cNvPr>
              <p:cNvSpPr/>
              <p:nvPr/>
            </p:nvSpPr>
            <p:spPr>
              <a:xfrm>
                <a:off x="587375" y="909547"/>
                <a:ext cx="11017250" cy="410852"/>
              </a:xfrm>
              <a:custGeom>
                <a:avLst/>
                <a:gdLst>
                  <a:gd name="connsiteX0" fmla="*/ 236095 w 11017250"/>
                  <a:gd name="connsiteY0" fmla="*/ 77873 h 410852"/>
                  <a:gd name="connsiteX1" fmla="*/ 108542 w 11017250"/>
                  <a:gd name="connsiteY1" fmla="*/ 205426 h 410852"/>
                  <a:gd name="connsiteX2" fmla="*/ 236095 w 11017250"/>
                  <a:gd name="connsiteY2" fmla="*/ 332979 h 410852"/>
                  <a:gd name="connsiteX3" fmla="*/ 10781155 w 11017250"/>
                  <a:gd name="connsiteY3" fmla="*/ 332979 h 410852"/>
                  <a:gd name="connsiteX4" fmla="*/ 10908708 w 11017250"/>
                  <a:gd name="connsiteY4" fmla="*/ 205426 h 410852"/>
                  <a:gd name="connsiteX5" fmla="*/ 10781155 w 11017250"/>
                  <a:gd name="connsiteY5" fmla="*/ 77873 h 410852"/>
                  <a:gd name="connsiteX6" fmla="*/ 205426 w 11017250"/>
                  <a:gd name="connsiteY6" fmla="*/ 0 h 410852"/>
                  <a:gd name="connsiteX7" fmla="*/ 10811824 w 11017250"/>
                  <a:gd name="connsiteY7" fmla="*/ 0 h 410852"/>
                  <a:gd name="connsiteX8" fmla="*/ 11017250 w 11017250"/>
                  <a:gd name="connsiteY8" fmla="*/ 205426 h 410852"/>
                  <a:gd name="connsiteX9" fmla="*/ 10811824 w 11017250"/>
                  <a:gd name="connsiteY9" fmla="*/ 410852 h 410852"/>
                  <a:gd name="connsiteX10" fmla="*/ 205426 w 11017250"/>
                  <a:gd name="connsiteY10" fmla="*/ 410852 h 410852"/>
                  <a:gd name="connsiteX11" fmla="*/ 0 w 11017250"/>
                  <a:gd name="connsiteY11" fmla="*/ 205426 h 410852"/>
                  <a:gd name="connsiteX12" fmla="*/ 205426 w 11017250"/>
                  <a:gd name="connsiteY12" fmla="*/ 0 h 41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7250" h="410852">
                    <a:moveTo>
                      <a:pt x="236095" y="77873"/>
                    </a:moveTo>
                    <a:cubicBezTo>
                      <a:pt x="165649" y="77873"/>
                      <a:pt x="108542" y="134980"/>
                      <a:pt x="108542" y="205426"/>
                    </a:cubicBezTo>
                    <a:cubicBezTo>
                      <a:pt x="108542" y="275872"/>
                      <a:pt x="165649" y="332979"/>
                      <a:pt x="236095" y="332979"/>
                    </a:cubicBezTo>
                    <a:lnTo>
                      <a:pt x="10781155" y="332979"/>
                    </a:lnTo>
                    <a:cubicBezTo>
                      <a:pt x="10851601" y="332979"/>
                      <a:pt x="10908708" y="275872"/>
                      <a:pt x="10908708" y="205426"/>
                    </a:cubicBezTo>
                    <a:cubicBezTo>
                      <a:pt x="10908708" y="134980"/>
                      <a:pt x="10851601" y="77873"/>
                      <a:pt x="10781155" y="77873"/>
                    </a:cubicBezTo>
                    <a:close/>
                    <a:moveTo>
                      <a:pt x="205426" y="0"/>
                    </a:moveTo>
                    <a:lnTo>
                      <a:pt x="10811824" y="0"/>
                    </a:lnTo>
                    <a:cubicBezTo>
                      <a:pt x="10925278" y="0"/>
                      <a:pt x="11017250" y="91972"/>
                      <a:pt x="11017250" y="205426"/>
                    </a:cubicBezTo>
                    <a:cubicBezTo>
                      <a:pt x="11017250" y="318880"/>
                      <a:pt x="10925278" y="410852"/>
                      <a:pt x="10811824" y="410852"/>
                    </a:cubicBezTo>
                    <a:lnTo>
                      <a:pt x="205426" y="410852"/>
                    </a:lnTo>
                    <a:cubicBezTo>
                      <a:pt x="91972" y="410852"/>
                      <a:pt x="0" y="318880"/>
                      <a:pt x="0" y="205426"/>
                    </a:cubicBezTo>
                    <a:cubicBezTo>
                      <a:pt x="0" y="91972"/>
                      <a:pt x="91972" y="0"/>
                      <a:pt x="205426" y="0"/>
                    </a:cubicBezTo>
                    <a:close/>
                  </a:path>
                </a:pathLst>
              </a:custGeom>
              <a:solidFill>
                <a:srgbClr val="4322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b="1" dirty="0">
                  <a:solidFill>
                    <a:schemeClr val="bg2"/>
                  </a:solidFill>
                </a:endParaRPr>
              </a:p>
            </p:txBody>
          </p:sp>
        </p:grpSp>
        <p:sp>
          <p:nvSpPr>
            <p:cNvPr id="23" name="TextBox 22">
              <a:extLst>
                <a:ext uri="{FF2B5EF4-FFF2-40B4-BE49-F238E27FC236}">
                  <a16:creationId xmlns:a16="http://schemas.microsoft.com/office/drawing/2014/main" id="{1C09ACD8-E24B-463D-A6A1-EE63FAAB657A}"/>
                </a:ext>
              </a:extLst>
            </p:cNvPr>
            <p:cNvSpPr txBox="1"/>
            <p:nvPr/>
          </p:nvSpPr>
          <p:spPr>
            <a:xfrm>
              <a:off x="3263900" y="945634"/>
              <a:ext cx="6096000" cy="338554"/>
            </a:xfrm>
            <a:prstGeom prst="rect">
              <a:avLst/>
            </a:prstGeom>
            <a:noFill/>
          </p:spPr>
          <p:txBody>
            <a:bodyPr wrap="square" anchor="ctr">
              <a:spAutoFit/>
            </a:bodyPr>
            <a:lstStyle/>
            <a:p>
              <a:pPr algn="ctr"/>
              <a:r>
                <a:rPr lang="en-US" sz="1600" b="1" dirty="0">
                  <a:solidFill>
                    <a:schemeClr val="bg2"/>
                  </a:solidFill>
                </a:rPr>
                <a:t>Regional IPO Performance 2024</a:t>
              </a:r>
              <a:endParaRPr lang="en-IN" sz="1600" b="1" dirty="0">
                <a:solidFill>
                  <a:schemeClr val="bg2"/>
                </a:solidFill>
              </a:endParaRPr>
            </a:p>
          </p:txBody>
        </p:sp>
      </p:grpSp>
      <p:cxnSp>
        <p:nvCxnSpPr>
          <p:cNvPr id="32" name="Straight Connector 31">
            <a:extLst>
              <a:ext uri="{FF2B5EF4-FFF2-40B4-BE49-F238E27FC236}">
                <a16:creationId xmlns:a16="http://schemas.microsoft.com/office/drawing/2014/main" id="{51FE6FD4-0A39-4739-B5E4-B4670367C1A9}"/>
              </a:ext>
            </a:extLst>
          </p:cNvPr>
          <p:cNvCxnSpPr/>
          <p:nvPr/>
        </p:nvCxnSpPr>
        <p:spPr>
          <a:xfrm>
            <a:off x="629497" y="1760027"/>
            <a:ext cx="36576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3B925A7-23EB-4E61-B90F-045A1AD9BA9E}"/>
              </a:ext>
            </a:extLst>
          </p:cNvPr>
          <p:cNvCxnSpPr/>
          <p:nvPr/>
        </p:nvCxnSpPr>
        <p:spPr>
          <a:xfrm>
            <a:off x="4236297" y="1760027"/>
            <a:ext cx="36576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0155E9F-AAFE-40EB-BA63-8CD7194A8AC4}"/>
              </a:ext>
            </a:extLst>
          </p:cNvPr>
          <p:cNvCxnSpPr/>
          <p:nvPr/>
        </p:nvCxnSpPr>
        <p:spPr>
          <a:xfrm>
            <a:off x="7847213" y="1760027"/>
            <a:ext cx="36576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aphicFrame>
        <p:nvGraphicFramePr>
          <p:cNvPr id="30" name="Chart 29">
            <a:extLst>
              <a:ext uri="{FF2B5EF4-FFF2-40B4-BE49-F238E27FC236}">
                <a16:creationId xmlns:a16="http://schemas.microsoft.com/office/drawing/2014/main" id="{50C73484-0E1C-4786-816D-9AD8B311C8C6}"/>
              </a:ext>
            </a:extLst>
          </p:cNvPr>
          <p:cNvGraphicFramePr>
            <a:graphicFrameLocks/>
          </p:cNvGraphicFramePr>
          <p:nvPr>
            <p:extLst>
              <p:ext uri="{D42A27DB-BD31-4B8C-83A1-F6EECF244321}">
                <p14:modId xmlns:p14="http://schemas.microsoft.com/office/powerpoint/2010/main" val="2628762481"/>
              </p:ext>
            </p:extLst>
          </p:nvPr>
        </p:nvGraphicFramePr>
        <p:xfrm>
          <a:off x="571500" y="1478416"/>
          <a:ext cx="3484362" cy="196963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6" name="Chart 25">
            <a:extLst>
              <a:ext uri="{FF2B5EF4-FFF2-40B4-BE49-F238E27FC236}">
                <a16:creationId xmlns:a16="http://schemas.microsoft.com/office/drawing/2014/main" id="{DAEB577C-CBD9-441E-8F16-9804EB84548E}"/>
              </a:ext>
            </a:extLst>
          </p:cNvPr>
          <p:cNvGraphicFramePr>
            <a:graphicFrameLocks/>
          </p:cNvGraphicFramePr>
          <p:nvPr>
            <p:extLst>
              <p:ext uri="{D42A27DB-BD31-4B8C-83A1-F6EECF244321}">
                <p14:modId xmlns:p14="http://schemas.microsoft.com/office/powerpoint/2010/main" val="1023825828"/>
              </p:ext>
            </p:extLst>
          </p:nvPr>
        </p:nvGraphicFramePr>
        <p:xfrm>
          <a:off x="4188099" y="3505200"/>
          <a:ext cx="3484362" cy="304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8" name="Chart 37">
            <a:extLst>
              <a:ext uri="{FF2B5EF4-FFF2-40B4-BE49-F238E27FC236}">
                <a16:creationId xmlns:a16="http://schemas.microsoft.com/office/drawing/2014/main" id="{67ADB83D-DC0F-413A-A009-932C4BDAA6E0}"/>
              </a:ext>
            </a:extLst>
          </p:cNvPr>
          <p:cNvGraphicFramePr>
            <a:graphicFrameLocks/>
          </p:cNvGraphicFramePr>
          <p:nvPr>
            <p:extLst>
              <p:ext uri="{D42A27DB-BD31-4B8C-83A1-F6EECF244321}">
                <p14:modId xmlns:p14="http://schemas.microsoft.com/office/powerpoint/2010/main" val="1175761940"/>
              </p:ext>
            </p:extLst>
          </p:nvPr>
        </p:nvGraphicFramePr>
        <p:xfrm>
          <a:off x="4193360" y="1478416"/>
          <a:ext cx="3484362" cy="196963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9" name="Chart 38">
            <a:extLst>
              <a:ext uri="{FF2B5EF4-FFF2-40B4-BE49-F238E27FC236}">
                <a16:creationId xmlns:a16="http://schemas.microsoft.com/office/drawing/2014/main" id="{0EC6ED8E-A7C2-4C5B-AB8D-6C1AA44CAE4C}"/>
              </a:ext>
            </a:extLst>
          </p:cNvPr>
          <p:cNvGraphicFramePr>
            <a:graphicFrameLocks/>
          </p:cNvGraphicFramePr>
          <p:nvPr>
            <p:extLst>
              <p:ext uri="{D42A27DB-BD31-4B8C-83A1-F6EECF244321}">
                <p14:modId xmlns:p14="http://schemas.microsoft.com/office/powerpoint/2010/main" val="3970295845"/>
              </p:ext>
            </p:extLst>
          </p:nvPr>
        </p:nvGraphicFramePr>
        <p:xfrm>
          <a:off x="7812166" y="1478416"/>
          <a:ext cx="3484362" cy="1969633"/>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a:extLst>
              <a:ext uri="{FF2B5EF4-FFF2-40B4-BE49-F238E27FC236}">
                <a16:creationId xmlns:a16="http://schemas.microsoft.com/office/drawing/2014/main" id="{CF236FFD-F162-656A-219D-0DAB0305DEB0}"/>
              </a:ext>
            </a:extLst>
          </p:cNvPr>
          <p:cNvSpPr txBox="1"/>
          <p:nvPr/>
        </p:nvSpPr>
        <p:spPr>
          <a:xfrm>
            <a:off x="571500" y="6543674"/>
            <a:ext cx="8788400" cy="161925"/>
          </a:xfrm>
          <a:prstGeom prst="rect">
            <a:avLst/>
          </a:prstGeom>
          <a:noFill/>
        </p:spPr>
        <p:txBody>
          <a:bodyPr wrap="square" lIns="45720" rtlCol="0" anchor="ctr">
            <a:noAutofit/>
          </a:bodyPr>
          <a:lstStyle/>
          <a:p>
            <a:pPr algn="l">
              <a:lnSpc>
                <a:spcPct val="90000"/>
              </a:lnSpc>
              <a:spcBef>
                <a:spcPts val="800"/>
              </a:spcBef>
              <a:buClr>
                <a:srgbClr val="E0044E"/>
              </a:buClr>
            </a:pPr>
            <a:r>
              <a:rPr lang="en-US" sz="900" dirty="0">
                <a:latin typeface="Segoe UI" panose="020B0502040204020203" pitchFamily="34" charset="0"/>
                <a:cs typeface="Segoe UI" panose="020B0502040204020203" pitchFamily="34" charset="0"/>
              </a:rPr>
              <a:t>Source: EY, PwC, Press</a:t>
            </a:r>
            <a:endParaRPr lang="en-IN" sz="9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2422487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name="Slide6">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E8998417-B65C-4D1C-BE0B-1965BAF13931}"/>
              </a:ext>
            </a:extLst>
          </p:cNvPr>
          <p:cNvSpPr>
            <a:spLocks/>
          </p:cNvSpPr>
          <p:nvPr/>
        </p:nvSpPr>
        <p:spPr>
          <a:xfrm>
            <a:off x="571500" y="1484767"/>
            <a:ext cx="10721975" cy="249776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Title 6">
            <a:extLst>
              <a:ext uri="{FF2B5EF4-FFF2-40B4-BE49-F238E27FC236}">
                <a16:creationId xmlns:a16="http://schemas.microsoft.com/office/drawing/2014/main" id="{3147817E-AB33-489B-9DF3-A9955C51574D}"/>
              </a:ext>
            </a:extLst>
          </p:cNvPr>
          <p:cNvSpPr>
            <a:spLocks noGrp="1"/>
          </p:cNvSpPr>
          <p:nvPr>
            <p:ph type="title"/>
          </p:nvPr>
        </p:nvSpPr>
        <p:spPr/>
        <p:txBody>
          <a:bodyPr/>
          <a:lstStyle/>
          <a:p>
            <a:r>
              <a:rPr lang="en-US" dirty="0"/>
              <a:t>Global IPO Activity by Sector – Gross Proceeds ($Bn)</a:t>
            </a:r>
          </a:p>
        </p:txBody>
      </p:sp>
      <p:sp>
        <p:nvSpPr>
          <p:cNvPr id="40" name="Slide Number Placeholder 39">
            <a:extLst>
              <a:ext uri="{FF2B5EF4-FFF2-40B4-BE49-F238E27FC236}">
                <a16:creationId xmlns:a16="http://schemas.microsoft.com/office/drawing/2014/main" id="{C7532BC8-4745-4BB2-8C81-6C639A6284C4}"/>
              </a:ext>
            </a:extLst>
          </p:cNvPr>
          <p:cNvSpPr>
            <a:spLocks noGrp="1"/>
          </p:cNvSpPr>
          <p:nvPr>
            <p:ph type="sldNum" sz="quarter" idx="17"/>
          </p:nvPr>
        </p:nvSpPr>
        <p:spPr/>
        <p:txBody>
          <a:bodyPr/>
          <a:lstStyle/>
          <a:p>
            <a:fld id="{2604F1CA-F590-4AD7-82C4-33C5478F726E}" type="slidenum">
              <a:rPr lang="en-GB" smtClean="0"/>
              <a:pPr/>
              <a:t>6</a:t>
            </a:fld>
            <a:endParaRPr lang="en-GB" dirty="0"/>
          </a:p>
        </p:txBody>
      </p:sp>
      <p:sp>
        <p:nvSpPr>
          <p:cNvPr id="6" name="Content Placeholder 6">
            <a:extLst>
              <a:ext uri="{FF2B5EF4-FFF2-40B4-BE49-F238E27FC236}">
                <a16:creationId xmlns:a16="http://schemas.microsoft.com/office/drawing/2014/main" id="{1E0432EF-3A43-4335-A373-229FFB8AE9A8}"/>
              </a:ext>
            </a:extLst>
          </p:cNvPr>
          <p:cNvSpPr txBox="1">
            <a:spLocks/>
          </p:cNvSpPr>
          <p:nvPr/>
        </p:nvSpPr>
        <p:spPr>
          <a:xfrm>
            <a:off x="571500" y="4184951"/>
            <a:ext cx="10721975" cy="2292049"/>
          </a:xfrm>
          <a:prstGeom prst="roundRect">
            <a:avLst>
              <a:gd name="adj" fmla="val 7247"/>
            </a:avLst>
          </a:prstGeom>
          <a:noFill/>
          <a:ln>
            <a:solidFill>
              <a:schemeClr val="bg2"/>
            </a:solidFill>
            <a:prstDash val="solid"/>
          </a:ln>
        </p:spPr>
        <p:txBody>
          <a:bodyPr vert="horz" lIns="0" tIns="45720" rIns="0" bIns="0" rtlCol="0" anchor="t">
            <a:noAutofit/>
          </a:bodyPr>
          <a:lstStyle>
            <a:lvl1pPr marL="228600" indent="-228600" algn="l" defTabSz="914400" rtl="0" eaLnBrk="1" latinLnBrk="0" hangingPunct="1">
              <a:lnSpc>
                <a:spcPct val="100000"/>
              </a:lnSpc>
              <a:spcBef>
                <a:spcPts val="600"/>
              </a:spcBef>
              <a:spcAft>
                <a:spcPts val="300"/>
              </a:spcAft>
              <a:buClr>
                <a:schemeClr val="tx1"/>
              </a:buClr>
              <a:buSzPct val="130000"/>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228600" algn="l" defTabSz="914400" rtl="0" eaLnBrk="1" latinLnBrk="0" hangingPunct="1">
              <a:lnSpc>
                <a:spcPct val="100000"/>
              </a:lnSpc>
              <a:spcBef>
                <a:spcPts val="600"/>
              </a:spcBef>
              <a:spcAft>
                <a:spcPts val="300"/>
              </a:spcAft>
              <a:buClr>
                <a:schemeClr val="tx1"/>
              </a:buClr>
              <a:buFont typeface="Segoe UI" panose="020B0502040204020203"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685800" indent="-228600" algn="l" defTabSz="914400" rtl="0" eaLnBrk="1" latinLnBrk="0" hangingPunct="1">
              <a:lnSpc>
                <a:spcPct val="100000"/>
              </a:lnSpc>
              <a:spcBef>
                <a:spcPts val="600"/>
              </a:spcBef>
              <a:spcAft>
                <a:spcPts val="300"/>
              </a:spcAft>
              <a:buClr>
                <a:schemeClr val="tx1"/>
              </a:buClr>
              <a:buSzPct val="100000"/>
              <a:buFont typeface="Courier New" panose="02070309020205020404" pitchFamily="49" charset="0"/>
              <a:buChar char="o"/>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144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1430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944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j-lt"/>
                <a:ea typeface="Lato" panose="020F0502020204030203" pitchFamily="34" charset="0"/>
                <a:cs typeface="Poppins" panose="00000500000000000000" pitchFamily="50" charset="0"/>
              </a:defRPr>
            </a:lvl6pPr>
            <a:lvl7pPr marL="2268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n-lt"/>
                <a:ea typeface="Lato" panose="020F0502020204030203" pitchFamily="34" charset="0"/>
                <a:cs typeface="Poppins" panose="00000500000000000000" pitchFamily="50" charset="0"/>
              </a:defRPr>
            </a:lvl7pPr>
            <a:lvl8pPr marL="2592000" indent="-342000" algn="l" defTabSz="914400" rtl="0" eaLnBrk="1" latinLnBrk="0" hangingPunct="1">
              <a:lnSpc>
                <a:spcPct val="90000"/>
              </a:lnSpc>
              <a:spcBef>
                <a:spcPts val="800"/>
              </a:spcBef>
              <a:buClr>
                <a:srgbClr val="E0044E"/>
              </a:buClr>
              <a:buFont typeface="Arial" panose="020B0604020202020204" pitchFamily="34" charset="0"/>
              <a:buChar char="•"/>
              <a:defRPr sz="1600" b="0" i="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182880">
              <a:lnSpc>
                <a:spcPts val="1400"/>
              </a:lnSpc>
              <a:spcBef>
                <a:spcPts val="200"/>
              </a:spcBef>
              <a:spcAft>
                <a:spcPts val="0"/>
              </a:spcAft>
            </a:pPr>
            <a:r>
              <a:rPr lang="en-US" sz="1200" b="1" dirty="0"/>
              <a:t>Consumer </a:t>
            </a:r>
            <a:r>
              <a:rPr lang="en-US" sz="1200" dirty="0"/>
              <a:t>sector overtook Technology by generating gross proceeds of $25.4Bn and an average deal size of $127Mn – witnessed a 60% increase in total proceeds, when compared to 2023</a:t>
            </a:r>
          </a:p>
          <a:p>
            <a:pPr marL="338138" lvl="1" indent="-182563">
              <a:lnSpc>
                <a:spcPts val="1400"/>
              </a:lnSpc>
              <a:spcBef>
                <a:spcPts val="200"/>
              </a:spcBef>
              <a:spcAft>
                <a:spcPts val="0"/>
              </a:spcAft>
            </a:pPr>
            <a:r>
              <a:rPr lang="en-US" sz="1200" dirty="0"/>
              <a:t>High-value retail IPOs driven by strong retail spending in MENA fueled the sectoral dominance in 2024</a:t>
            </a:r>
          </a:p>
          <a:p>
            <a:pPr marL="338138" lvl="1" indent="-182563">
              <a:lnSpc>
                <a:spcPts val="1400"/>
              </a:lnSpc>
              <a:spcBef>
                <a:spcPts val="200"/>
              </a:spcBef>
              <a:spcAft>
                <a:spcPts val="0"/>
              </a:spcAft>
            </a:pPr>
            <a:r>
              <a:rPr lang="en-US" sz="1200" dirty="0"/>
              <a:t>India also supported the market share with ~80% increase in deal value which was primarily driven by robust economy and burgeoning consumer market</a:t>
            </a:r>
          </a:p>
          <a:p>
            <a:pPr marL="338138" lvl="1" indent="-171450">
              <a:lnSpc>
                <a:spcPts val="1400"/>
              </a:lnSpc>
              <a:spcBef>
                <a:spcPts val="200"/>
              </a:spcBef>
              <a:spcAft>
                <a:spcPts val="0"/>
              </a:spcAft>
            </a:pPr>
            <a:r>
              <a:rPr lang="en-US" sz="1200" dirty="0"/>
              <a:t>By geography, EMEIA countries dominated the sector, accounting for 48% of IPO proceeds, followed by Asia Pacific (39%) and Americas (13%)</a:t>
            </a:r>
          </a:p>
          <a:p>
            <a:pPr marL="182880" indent="-182880">
              <a:lnSpc>
                <a:spcPts val="1400"/>
              </a:lnSpc>
              <a:spcBef>
                <a:spcPts val="200"/>
              </a:spcBef>
              <a:spcAft>
                <a:spcPts val="0"/>
              </a:spcAft>
            </a:pPr>
            <a:r>
              <a:rPr lang="en-US" sz="1200" b="1" dirty="0"/>
              <a:t>Technology</a:t>
            </a:r>
            <a:r>
              <a:rPr lang="en-US" sz="1200" dirty="0"/>
              <a:t> accounted for 20% share in total IPO proceeds ($23.6Bn) generated in 2024 which represented a 23% decline in IPO proceeds YoY</a:t>
            </a:r>
          </a:p>
          <a:p>
            <a:pPr marL="411480" lvl="1" indent="-182880">
              <a:lnSpc>
                <a:spcPts val="1400"/>
              </a:lnSpc>
              <a:spcBef>
                <a:spcPts val="200"/>
              </a:spcBef>
              <a:spcAft>
                <a:spcPts val="0"/>
              </a:spcAft>
            </a:pPr>
            <a:r>
              <a:rPr lang="en-US" sz="1200" dirty="0"/>
              <a:t>2024 was pivotal year that witnessed the return of enterprise and consumer software with $15.7Bn raised which accounted for 2/3rd of total proceeds</a:t>
            </a:r>
          </a:p>
          <a:p>
            <a:pPr marL="182880" indent="-182880">
              <a:lnSpc>
                <a:spcPts val="1400"/>
              </a:lnSpc>
              <a:spcBef>
                <a:spcPts val="200"/>
              </a:spcBef>
              <a:spcAft>
                <a:spcPts val="0"/>
              </a:spcAft>
            </a:pPr>
            <a:r>
              <a:rPr lang="en-US" sz="1200" b="1" dirty="0"/>
              <a:t>Industrials </a:t>
            </a:r>
            <a:r>
              <a:rPr lang="en-US" sz="1200" dirty="0"/>
              <a:t>sector experienced slowdown in most economies in H2’24. The sector faced a 40% decline in IPO proceeds with $20.8Bn in proceeds</a:t>
            </a:r>
          </a:p>
          <a:p>
            <a:pPr marL="411480" lvl="1" indent="-182880">
              <a:lnSpc>
                <a:spcPts val="1400"/>
              </a:lnSpc>
              <a:spcBef>
                <a:spcPts val="200"/>
              </a:spcBef>
              <a:spcAft>
                <a:spcPts val="0"/>
              </a:spcAft>
            </a:pPr>
            <a:r>
              <a:rPr lang="en-US" sz="1200" dirty="0"/>
              <a:t>Industrials IPO activity was notably down in Mainland China, many of the sector’s largest entries globally specifically in the industrial components and automation subsectors</a:t>
            </a:r>
          </a:p>
          <a:p>
            <a:pPr marL="182880" indent="-182880">
              <a:lnSpc>
                <a:spcPts val="1400"/>
              </a:lnSpc>
              <a:spcBef>
                <a:spcPts val="200"/>
              </a:spcBef>
              <a:spcAft>
                <a:spcPts val="0"/>
              </a:spcAft>
            </a:pPr>
            <a:r>
              <a:rPr lang="en-US" sz="1200" b="1" dirty="0"/>
              <a:t>Health and Life Sciences </a:t>
            </a:r>
            <a:r>
              <a:rPr lang="en-US" sz="1200" dirty="0"/>
              <a:t>sector witnessed a 37% increase in IPO proceeds to $17.1Bn, driven by a notable increase of oncology-based biotechnology IPOs</a:t>
            </a:r>
            <a:endParaRPr lang="en-US" sz="1200" dirty="0">
              <a:solidFill>
                <a:srgbClr val="FF0000"/>
              </a:solidFill>
            </a:endParaRPr>
          </a:p>
        </p:txBody>
      </p:sp>
      <p:sp>
        <p:nvSpPr>
          <p:cNvPr id="11" name="Rectangle 10">
            <a:extLst>
              <a:ext uri="{FF2B5EF4-FFF2-40B4-BE49-F238E27FC236}">
                <a16:creationId xmlns:a16="http://schemas.microsoft.com/office/drawing/2014/main" id="{12B6F8E2-384A-4CBC-897E-1A8781E84C77}"/>
              </a:ext>
            </a:extLst>
          </p:cNvPr>
          <p:cNvSpPr/>
          <p:nvPr/>
        </p:nvSpPr>
        <p:spPr>
          <a:xfrm>
            <a:off x="1058426" y="1484767"/>
            <a:ext cx="254165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spAutoFit/>
          </a:bodyPr>
          <a:lstStyle/>
          <a:p>
            <a:r>
              <a:rPr lang="en-IN" sz="1400" b="1" dirty="0">
                <a:solidFill>
                  <a:schemeClr val="tx1"/>
                </a:solidFill>
              </a:rPr>
              <a:t>2023 IPO Proceeds ($126.1Bn)</a:t>
            </a:r>
          </a:p>
        </p:txBody>
      </p:sp>
      <p:grpSp>
        <p:nvGrpSpPr>
          <p:cNvPr id="27" name="Group 26">
            <a:extLst>
              <a:ext uri="{FF2B5EF4-FFF2-40B4-BE49-F238E27FC236}">
                <a16:creationId xmlns:a16="http://schemas.microsoft.com/office/drawing/2014/main" id="{A050AE08-A871-4F14-89D2-E7C4CC8206D6}"/>
              </a:ext>
            </a:extLst>
          </p:cNvPr>
          <p:cNvGrpSpPr/>
          <p:nvPr/>
        </p:nvGrpSpPr>
        <p:grpSpPr>
          <a:xfrm>
            <a:off x="587375" y="903087"/>
            <a:ext cx="11149802" cy="631586"/>
            <a:chOff x="587375" y="798288"/>
            <a:chExt cx="11149802" cy="631586"/>
          </a:xfrm>
        </p:grpSpPr>
        <p:grpSp>
          <p:nvGrpSpPr>
            <p:cNvPr id="28" name="Group 27">
              <a:extLst>
                <a:ext uri="{FF2B5EF4-FFF2-40B4-BE49-F238E27FC236}">
                  <a16:creationId xmlns:a16="http://schemas.microsoft.com/office/drawing/2014/main" id="{A4512E70-8988-4AF8-8166-73338186A7EB}"/>
                </a:ext>
              </a:extLst>
            </p:cNvPr>
            <p:cNvGrpSpPr/>
            <p:nvPr/>
          </p:nvGrpSpPr>
          <p:grpSpPr>
            <a:xfrm>
              <a:off x="587375" y="798288"/>
              <a:ext cx="11149802" cy="631586"/>
              <a:chOff x="587375" y="798288"/>
              <a:chExt cx="11149802" cy="631586"/>
            </a:xfrm>
            <a:effectLst>
              <a:outerShdw blurRad="50800" dist="38100" dir="2700000" algn="tl" rotWithShape="0">
                <a:prstClr val="black">
                  <a:alpha val="40000"/>
                </a:prstClr>
              </a:outerShdw>
            </a:effectLst>
          </p:grpSpPr>
          <p:sp>
            <p:nvSpPr>
              <p:cNvPr id="30" name="Freeform: Shape 29">
                <a:extLst>
                  <a:ext uri="{FF2B5EF4-FFF2-40B4-BE49-F238E27FC236}">
                    <a16:creationId xmlns:a16="http://schemas.microsoft.com/office/drawing/2014/main" id="{24813919-4D58-4B9F-A52F-5976943FC085}"/>
                  </a:ext>
                </a:extLst>
              </p:cNvPr>
              <p:cNvSpPr/>
              <p:nvPr/>
            </p:nvSpPr>
            <p:spPr>
              <a:xfrm rot="5400000">
                <a:off x="11230937" y="923634"/>
                <a:ext cx="631586" cy="380894"/>
              </a:xfrm>
              <a:custGeom>
                <a:avLst/>
                <a:gdLst>
                  <a:gd name="connsiteX0" fmla="*/ 0 w 631586"/>
                  <a:gd name="connsiteY0" fmla="*/ 380894 h 380894"/>
                  <a:gd name="connsiteX1" fmla="*/ 315793 w 631586"/>
                  <a:gd name="connsiteY1" fmla="*/ 0 h 380894"/>
                  <a:gd name="connsiteX2" fmla="*/ 631586 w 631586"/>
                  <a:gd name="connsiteY2" fmla="*/ 380894 h 380894"/>
                  <a:gd name="connsiteX3" fmla="*/ 483554 w 631586"/>
                  <a:gd name="connsiteY3" fmla="*/ 380894 h 380894"/>
                  <a:gd name="connsiteX4" fmla="*/ 481237 w 631586"/>
                  <a:gd name="connsiteY4" fmla="*/ 348453 h 380894"/>
                  <a:gd name="connsiteX5" fmla="*/ 474887 w 631586"/>
                  <a:gd name="connsiteY5" fmla="*/ 294478 h 380894"/>
                  <a:gd name="connsiteX6" fmla="*/ 439962 w 631586"/>
                  <a:gd name="connsiteY6" fmla="*/ 221453 h 380894"/>
                  <a:gd name="connsiteX7" fmla="*/ 385987 w 631586"/>
                  <a:gd name="connsiteY7" fmla="*/ 192878 h 380894"/>
                  <a:gd name="connsiteX8" fmla="*/ 309787 w 631586"/>
                  <a:gd name="connsiteY8" fmla="*/ 192878 h 380894"/>
                  <a:gd name="connsiteX9" fmla="*/ 233587 w 631586"/>
                  <a:gd name="connsiteY9" fmla="*/ 230978 h 380894"/>
                  <a:gd name="connsiteX10" fmla="*/ 182787 w 631586"/>
                  <a:gd name="connsiteY10" fmla="*/ 272253 h 380894"/>
                  <a:gd name="connsiteX11" fmla="*/ 144687 w 631586"/>
                  <a:gd name="connsiteY11" fmla="*/ 332578 h 380894"/>
                  <a:gd name="connsiteX12" fmla="*/ 139855 w 631586"/>
                  <a:gd name="connsiteY12" fmla="*/ 380894 h 38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1586" h="380894">
                    <a:moveTo>
                      <a:pt x="0" y="380894"/>
                    </a:moveTo>
                    <a:lnTo>
                      <a:pt x="315793" y="0"/>
                    </a:lnTo>
                    <a:lnTo>
                      <a:pt x="631586" y="380894"/>
                    </a:lnTo>
                    <a:lnTo>
                      <a:pt x="483554" y="380894"/>
                    </a:lnTo>
                    <a:lnTo>
                      <a:pt x="481237" y="348453"/>
                    </a:lnTo>
                    <a:lnTo>
                      <a:pt x="474887" y="294478"/>
                    </a:lnTo>
                    <a:lnTo>
                      <a:pt x="439962" y="221453"/>
                    </a:lnTo>
                    <a:lnTo>
                      <a:pt x="385987" y="192878"/>
                    </a:lnTo>
                    <a:lnTo>
                      <a:pt x="309787" y="192878"/>
                    </a:lnTo>
                    <a:lnTo>
                      <a:pt x="233587" y="230978"/>
                    </a:lnTo>
                    <a:lnTo>
                      <a:pt x="182787" y="272253"/>
                    </a:lnTo>
                    <a:lnTo>
                      <a:pt x="144687" y="332578"/>
                    </a:lnTo>
                    <a:lnTo>
                      <a:pt x="139855" y="38089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1" name="Freeform: Shape 30">
                <a:extLst>
                  <a:ext uri="{FF2B5EF4-FFF2-40B4-BE49-F238E27FC236}">
                    <a16:creationId xmlns:a16="http://schemas.microsoft.com/office/drawing/2014/main" id="{B30E2F2B-587C-4F53-AFF1-567FD616D1BF}"/>
                  </a:ext>
                </a:extLst>
              </p:cNvPr>
              <p:cNvSpPr/>
              <p:nvPr/>
            </p:nvSpPr>
            <p:spPr>
              <a:xfrm>
                <a:off x="587375" y="909547"/>
                <a:ext cx="11017250" cy="410852"/>
              </a:xfrm>
              <a:custGeom>
                <a:avLst/>
                <a:gdLst>
                  <a:gd name="connsiteX0" fmla="*/ 236095 w 11017250"/>
                  <a:gd name="connsiteY0" fmla="*/ 77873 h 410852"/>
                  <a:gd name="connsiteX1" fmla="*/ 108542 w 11017250"/>
                  <a:gd name="connsiteY1" fmla="*/ 205426 h 410852"/>
                  <a:gd name="connsiteX2" fmla="*/ 236095 w 11017250"/>
                  <a:gd name="connsiteY2" fmla="*/ 332979 h 410852"/>
                  <a:gd name="connsiteX3" fmla="*/ 10781155 w 11017250"/>
                  <a:gd name="connsiteY3" fmla="*/ 332979 h 410852"/>
                  <a:gd name="connsiteX4" fmla="*/ 10908708 w 11017250"/>
                  <a:gd name="connsiteY4" fmla="*/ 205426 h 410852"/>
                  <a:gd name="connsiteX5" fmla="*/ 10781155 w 11017250"/>
                  <a:gd name="connsiteY5" fmla="*/ 77873 h 410852"/>
                  <a:gd name="connsiteX6" fmla="*/ 205426 w 11017250"/>
                  <a:gd name="connsiteY6" fmla="*/ 0 h 410852"/>
                  <a:gd name="connsiteX7" fmla="*/ 10811824 w 11017250"/>
                  <a:gd name="connsiteY7" fmla="*/ 0 h 410852"/>
                  <a:gd name="connsiteX8" fmla="*/ 11017250 w 11017250"/>
                  <a:gd name="connsiteY8" fmla="*/ 205426 h 410852"/>
                  <a:gd name="connsiteX9" fmla="*/ 10811824 w 11017250"/>
                  <a:gd name="connsiteY9" fmla="*/ 410852 h 410852"/>
                  <a:gd name="connsiteX10" fmla="*/ 205426 w 11017250"/>
                  <a:gd name="connsiteY10" fmla="*/ 410852 h 410852"/>
                  <a:gd name="connsiteX11" fmla="*/ 0 w 11017250"/>
                  <a:gd name="connsiteY11" fmla="*/ 205426 h 410852"/>
                  <a:gd name="connsiteX12" fmla="*/ 205426 w 11017250"/>
                  <a:gd name="connsiteY12" fmla="*/ 0 h 41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7250" h="410852">
                    <a:moveTo>
                      <a:pt x="236095" y="77873"/>
                    </a:moveTo>
                    <a:cubicBezTo>
                      <a:pt x="165649" y="77873"/>
                      <a:pt x="108542" y="134980"/>
                      <a:pt x="108542" y="205426"/>
                    </a:cubicBezTo>
                    <a:cubicBezTo>
                      <a:pt x="108542" y="275872"/>
                      <a:pt x="165649" y="332979"/>
                      <a:pt x="236095" y="332979"/>
                    </a:cubicBezTo>
                    <a:lnTo>
                      <a:pt x="10781155" y="332979"/>
                    </a:lnTo>
                    <a:cubicBezTo>
                      <a:pt x="10851601" y="332979"/>
                      <a:pt x="10908708" y="275872"/>
                      <a:pt x="10908708" y="205426"/>
                    </a:cubicBezTo>
                    <a:cubicBezTo>
                      <a:pt x="10908708" y="134980"/>
                      <a:pt x="10851601" y="77873"/>
                      <a:pt x="10781155" y="77873"/>
                    </a:cubicBezTo>
                    <a:close/>
                    <a:moveTo>
                      <a:pt x="205426" y="0"/>
                    </a:moveTo>
                    <a:lnTo>
                      <a:pt x="10811824" y="0"/>
                    </a:lnTo>
                    <a:cubicBezTo>
                      <a:pt x="10925278" y="0"/>
                      <a:pt x="11017250" y="91972"/>
                      <a:pt x="11017250" y="205426"/>
                    </a:cubicBezTo>
                    <a:cubicBezTo>
                      <a:pt x="11017250" y="318880"/>
                      <a:pt x="10925278" y="410852"/>
                      <a:pt x="10811824" y="410852"/>
                    </a:cubicBezTo>
                    <a:lnTo>
                      <a:pt x="205426" y="410852"/>
                    </a:lnTo>
                    <a:cubicBezTo>
                      <a:pt x="91972" y="410852"/>
                      <a:pt x="0" y="318880"/>
                      <a:pt x="0" y="205426"/>
                    </a:cubicBezTo>
                    <a:cubicBezTo>
                      <a:pt x="0" y="91972"/>
                      <a:pt x="91972" y="0"/>
                      <a:pt x="205426" y="0"/>
                    </a:cubicBezTo>
                    <a:close/>
                  </a:path>
                </a:pathLst>
              </a:custGeom>
              <a:solidFill>
                <a:srgbClr val="4322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b="1" dirty="0">
                  <a:solidFill>
                    <a:schemeClr val="bg2"/>
                  </a:solidFill>
                </a:endParaRPr>
              </a:p>
            </p:txBody>
          </p:sp>
        </p:grpSp>
        <p:sp>
          <p:nvSpPr>
            <p:cNvPr id="29" name="TextBox 28">
              <a:extLst>
                <a:ext uri="{FF2B5EF4-FFF2-40B4-BE49-F238E27FC236}">
                  <a16:creationId xmlns:a16="http://schemas.microsoft.com/office/drawing/2014/main" id="{A94D30DC-5DC6-4754-ACFB-975239741AEE}"/>
                </a:ext>
              </a:extLst>
            </p:cNvPr>
            <p:cNvSpPr txBox="1"/>
            <p:nvPr/>
          </p:nvSpPr>
          <p:spPr>
            <a:xfrm>
              <a:off x="1058426" y="945634"/>
              <a:ext cx="9980635" cy="338554"/>
            </a:xfrm>
            <a:prstGeom prst="rect">
              <a:avLst/>
            </a:prstGeom>
            <a:noFill/>
          </p:spPr>
          <p:txBody>
            <a:bodyPr wrap="square" anchor="ctr">
              <a:spAutoFit/>
            </a:bodyPr>
            <a:lstStyle/>
            <a:p>
              <a:pPr algn="ctr"/>
              <a:r>
                <a:rPr lang="en-US" sz="1600" b="1" dirty="0">
                  <a:solidFill>
                    <a:schemeClr val="bg2"/>
                  </a:solidFill>
                </a:rPr>
                <a:t>Consumer Sector Dominated IPO Activity, Led by High-Value Retail Companies</a:t>
              </a:r>
            </a:p>
          </p:txBody>
        </p:sp>
      </p:grpSp>
      <p:sp>
        <p:nvSpPr>
          <p:cNvPr id="36" name="Rectangle 35">
            <a:extLst>
              <a:ext uri="{FF2B5EF4-FFF2-40B4-BE49-F238E27FC236}">
                <a16:creationId xmlns:a16="http://schemas.microsoft.com/office/drawing/2014/main" id="{AD968133-BBEA-4003-8C61-C995FEE211FC}"/>
              </a:ext>
            </a:extLst>
          </p:cNvPr>
          <p:cNvSpPr/>
          <p:nvPr/>
        </p:nvSpPr>
        <p:spPr>
          <a:xfrm>
            <a:off x="8165739" y="1484767"/>
            <a:ext cx="254165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spAutoFit/>
          </a:bodyPr>
          <a:lstStyle/>
          <a:p>
            <a:r>
              <a:rPr lang="en-IN" sz="1400" b="1" dirty="0">
                <a:solidFill>
                  <a:schemeClr val="tx1"/>
                </a:solidFill>
              </a:rPr>
              <a:t>2024 IPO Proceeds ($121.2Bn)</a:t>
            </a:r>
          </a:p>
        </p:txBody>
      </p:sp>
      <p:cxnSp>
        <p:nvCxnSpPr>
          <p:cNvPr id="37" name="Straight Connector 36">
            <a:extLst>
              <a:ext uri="{FF2B5EF4-FFF2-40B4-BE49-F238E27FC236}">
                <a16:creationId xmlns:a16="http://schemas.microsoft.com/office/drawing/2014/main" id="{8B2D3966-3F05-40C0-A8F3-0C82B2C8C1E0}"/>
              </a:ext>
            </a:extLst>
          </p:cNvPr>
          <p:cNvCxnSpPr>
            <a:cxnSpLocks/>
          </p:cNvCxnSpPr>
          <p:nvPr/>
        </p:nvCxnSpPr>
        <p:spPr>
          <a:xfrm>
            <a:off x="1058426" y="1807652"/>
            <a:ext cx="36576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4CFF1CD-EFBD-4F61-AE08-0DABAFF05529}"/>
              </a:ext>
            </a:extLst>
          </p:cNvPr>
          <p:cNvCxnSpPr>
            <a:cxnSpLocks/>
          </p:cNvCxnSpPr>
          <p:nvPr/>
        </p:nvCxnSpPr>
        <p:spPr>
          <a:xfrm>
            <a:off x="8165739" y="1807652"/>
            <a:ext cx="36576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1976699C-CD71-4B9D-B1E4-9EF727D20F4F}"/>
              </a:ext>
            </a:extLst>
          </p:cNvPr>
          <p:cNvGrpSpPr/>
          <p:nvPr/>
        </p:nvGrpSpPr>
        <p:grpSpPr>
          <a:xfrm>
            <a:off x="5221681" y="3498943"/>
            <a:ext cx="896704" cy="422031"/>
            <a:chOff x="5070476" y="3465141"/>
            <a:chExt cx="1193514" cy="464234"/>
          </a:xfrm>
        </p:grpSpPr>
        <p:sp>
          <p:nvSpPr>
            <p:cNvPr id="46" name="Arrow: Notched Right 45">
              <a:extLst>
                <a:ext uri="{FF2B5EF4-FFF2-40B4-BE49-F238E27FC236}">
                  <a16:creationId xmlns:a16="http://schemas.microsoft.com/office/drawing/2014/main" id="{F62DDD8E-134F-4C5B-843A-862FEC2524C4}"/>
                </a:ext>
              </a:extLst>
            </p:cNvPr>
            <p:cNvSpPr/>
            <p:nvPr/>
          </p:nvSpPr>
          <p:spPr>
            <a:xfrm>
              <a:off x="5090760" y="3465141"/>
              <a:ext cx="1173230" cy="464234"/>
            </a:xfrm>
            <a:prstGeom prst="notchedRightArrow">
              <a:avLst/>
            </a:prstGeom>
            <a:solidFill>
              <a:schemeClr val="tx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45" name="Arrow: Notched Right 44">
              <a:extLst>
                <a:ext uri="{FF2B5EF4-FFF2-40B4-BE49-F238E27FC236}">
                  <a16:creationId xmlns:a16="http://schemas.microsoft.com/office/drawing/2014/main" id="{540F24C8-B934-4E69-A34D-58A30D01DB95}"/>
                </a:ext>
              </a:extLst>
            </p:cNvPr>
            <p:cNvSpPr/>
            <p:nvPr/>
          </p:nvSpPr>
          <p:spPr>
            <a:xfrm>
              <a:off x="5070476" y="3465141"/>
              <a:ext cx="1118104" cy="464234"/>
            </a:xfrm>
            <a:prstGeom prst="notchedRightArrow">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sp>
        <p:nvSpPr>
          <p:cNvPr id="23" name="TextBox 22">
            <a:extLst>
              <a:ext uri="{FF2B5EF4-FFF2-40B4-BE49-F238E27FC236}">
                <a16:creationId xmlns:a16="http://schemas.microsoft.com/office/drawing/2014/main" id="{17018959-4D42-4691-A5E5-138D947DBCD0}"/>
              </a:ext>
            </a:extLst>
          </p:cNvPr>
          <p:cNvSpPr txBox="1"/>
          <p:nvPr/>
        </p:nvSpPr>
        <p:spPr>
          <a:xfrm>
            <a:off x="571500" y="6543674"/>
            <a:ext cx="8788400" cy="161925"/>
          </a:xfrm>
          <a:prstGeom prst="rect">
            <a:avLst/>
          </a:prstGeom>
          <a:noFill/>
        </p:spPr>
        <p:txBody>
          <a:bodyPr wrap="square" lIns="45720" rtlCol="0" anchor="ctr">
            <a:noAutofit/>
          </a:bodyPr>
          <a:lstStyle/>
          <a:p>
            <a:pPr algn="l">
              <a:lnSpc>
                <a:spcPct val="90000"/>
              </a:lnSpc>
              <a:spcBef>
                <a:spcPts val="800"/>
              </a:spcBef>
              <a:buClr>
                <a:srgbClr val="E0044E"/>
              </a:buClr>
            </a:pPr>
            <a:r>
              <a:rPr lang="en-US" sz="900" dirty="0">
                <a:latin typeface="Segoe UI" panose="020B0502040204020203" pitchFamily="34" charset="0"/>
                <a:cs typeface="Segoe UI" panose="020B0502040204020203" pitchFamily="34" charset="0"/>
              </a:rPr>
              <a:t>Source: EY, PwC, Press</a:t>
            </a:r>
            <a:endParaRPr lang="en-IN" sz="900" dirty="0">
              <a:latin typeface="Segoe UI" panose="020B0502040204020203" pitchFamily="34" charset="0"/>
              <a:cs typeface="Segoe UI" panose="020B0502040204020203" pitchFamily="34" charset="0"/>
            </a:endParaRPr>
          </a:p>
        </p:txBody>
      </p:sp>
      <p:graphicFrame>
        <p:nvGraphicFramePr>
          <p:cNvPr id="5" name="Chart 4">
            <a:extLst>
              <a:ext uri="{FF2B5EF4-FFF2-40B4-BE49-F238E27FC236}">
                <a16:creationId xmlns:a16="http://schemas.microsoft.com/office/drawing/2014/main" id="{E5BF81BE-A853-44ED-9557-6A582FD2DAD4}"/>
              </a:ext>
            </a:extLst>
          </p:cNvPr>
          <p:cNvGraphicFramePr/>
          <p:nvPr>
            <p:extLst>
              <p:ext uri="{D42A27DB-BD31-4B8C-83A1-F6EECF244321}">
                <p14:modId xmlns:p14="http://schemas.microsoft.com/office/powerpoint/2010/main" val="967249681"/>
              </p:ext>
            </p:extLst>
          </p:nvPr>
        </p:nvGraphicFramePr>
        <p:xfrm>
          <a:off x="637717" y="1859217"/>
          <a:ext cx="7376159" cy="209861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5" name="Chart 24">
            <a:extLst>
              <a:ext uri="{FF2B5EF4-FFF2-40B4-BE49-F238E27FC236}">
                <a16:creationId xmlns:a16="http://schemas.microsoft.com/office/drawing/2014/main" id="{BDA41531-9C9A-4D76-A111-5CDE92E56FDB}"/>
              </a:ext>
            </a:extLst>
          </p:cNvPr>
          <p:cNvGraphicFramePr/>
          <p:nvPr>
            <p:extLst>
              <p:ext uri="{D42A27DB-BD31-4B8C-83A1-F6EECF244321}">
                <p14:modId xmlns:p14="http://schemas.microsoft.com/office/powerpoint/2010/main" val="5397722"/>
              </p:ext>
            </p:extLst>
          </p:nvPr>
        </p:nvGraphicFramePr>
        <p:xfrm>
          <a:off x="6391656" y="1874326"/>
          <a:ext cx="4828032" cy="20941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873385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name="Slide7">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E8998417-B65C-4D1C-BE0B-1965BAF13931}"/>
              </a:ext>
            </a:extLst>
          </p:cNvPr>
          <p:cNvSpPr>
            <a:spLocks/>
          </p:cNvSpPr>
          <p:nvPr/>
        </p:nvSpPr>
        <p:spPr>
          <a:xfrm>
            <a:off x="571499" y="1484767"/>
            <a:ext cx="10721975" cy="2497769"/>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Title 6">
            <a:extLst>
              <a:ext uri="{FF2B5EF4-FFF2-40B4-BE49-F238E27FC236}">
                <a16:creationId xmlns:a16="http://schemas.microsoft.com/office/drawing/2014/main" id="{3147817E-AB33-489B-9DF3-A9955C51574D}"/>
              </a:ext>
            </a:extLst>
          </p:cNvPr>
          <p:cNvSpPr>
            <a:spLocks noGrp="1"/>
          </p:cNvSpPr>
          <p:nvPr>
            <p:ph type="title"/>
          </p:nvPr>
        </p:nvSpPr>
        <p:spPr/>
        <p:txBody>
          <a:bodyPr/>
          <a:lstStyle/>
          <a:p>
            <a:r>
              <a:rPr lang="en-US" dirty="0"/>
              <a:t>Global IPO Activity by Sector – Deal Volume</a:t>
            </a:r>
          </a:p>
        </p:txBody>
      </p:sp>
      <p:sp>
        <p:nvSpPr>
          <p:cNvPr id="40" name="Slide Number Placeholder 39">
            <a:extLst>
              <a:ext uri="{FF2B5EF4-FFF2-40B4-BE49-F238E27FC236}">
                <a16:creationId xmlns:a16="http://schemas.microsoft.com/office/drawing/2014/main" id="{C7532BC8-4745-4BB2-8C81-6C639A6284C4}"/>
              </a:ext>
            </a:extLst>
          </p:cNvPr>
          <p:cNvSpPr>
            <a:spLocks noGrp="1"/>
          </p:cNvSpPr>
          <p:nvPr>
            <p:ph type="sldNum" sz="quarter" idx="17"/>
          </p:nvPr>
        </p:nvSpPr>
        <p:spPr/>
        <p:txBody>
          <a:bodyPr/>
          <a:lstStyle/>
          <a:p>
            <a:fld id="{2604F1CA-F590-4AD7-82C4-33C5478F726E}" type="slidenum">
              <a:rPr lang="en-GB" smtClean="0"/>
              <a:pPr/>
              <a:t>7</a:t>
            </a:fld>
            <a:endParaRPr lang="en-GB" dirty="0"/>
          </a:p>
        </p:txBody>
      </p:sp>
      <p:sp>
        <p:nvSpPr>
          <p:cNvPr id="6" name="Content Placeholder 6">
            <a:extLst>
              <a:ext uri="{FF2B5EF4-FFF2-40B4-BE49-F238E27FC236}">
                <a16:creationId xmlns:a16="http://schemas.microsoft.com/office/drawing/2014/main" id="{1E0432EF-3A43-4335-A373-229FFB8AE9A8}"/>
              </a:ext>
            </a:extLst>
          </p:cNvPr>
          <p:cNvSpPr txBox="1">
            <a:spLocks/>
          </p:cNvSpPr>
          <p:nvPr/>
        </p:nvSpPr>
        <p:spPr>
          <a:xfrm>
            <a:off x="571500" y="4184951"/>
            <a:ext cx="10721975" cy="2292049"/>
          </a:xfrm>
          <a:prstGeom prst="roundRect">
            <a:avLst>
              <a:gd name="adj" fmla="val 7247"/>
            </a:avLst>
          </a:prstGeom>
          <a:solidFill>
            <a:srgbClr val="F9F9F9"/>
          </a:solidFill>
          <a:ln>
            <a:solidFill>
              <a:schemeClr val="bg2"/>
            </a:solidFill>
            <a:prstDash val="solid"/>
          </a:ln>
        </p:spPr>
        <p:txBody>
          <a:bodyPr vert="horz" lIns="0" tIns="45720" rIns="0" bIns="0" rtlCol="0" anchor="t">
            <a:noAutofit/>
          </a:bodyPr>
          <a:lstStyle>
            <a:lvl1pPr marL="228600" indent="-228600" algn="l" defTabSz="914400" rtl="0" eaLnBrk="1" latinLnBrk="0" hangingPunct="1">
              <a:lnSpc>
                <a:spcPct val="100000"/>
              </a:lnSpc>
              <a:spcBef>
                <a:spcPts val="600"/>
              </a:spcBef>
              <a:spcAft>
                <a:spcPts val="300"/>
              </a:spcAft>
              <a:buClr>
                <a:schemeClr val="tx1"/>
              </a:buClr>
              <a:buSzPct val="130000"/>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457200" indent="-228600" algn="l" defTabSz="914400" rtl="0" eaLnBrk="1" latinLnBrk="0" hangingPunct="1">
              <a:lnSpc>
                <a:spcPct val="100000"/>
              </a:lnSpc>
              <a:spcBef>
                <a:spcPts val="600"/>
              </a:spcBef>
              <a:spcAft>
                <a:spcPts val="300"/>
              </a:spcAft>
              <a:buClr>
                <a:schemeClr val="tx1"/>
              </a:buClr>
              <a:buFont typeface="Segoe UI" panose="020B0502040204020203"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685800" indent="-228600" algn="l" defTabSz="914400" rtl="0" eaLnBrk="1" latinLnBrk="0" hangingPunct="1">
              <a:lnSpc>
                <a:spcPct val="100000"/>
              </a:lnSpc>
              <a:spcBef>
                <a:spcPts val="600"/>
              </a:spcBef>
              <a:spcAft>
                <a:spcPts val="300"/>
              </a:spcAft>
              <a:buClr>
                <a:schemeClr val="tx1"/>
              </a:buClr>
              <a:buSzPct val="100000"/>
              <a:buFont typeface="Courier New" panose="02070309020205020404" pitchFamily="49" charset="0"/>
              <a:buChar char="o"/>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9144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143000" indent="-228600" algn="l" defTabSz="914400" rtl="0" eaLnBrk="1" latinLnBrk="0" hangingPunct="1">
              <a:lnSpc>
                <a:spcPct val="100000"/>
              </a:lnSpc>
              <a:spcBef>
                <a:spcPts val="600"/>
              </a:spcBef>
              <a:spcAft>
                <a:spcPts val="300"/>
              </a:spcAft>
              <a:buClr>
                <a:schemeClr val="tx1"/>
              </a:buClr>
              <a:buFont typeface="Arial" panose="020B0604020202020204" pitchFamily="34" charset="0"/>
              <a:buChar char="•"/>
              <a:defRPr sz="1600" b="0" i="0" kern="120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1944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j-lt"/>
                <a:ea typeface="Lato" panose="020F0502020204030203" pitchFamily="34" charset="0"/>
                <a:cs typeface="Poppins" panose="00000500000000000000" pitchFamily="50" charset="0"/>
              </a:defRPr>
            </a:lvl6pPr>
            <a:lvl7pPr marL="2268000" indent="-342000" algn="l" defTabSz="914400" rtl="0" eaLnBrk="1" latinLnBrk="0" hangingPunct="1">
              <a:lnSpc>
                <a:spcPct val="90000"/>
              </a:lnSpc>
              <a:spcBef>
                <a:spcPts val="800"/>
              </a:spcBef>
              <a:buClr>
                <a:schemeClr val="tx1"/>
              </a:buClr>
              <a:buFont typeface="Arial" panose="020B0604020202020204" pitchFamily="34" charset="0"/>
              <a:buChar char="•"/>
              <a:defRPr sz="1600" b="0" i="0" kern="1200">
                <a:solidFill>
                  <a:schemeClr val="tx1"/>
                </a:solidFill>
                <a:latin typeface="+mn-lt"/>
                <a:ea typeface="Lato" panose="020F0502020204030203" pitchFamily="34" charset="0"/>
                <a:cs typeface="Poppins" panose="00000500000000000000" pitchFamily="50" charset="0"/>
              </a:defRPr>
            </a:lvl7pPr>
            <a:lvl8pPr marL="2592000" indent="-342000" algn="l" defTabSz="914400" rtl="0" eaLnBrk="1" latinLnBrk="0" hangingPunct="1">
              <a:lnSpc>
                <a:spcPct val="90000"/>
              </a:lnSpc>
              <a:spcBef>
                <a:spcPts val="800"/>
              </a:spcBef>
              <a:buClr>
                <a:srgbClr val="E0044E"/>
              </a:buClr>
              <a:buFont typeface="Arial" panose="020B0604020202020204" pitchFamily="34" charset="0"/>
              <a:buChar char="•"/>
              <a:defRPr sz="1600" b="0" i="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182880">
              <a:lnSpc>
                <a:spcPts val="1500"/>
              </a:lnSpc>
              <a:spcBef>
                <a:spcPts val="150"/>
              </a:spcBef>
              <a:spcAft>
                <a:spcPts val="100"/>
              </a:spcAft>
            </a:pPr>
            <a:r>
              <a:rPr lang="en-US" sz="1200" dirty="0"/>
              <a:t>The</a:t>
            </a:r>
            <a:r>
              <a:rPr lang="en-US" sz="1200" b="1" dirty="0"/>
              <a:t> Industrials </a:t>
            </a:r>
            <a:r>
              <a:rPr lang="en-US" sz="1200" dirty="0"/>
              <a:t>sector</a:t>
            </a:r>
            <a:r>
              <a:rPr lang="en-US" sz="1200" b="1" dirty="0"/>
              <a:t> </a:t>
            </a:r>
            <a:r>
              <a:rPr lang="en-US" sz="1200" dirty="0"/>
              <a:t>led the IPO activity in 2024 as well, despite facing a 28% decline in deal volume YoY (253 IPOs) which was impacted by the slowdown in Mainland China amid stricter regulations on setting high IPO prices</a:t>
            </a:r>
          </a:p>
          <a:p>
            <a:pPr marL="182880" indent="-182880">
              <a:lnSpc>
                <a:spcPts val="1500"/>
              </a:lnSpc>
              <a:spcBef>
                <a:spcPts val="150"/>
              </a:spcBef>
              <a:spcAft>
                <a:spcPts val="100"/>
              </a:spcAft>
            </a:pPr>
            <a:r>
              <a:rPr lang="en-US" sz="1200" dirty="0"/>
              <a:t>The </a:t>
            </a:r>
            <a:r>
              <a:rPr lang="en-US" sz="1200" b="1" dirty="0"/>
              <a:t>Consumer</a:t>
            </a:r>
            <a:r>
              <a:rPr lang="en-US" sz="1200" dirty="0"/>
              <a:t> sector (including Consumer Staples and Consumer Products and Services) grew by 6% YoY to 200 IPOs in 2024</a:t>
            </a:r>
          </a:p>
          <a:p>
            <a:pPr marL="411480" lvl="1" indent="-182880">
              <a:lnSpc>
                <a:spcPts val="1500"/>
              </a:lnSpc>
              <a:spcBef>
                <a:spcPts val="150"/>
              </a:spcBef>
              <a:spcAft>
                <a:spcPts val="100"/>
              </a:spcAft>
            </a:pPr>
            <a:r>
              <a:rPr lang="en-US" sz="1200" dirty="0"/>
              <a:t>The increase in Consumer sector IPOs was supported by favorable monetary policies and improved consumer confidence</a:t>
            </a:r>
          </a:p>
          <a:p>
            <a:pPr marL="411480" lvl="1" indent="-182880">
              <a:lnSpc>
                <a:spcPts val="1500"/>
              </a:lnSpc>
              <a:spcBef>
                <a:spcPts val="150"/>
              </a:spcBef>
              <a:spcAft>
                <a:spcPts val="100"/>
              </a:spcAft>
            </a:pPr>
            <a:r>
              <a:rPr lang="en-US" sz="1200" dirty="0"/>
              <a:t>EMEIA dominated the sector by issuing high-value retail IPOs such as Lulu Retail Holdings, Spinneys, Vishal Mega Mart and Allied Blenders &amp; Distillers</a:t>
            </a:r>
          </a:p>
          <a:p>
            <a:pPr marL="182880" indent="-182880">
              <a:lnSpc>
                <a:spcPts val="1500"/>
              </a:lnSpc>
              <a:spcBef>
                <a:spcPts val="150"/>
              </a:spcBef>
              <a:spcAft>
                <a:spcPts val="100"/>
              </a:spcAft>
            </a:pPr>
            <a:r>
              <a:rPr lang="en-US" sz="1200" b="1" dirty="0"/>
              <a:t>Technology </a:t>
            </a:r>
            <a:r>
              <a:rPr lang="en-US" sz="1200" dirty="0"/>
              <a:t>sector continued to witness a decline in # of IPOs in 2024 with an 18% fall in IPO volume. Companies focused on consumer apps and eCommerce accounted for ~1/3</a:t>
            </a:r>
            <a:r>
              <a:rPr lang="en-US" sz="1200" baseline="30000" dirty="0"/>
              <a:t>rd</a:t>
            </a:r>
            <a:r>
              <a:rPr lang="en-US" sz="1200" dirty="0"/>
              <a:t> of the proceeds ($7.2Bn) raised in 2024</a:t>
            </a:r>
          </a:p>
          <a:p>
            <a:pPr marL="182880" indent="-182880">
              <a:lnSpc>
                <a:spcPts val="1500"/>
              </a:lnSpc>
              <a:spcBef>
                <a:spcPts val="150"/>
              </a:spcBef>
              <a:spcAft>
                <a:spcPts val="100"/>
              </a:spcAft>
            </a:pPr>
            <a:r>
              <a:rPr lang="en-US" sz="1200" b="1" dirty="0"/>
              <a:t>Health and Life Sciences </a:t>
            </a:r>
            <a:r>
              <a:rPr lang="en-US" sz="1200" dirty="0"/>
              <a:t>sector maintained steady IPO activity mirroring 2023 levels with 139 IPOs after a push from the US, South Korea, Japan, and MENA’s notable increase in IPO launches</a:t>
            </a:r>
          </a:p>
          <a:p>
            <a:pPr marL="411480" lvl="1" indent="-182880">
              <a:lnSpc>
                <a:spcPts val="1500"/>
              </a:lnSpc>
              <a:spcBef>
                <a:spcPts val="150"/>
              </a:spcBef>
              <a:spcAft>
                <a:spcPts val="100"/>
              </a:spcAft>
            </a:pPr>
            <a:r>
              <a:rPr lang="en-US" sz="1200" dirty="0"/>
              <a:t>The IPO run was supported by oncology companies that attracted the maximum # of IPOs, US FDA approval and deal valuations</a:t>
            </a:r>
            <a:endParaRPr lang="en-US" sz="1200" dirty="0">
              <a:solidFill>
                <a:srgbClr val="FF0000"/>
              </a:solidFill>
            </a:endParaRPr>
          </a:p>
        </p:txBody>
      </p:sp>
      <p:sp>
        <p:nvSpPr>
          <p:cNvPr id="11" name="Rectangle 10">
            <a:extLst>
              <a:ext uri="{FF2B5EF4-FFF2-40B4-BE49-F238E27FC236}">
                <a16:creationId xmlns:a16="http://schemas.microsoft.com/office/drawing/2014/main" id="{12B6F8E2-384A-4CBC-897E-1A8781E84C77}"/>
              </a:ext>
            </a:extLst>
          </p:cNvPr>
          <p:cNvSpPr/>
          <p:nvPr/>
        </p:nvSpPr>
        <p:spPr>
          <a:xfrm>
            <a:off x="1058426" y="1484767"/>
            <a:ext cx="219887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spAutoFit/>
          </a:bodyPr>
          <a:lstStyle/>
          <a:p>
            <a:r>
              <a:rPr lang="en-IN" sz="1400" b="1" dirty="0">
                <a:solidFill>
                  <a:schemeClr val="tx1"/>
                </a:solidFill>
              </a:rPr>
              <a:t>2023 IPO Volume (#1,351)</a:t>
            </a:r>
          </a:p>
        </p:txBody>
      </p:sp>
      <p:grpSp>
        <p:nvGrpSpPr>
          <p:cNvPr id="27" name="Group 26">
            <a:extLst>
              <a:ext uri="{FF2B5EF4-FFF2-40B4-BE49-F238E27FC236}">
                <a16:creationId xmlns:a16="http://schemas.microsoft.com/office/drawing/2014/main" id="{A050AE08-A871-4F14-89D2-E7C4CC8206D6}"/>
              </a:ext>
            </a:extLst>
          </p:cNvPr>
          <p:cNvGrpSpPr/>
          <p:nvPr/>
        </p:nvGrpSpPr>
        <p:grpSpPr>
          <a:xfrm>
            <a:off x="587375" y="903087"/>
            <a:ext cx="11149802" cy="631586"/>
            <a:chOff x="587375" y="798288"/>
            <a:chExt cx="11149802" cy="631586"/>
          </a:xfrm>
        </p:grpSpPr>
        <p:grpSp>
          <p:nvGrpSpPr>
            <p:cNvPr id="28" name="Group 27">
              <a:extLst>
                <a:ext uri="{FF2B5EF4-FFF2-40B4-BE49-F238E27FC236}">
                  <a16:creationId xmlns:a16="http://schemas.microsoft.com/office/drawing/2014/main" id="{A4512E70-8988-4AF8-8166-73338186A7EB}"/>
                </a:ext>
              </a:extLst>
            </p:cNvPr>
            <p:cNvGrpSpPr/>
            <p:nvPr/>
          </p:nvGrpSpPr>
          <p:grpSpPr>
            <a:xfrm>
              <a:off x="587375" y="798288"/>
              <a:ext cx="11149802" cy="631586"/>
              <a:chOff x="587375" y="798288"/>
              <a:chExt cx="11149802" cy="631586"/>
            </a:xfrm>
            <a:effectLst>
              <a:outerShdw blurRad="50800" dist="38100" dir="2700000" algn="tl" rotWithShape="0">
                <a:prstClr val="black">
                  <a:alpha val="40000"/>
                </a:prstClr>
              </a:outerShdw>
            </a:effectLst>
          </p:grpSpPr>
          <p:sp>
            <p:nvSpPr>
              <p:cNvPr id="30" name="Freeform: Shape 29">
                <a:extLst>
                  <a:ext uri="{FF2B5EF4-FFF2-40B4-BE49-F238E27FC236}">
                    <a16:creationId xmlns:a16="http://schemas.microsoft.com/office/drawing/2014/main" id="{24813919-4D58-4B9F-A52F-5976943FC085}"/>
                  </a:ext>
                </a:extLst>
              </p:cNvPr>
              <p:cNvSpPr/>
              <p:nvPr/>
            </p:nvSpPr>
            <p:spPr>
              <a:xfrm rot="5400000">
                <a:off x="11230937" y="923634"/>
                <a:ext cx="631586" cy="380894"/>
              </a:xfrm>
              <a:custGeom>
                <a:avLst/>
                <a:gdLst>
                  <a:gd name="connsiteX0" fmla="*/ 0 w 631586"/>
                  <a:gd name="connsiteY0" fmla="*/ 380894 h 380894"/>
                  <a:gd name="connsiteX1" fmla="*/ 315793 w 631586"/>
                  <a:gd name="connsiteY1" fmla="*/ 0 h 380894"/>
                  <a:gd name="connsiteX2" fmla="*/ 631586 w 631586"/>
                  <a:gd name="connsiteY2" fmla="*/ 380894 h 380894"/>
                  <a:gd name="connsiteX3" fmla="*/ 483554 w 631586"/>
                  <a:gd name="connsiteY3" fmla="*/ 380894 h 380894"/>
                  <a:gd name="connsiteX4" fmla="*/ 481237 w 631586"/>
                  <a:gd name="connsiteY4" fmla="*/ 348453 h 380894"/>
                  <a:gd name="connsiteX5" fmla="*/ 474887 w 631586"/>
                  <a:gd name="connsiteY5" fmla="*/ 294478 h 380894"/>
                  <a:gd name="connsiteX6" fmla="*/ 439962 w 631586"/>
                  <a:gd name="connsiteY6" fmla="*/ 221453 h 380894"/>
                  <a:gd name="connsiteX7" fmla="*/ 385987 w 631586"/>
                  <a:gd name="connsiteY7" fmla="*/ 192878 h 380894"/>
                  <a:gd name="connsiteX8" fmla="*/ 309787 w 631586"/>
                  <a:gd name="connsiteY8" fmla="*/ 192878 h 380894"/>
                  <a:gd name="connsiteX9" fmla="*/ 233587 w 631586"/>
                  <a:gd name="connsiteY9" fmla="*/ 230978 h 380894"/>
                  <a:gd name="connsiteX10" fmla="*/ 182787 w 631586"/>
                  <a:gd name="connsiteY10" fmla="*/ 272253 h 380894"/>
                  <a:gd name="connsiteX11" fmla="*/ 144687 w 631586"/>
                  <a:gd name="connsiteY11" fmla="*/ 332578 h 380894"/>
                  <a:gd name="connsiteX12" fmla="*/ 139855 w 631586"/>
                  <a:gd name="connsiteY12" fmla="*/ 380894 h 380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31586" h="380894">
                    <a:moveTo>
                      <a:pt x="0" y="380894"/>
                    </a:moveTo>
                    <a:lnTo>
                      <a:pt x="315793" y="0"/>
                    </a:lnTo>
                    <a:lnTo>
                      <a:pt x="631586" y="380894"/>
                    </a:lnTo>
                    <a:lnTo>
                      <a:pt x="483554" y="380894"/>
                    </a:lnTo>
                    <a:lnTo>
                      <a:pt x="481237" y="348453"/>
                    </a:lnTo>
                    <a:lnTo>
                      <a:pt x="474887" y="294478"/>
                    </a:lnTo>
                    <a:lnTo>
                      <a:pt x="439962" y="221453"/>
                    </a:lnTo>
                    <a:lnTo>
                      <a:pt x="385987" y="192878"/>
                    </a:lnTo>
                    <a:lnTo>
                      <a:pt x="309787" y="192878"/>
                    </a:lnTo>
                    <a:lnTo>
                      <a:pt x="233587" y="230978"/>
                    </a:lnTo>
                    <a:lnTo>
                      <a:pt x="182787" y="272253"/>
                    </a:lnTo>
                    <a:lnTo>
                      <a:pt x="144687" y="332578"/>
                    </a:lnTo>
                    <a:lnTo>
                      <a:pt x="139855" y="380894"/>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dirty="0"/>
              </a:p>
            </p:txBody>
          </p:sp>
          <p:sp>
            <p:nvSpPr>
              <p:cNvPr id="31" name="Freeform: Shape 30">
                <a:extLst>
                  <a:ext uri="{FF2B5EF4-FFF2-40B4-BE49-F238E27FC236}">
                    <a16:creationId xmlns:a16="http://schemas.microsoft.com/office/drawing/2014/main" id="{B30E2F2B-587C-4F53-AFF1-567FD616D1BF}"/>
                  </a:ext>
                </a:extLst>
              </p:cNvPr>
              <p:cNvSpPr/>
              <p:nvPr/>
            </p:nvSpPr>
            <p:spPr>
              <a:xfrm>
                <a:off x="587375" y="909547"/>
                <a:ext cx="11017250" cy="410852"/>
              </a:xfrm>
              <a:custGeom>
                <a:avLst/>
                <a:gdLst>
                  <a:gd name="connsiteX0" fmla="*/ 236095 w 11017250"/>
                  <a:gd name="connsiteY0" fmla="*/ 77873 h 410852"/>
                  <a:gd name="connsiteX1" fmla="*/ 108542 w 11017250"/>
                  <a:gd name="connsiteY1" fmla="*/ 205426 h 410852"/>
                  <a:gd name="connsiteX2" fmla="*/ 236095 w 11017250"/>
                  <a:gd name="connsiteY2" fmla="*/ 332979 h 410852"/>
                  <a:gd name="connsiteX3" fmla="*/ 10781155 w 11017250"/>
                  <a:gd name="connsiteY3" fmla="*/ 332979 h 410852"/>
                  <a:gd name="connsiteX4" fmla="*/ 10908708 w 11017250"/>
                  <a:gd name="connsiteY4" fmla="*/ 205426 h 410852"/>
                  <a:gd name="connsiteX5" fmla="*/ 10781155 w 11017250"/>
                  <a:gd name="connsiteY5" fmla="*/ 77873 h 410852"/>
                  <a:gd name="connsiteX6" fmla="*/ 205426 w 11017250"/>
                  <a:gd name="connsiteY6" fmla="*/ 0 h 410852"/>
                  <a:gd name="connsiteX7" fmla="*/ 10811824 w 11017250"/>
                  <a:gd name="connsiteY7" fmla="*/ 0 h 410852"/>
                  <a:gd name="connsiteX8" fmla="*/ 11017250 w 11017250"/>
                  <a:gd name="connsiteY8" fmla="*/ 205426 h 410852"/>
                  <a:gd name="connsiteX9" fmla="*/ 10811824 w 11017250"/>
                  <a:gd name="connsiteY9" fmla="*/ 410852 h 410852"/>
                  <a:gd name="connsiteX10" fmla="*/ 205426 w 11017250"/>
                  <a:gd name="connsiteY10" fmla="*/ 410852 h 410852"/>
                  <a:gd name="connsiteX11" fmla="*/ 0 w 11017250"/>
                  <a:gd name="connsiteY11" fmla="*/ 205426 h 410852"/>
                  <a:gd name="connsiteX12" fmla="*/ 205426 w 11017250"/>
                  <a:gd name="connsiteY12" fmla="*/ 0 h 410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017250" h="410852">
                    <a:moveTo>
                      <a:pt x="236095" y="77873"/>
                    </a:moveTo>
                    <a:cubicBezTo>
                      <a:pt x="165649" y="77873"/>
                      <a:pt x="108542" y="134980"/>
                      <a:pt x="108542" y="205426"/>
                    </a:cubicBezTo>
                    <a:cubicBezTo>
                      <a:pt x="108542" y="275872"/>
                      <a:pt x="165649" y="332979"/>
                      <a:pt x="236095" y="332979"/>
                    </a:cubicBezTo>
                    <a:lnTo>
                      <a:pt x="10781155" y="332979"/>
                    </a:lnTo>
                    <a:cubicBezTo>
                      <a:pt x="10851601" y="332979"/>
                      <a:pt x="10908708" y="275872"/>
                      <a:pt x="10908708" y="205426"/>
                    </a:cubicBezTo>
                    <a:cubicBezTo>
                      <a:pt x="10908708" y="134980"/>
                      <a:pt x="10851601" y="77873"/>
                      <a:pt x="10781155" y="77873"/>
                    </a:cubicBezTo>
                    <a:close/>
                    <a:moveTo>
                      <a:pt x="205426" y="0"/>
                    </a:moveTo>
                    <a:lnTo>
                      <a:pt x="10811824" y="0"/>
                    </a:lnTo>
                    <a:cubicBezTo>
                      <a:pt x="10925278" y="0"/>
                      <a:pt x="11017250" y="91972"/>
                      <a:pt x="11017250" y="205426"/>
                    </a:cubicBezTo>
                    <a:cubicBezTo>
                      <a:pt x="11017250" y="318880"/>
                      <a:pt x="10925278" y="410852"/>
                      <a:pt x="10811824" y="410852"/>
                    </a:cubicBezTo>
                    <a:lnTo>
                      <a:pt x="205426" y="410852"/>
                    </a:lnTo>
                    <a:cubicBezTo>
                      <a:pt x="91972" y="410852"/>
                      <a:pt x="0" y="318880"/>
                      <a:pt x="0" y="205426"/>
                    </a:cubicBezTo>
                    <a:cubicBezTo>
                      <a:pt x="0" y="91972"/>
                      <a:pt x="91972" y="0"/>
                      <a:pt x="205426" y="0"/>
                    </a:cubicBezTo>
                    <a:close/>
                  </a:path>
                </a:pathLst>
              </a:custGeom>
              <a:solidFill>
                <a:srgbClr val="43224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N" b="1" dirty="0">
                  <a:solidFill>
                    <a:schemeClr val="bg2"/>
                  </a:solidFill>
                </a:endParaRPr>
              </a:p>
            </p:txBody>
          </p:sp>
        </p:grpSp>
        <p:sp>
          <p:nvSpPr>
            <p:cNvPr id="29" name="TextBox 28">
              <a:extLst>
                <a:ext uri="{FF2B5EF4-FFF2-40B4-BE49-F238E27FC236}">
                  <a16:creationId xmlns:a16="http://schemas.microsoft.com/office/drawing/2014/main" id="{A94D30DC-5DC6-4754-ACFB-975239741AEE}"/>
                </a:ext>
              </a:extLst>
            </p:cNvPr>
            <p:cNvSpPr txBox="1"/>
            <p:nvPr/>
          </p:nvSpPr>
          <p:spPr>
            <a:xfrm>
              <a:off x="2623820" y="945634"/>
              <a:ext cx="7376160" cy="338554"/>
            </a:xfrm>
            <a:prstGeom prst="rect">
              <a:avLst/>
            </a:prstGeom>
            <a:noFill/>
          </p:spPr>
          <p:txBody>
            <a:bodyPr wrap="square" anchor="ctr">
              <a:spAutoFit/>
            </a:bodyPr>
            <a:lstStyle/>
            <a:p>
              <a:pPr algn="ctr"/>
              <a:r>
                <a:rPr lang="en-US" sz="1600" b="1" dirty="0">
                  <a:solidFill>
                    <a:schemeClr val="bg2"/>
                  </a:solidFill>
                </a:rPr>
                <a:t>Industrials Led Deal Volume in 2024, with Consumer Emerging in Spotlight</a:t>
              </a:r>
            </a:p>
          </p:txBody>
        </p:sp>
      </p:grpSp>
      <p:sp>
        <p:nvSpPr>
          <p:cNvPr id="36" name="Rectangle 35">
            <a:extLst>
              <a:ext uri="{FF2B5EF4-FFF2-40B4-BE49-F238E27FC236}">
                <a16:creationId xmlns:a16="http://schemas.microsoft.com/office/drawing/2014/main" id="{AD968133-BBEA-4003-8C61-C995FEE211FC}"/>
              </a:ext>
            </a:extLst>
          </p:cNvPr>
          <p:cNvSpPr/>
          <p:nvPr/>
        </p:nvSpPr>
        <p:spPr>
          <a:xfrm>
            <a:off x="8165739" y="1484767"/>
            <a:ext cx="2198872"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spAutoFit/>
          </a:bodyPr>
          <a:lstStyle/>
          <a:p>
            <a:r>
              <a:rPr lang="en-IN" sz="1400" b="1" dirty="0">
                <a:solidFill>
                  <a:schemeClr val="tx1"/>
                </a:solidFill>
              </a:rPr>
              <a:t>2024 IPO Volume (#1,215)</a:t>
            </a:r>
          </a:p>
        </p:txBody>
      </p:sp>
      <p:cxnSp>
        <p:nvCxnSpPr>
          <p:cNvPr id="37" name="Straight Connector 36">
            <a:extLst>
              <a:ext uri="{FF2B5EF4-FFF2-40B4-BE49-F238E27FC236}">
                <a16:creationId xmlns:a16="http://schemas.microsoft.com/office/drawing/2014/main" id="{8B2D3966-3F05-40C0-A8F3-0C82B2C8C1E0}"/>
              </a:ext>
            </a:extLst>
          </p:cNvPr>
          <p:cNvCxnSpPr>
            <a:cxnSpLocks/>
          </p:cNvCxnSpPr>
          <p:nvPr/>
        </p:nvCxnSpPr>
        <p:spPr>
          <a:xfrm>
            <a:off x="1058426" y="1807652"/>
            <a:ext cx="36576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84CFF1CD-EFBD-4F61-AE08-0DABAFF05529}"/>
              </a:ext>
            </a:extLst>
          </p:cNvPr>
          <p:cNvCxnSpPr>
            <a:cxnSpLocks/>
          </p:cNvCxnSpPr>
          <p:nvPr/>
        </p:nvCxnSpPr>
        <p:spPr>
          <a:xfrm>
            <a:off x="8165739" y="1807652"/>
            <a:ext cx="365760"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974983A3-E306-4347-9D98-CA03456BE7FD}"/>
              </a:ext>
            </a:extLst>
          </p:cNvPr>
          <p:cNvGrpSpPr/>
          <p:nvPr/>
        </p:nvGrpSpPr>
        <p:grpSpPr>
          <a:xfrm>
            <a:off x="5221681" y="3486243"/>
            <a:ext cx="896704" cy="422031"/>
            <a:chOff x="5070476" y="3465141"/>
            <a:chExt cx="1193514" cy="464234"/>
          </a:xfrm>
        </p:grpSpPr>
        <p:sp>
          <p:nvSpPr>
            <p:cNvPr id="34" name="Arrow: Notched Right 33">
              <a:extLst>
                <a:ext uri="{FF2B5EF4-FFF2-40B4-BE49-F238E27FC236}">
                  <a16:creationId xmlns:a16="http://schemas.microsoft.com/office/drawing/2014/main" id="{790EA43F-E39C-4A35-911D-0D3B4E7957C2}"/>
                </a:ext>
              </a:extLst>
            </p:cNvPr>
            <p:cNvSpPr/>
            <p:nvPr/>
          </p:nvSpPr>
          <p:spPr>
            <a:xfrm>
              <a:off x="5090760" y="3465141"/>
              <a:ext cx="1173230" cy="464234"/>
            </a:xfrm>
            <a:prstGeom prst="notchedRightArrow">
              <a:avLst/>
            </a:prstGeom>
            <a:solidFill>
              <a:schemeClr val="tx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sp>
          <p:nvSpPr>
            <p:cNvPr id="42" name="Arrow: Notched Right 41">
              <a:extLst>
                <a:ext uri="{FF2B5EF4-FFF2-40B4-BE49-F238E27FC236}">
                  <a16:creationId xmlns:a16="http://schemas.microsoft.com/office/drawing/2014/main" id="{0383D897-521F-46C2-A63B-6251BF854E38}"/>
                </a:ext>
              </a:extLst>
            </p:cNvPr>
            <p:cNvSpPr/>
            <p:nvPr/>
          </p:nvSpPr>
          <p:spPr>
            <a:xfrm>
              <a:off x="5070476" y="3465141"/>
              <a:ext cx="1118104" cy="464234"/>
            </a:xfrm>
            <a:prstGeom prst="notchedRightArrow">
              <a:avLst/>
            </a:prstGeom>
            <a:solidFill>
              <a:schemeClr val="bg2"/>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schemeClr val="tx1"/>
                </a:solidFill>
              </a:endParaRPr>
            </a:p>
          </p:txBody>
        </p:sp>
      </p:grpSp>
      <p:sp>
        <p:nvSpPr>
          <p:cNvPr id="23" name="TextBox 22">
            <a:extLst>
              <a:ext uri="{FF2B5EF4-FFF2-40B4-BE49-F238E27FC236}">
                <a16:creationId xmlns:a16="http://schemas.microsoft.com/office/drawing/2014/main" id="{A4B8BBEF-3338-43E3-8A3F-A47789ED4E12}"/>
              </a:ext>
            </a:extLst>
          </p:cNvPr>
          <p:cNvSpPr txBox="1"/>
          <p:nvPr/>
        </p:nvSpPr>
        <p:spPr>
          <a:xfrm>
            <a:off x="571500" y="6543674"/>
            <a:ext cx="8788400" cy="161925"/>
          </a:xfrm>
          <a:prstGeom prst="rect">
            <a:avLst/>
          </a:prstGeom>
          <a:noFill/>
        </p:spPr>
        <p:txBody>
          <a:bodyPr wrap="square" lIns="45720" rtlCol="0" anchor="ctr">
            <a:noAutofit/>
          </a:bodyPr>
          <a:lstStyle/>
          <a:p>
            <a:pPr algn="l">
              <a:lnSpc>
                <a:spcPct val="90000"/>
              </a:lnSpc>
              <a:spcBef>
                <a:spcPts val="800"/>
              </a:spcBef>
              <a:buClr>
                <a:srgbClr val="E0044E"/>
              </a:buClr>
            </a:pPr>
            <a:r>
              <a:rPr lang="en-US" sz="900" dirty="0">
                <a:latin typeface="Segoe UI" panose="020B0502040204020203" pitchFamily="34" charset="0"/>
                <a:cs typeface="Segoe UI" panose="020B0502040204020203" pitchFamily="34" charset="0"/>
              </a:rPr>
              <a:t>Source: EY, PwC, Press</a:t>
            </a:r>
            <a:endParaRPr lang="en-IN" sz="900" dirty="0">
              <a:latin typeface="Segoe UI" panose="020B0502040204020203" pitchFamily="34" charset="0"/>
              <a:cs typeface="Segoe UI" panose="020B0502040204020203" pitchFamily="34" charset="0"/>
            </a:endParaRPr>
          </a:p>
        </p:txBody>
      </p:sp>
      <p:graphicFrame>
        <p:nvGraphicFramePr>
          <p:cNvPr id="35" name="Chart 34">
            <a:extLst>
              <a:ext uri="{FF2B5EF4-FFF2-40B4-BE49-F238E27FC236}">
                <a16:creationId xmlns:a16="http://schemas.microsoft.com/office/drawing/2014/main" id="{E5AC98D9-0B6A-4F2D-8960-702C4E543372}"/>
              </a:ext>
            </a:extLst>
          </p:cNvPr>
          <p:cNvGraphicFramePr/>
          <p:nvPr>
            <p:extLst>
              <p:ext uri="{D42A27DB-BD31-4B8C-83A1-F6EECF244321}">
                <p14:modId xmlns:p14="http://schemas.microsoft.com/office/powerpoint/2010/main" val="820059993"/>
              </p:ext>
            </p:extLst>
          </p:nvPr>
        </p:nvGraphicFramePr>
        <p:xfrm>
          <a:off x="637717" y="1859217"/>
          <a:ext cx="7376159" cy="209861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9" name="Chart 38">
            <a:extLst>
              <a:ext uri="{FF2B5EF4-FFF2-40B4-BE49-F238E27FC236}">
                <a16:creationId xmlns:a16="http://schemas.microsoft.com/office/drawing/2014/main" id="{A354DBCF-3AE8-4E15-8C47-E3775C16A127}"/>
              </a:ext>
            </a:extLst>
          </p:cNvPr>
          <p:cNvGraphicFramePr/>
          <p:nvPr>
            <p:extLst>
              <p:ext uri="{D42A27DB-BD31-4B8C-83A1-F6EECF244321}">
                <p14:modId xmlns:p14="http://schemas.microsoft.com/office/powerpoint/2010/main" val="2348596950"/>
              </p:ext>
            </p:extLst>
          </p:nvPr>
        </p:nvGraphicFramePr>
        <p:xfrm>
          <a:off x="6391656" y="1874326"/>
          <a:ext cx="4828032" cy="20941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43681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name="Slide8">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147817E-AB33-489B-9DF3-A9955C51574D}"/>
              </a:ext>
            </a:extLst>
          </p:cNvPr>
          <p:cNvSpPr>
            <a:spLocks noGrp="1"/>
          </p:cNvSpPr>
          <p:nvPr>
            <p:ph type="title"/>
          </p:nvPr>
        </p:nvSpPr>
        <p:spPr/>
        <p:txBody>
          <a:bodyPr/>
          <a:lstStyle/>
          <a:p>
            <a:r>
              <a:rPr lang="en-US" dirty="0"/>
              <a:t>Top 10 Largest IPOs 2024 (Global)</a:t>
            </a:r>
          </a:p>
        </p:txBody>
      </p:sp>
      <p:sp>
        <p:nvSpPr>
          <p:cNvPr id="40" name="Slide Number Placeholder 39">
            <a:extLst>
              <a:ext uri="{FF2B5EF4-FFF2-40B4-BE49-F238E27FC236}">
                <a16:creationId xmlns:a16="http://schemas.microsoft.com/office/drawing/2014/main" id="{C7532BC8-4745-4BB2-8C81-6C639A6284C4}"/>
              </a:ext>
            </a:extLst>
          </p:cNvPr>
          <p:cNvSpPr>
            <a:spLocks noGrp="1"/>
          </p:cNvSpPr>
          <p:nvPr>
            <p:ph type="sldNum" sz="quarter" idx="17"/>
          </p:nvPr>
        </p:nvSpPr>
        <p:spPr/>
        <p:txBody>
          <a:bodyPr/>
          <a:lstStyle/>
          <a:p>
            <a:fld id="{2604F1CA-F590-4AD7-82C4-33C5478F726E}" type="slidenum">
              <a:rPr lang="en-GB" smtClean="0"/>
              <a:pPr/>
              <a:t>8</a:t>
            </a:fld>
            <a:endParaRPr lang="en-GB" dirty="0"/>
          </a:p>
        </p:txBody>
      </p:sp>
      <p:sp>
        <p:nvSpPr>
          <p:cNvPr id="11" name="Rectangle: Top Corners Rounded 10">
            <a:extLst>
              <a:ext uri="{FF2B5EF4-FFF2-40B4-BE49-F238E27FC236}">
                <a16:creationId xmlns:a16="http://schemas.microsoft.com/office/drawing/2014/main" id="{17A6A62D-BD31-4E30-9271-54EAD567B9C1}"/>
              </a:ext>
            </a:extLst>
          </p:cNvPr>
          <p:cNvSpPr/>
          <p:nvPr/>
        </p:nvSpPr>
        <p:spPr>
          <a:xfrm>
            <a:off x="571500" y="930016"/>
            <a:ext cx="1728042" cy="484632"/>
          </a:xfrm>
          <a:prstGeom prst="round2Same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2" name="Rectangle: Top Corners Rounded 11">
            <a:extLst>
              <a:ext uri="{FF2B5EF4-FFF2-40B4-BE49-F238E27FC236}">
                <a16:creationId xmlns:a16="http://schemas.microsoft.com/office/drawing/2014/main" id="{9BEDDC9C-62B8-4700-9315-6255E391FA01}"/>
              </a:ext>
            </a:extLst>
          </p:cNvPr>
          <p:cNvSpPr/>
          <p:nvPr/>
        </p:nvSpPr>
        <p:spPr>
          <a:xfrm>
            <a:off x="2367112" y="930016"/>
            <a:ext cx="1728042" cy="484632"/>
          </a:xfrm>
          <a:prstGeom prst="round2Same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Rectangle: Top Corners Rounded 12">
            <a:extLst>
              <a:ext uri="{FF2B5EF4-FFF2-40B4-BE49-F238E27FC236}">
                <a16:creationId xmlns:a16="http://schemas.microsoft.com/office/drawing/2014/main" id="{5D199763-EA4C-4A0B-BB59-DACDF91C289A}"/>
              </a:ext>
            </a:extLst>
          </p:cNvPr>
          <p:cNvSpPr/>
          <p:nvPr/>
        </p:nvSpPr>
        <p:spPr>
          <a:xfrm>
            <a:off x="4162724" y="930016"/>
            <a:ext cx="1728042" cy="484632"/>
          </a:xfrm>
          <a:prstGeom prst="round2Same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Rectangle: Top Corners Rounded 13">
            <a:extLst>
              <a:ext uri="{FF2B5EF4-FFF2-40B4-BE49-F238E27FC236}">
                <a16:creationId xmlns:a16="http://schemas.microsoft.com/office/drawing/2014/main" id="{FD3B82AF-A3EB-4CFE-8B12-5F4527FEC871}"/>
              </a:ext>
            </a:extLst>
          </p:cNvPr>
          <p:cNvSpPr/>
          <p:nvPr/>
        </p:nvSpPr>
        <p:spPr>
          <a:xfrm>
            <a:off x="5958335" y="930016"/>
            <a:ext cx="1728042" cy="484632"/>
          </a:xfrm>
          <a:prstGeom prst="round2Same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Rectangle: Top Corners Rounded 14">
            <a:extLst>
              <a:ext uri="{FF2B5EF4-FFF2-40B4-BE49-F238E27FC236}">
                <a16:creationId xmlns:a16="http://schemas.microsoft.com/office/drawing/2014/main" id="{1A9E2952-15B9-445B-A61E-5A198983CAD1}"/>
              </a:ext>
            </a:extLst>
          </p:cNvPr>
          <p:cNvSpPr/>
          <p:nvPr/>
        </p:nvSpPr>
        <p:spPr>
          <a:xfrm>
            <a:off x="7753947" y="930016"/>
            <a:ext cx="1728042" cy="484632"/>
          </a:xfrm>
          <a:prstGeom prst="round2Same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Rectangle: Top Corners Rounded 15">
            <a:extLst>
              <a:ext uri="{FF2B5EF4-FFF2-40B4-BE49-F238E27FC236}">
                <a16:creationId xmlns:a16="http://schemas.microsoft.com/office/drawing/2014/main" id="{7B3B86F4-D37C-4AC1-8343-C2626DCDC830}"/>
              </a:ext>
            </a:extLst>
          </p:cNvPr>
          <p:cNvSpPr/>
          <p:nvPr/>
        </p:nvSpPr>
        <p:spPr>
          <a:xfrm>
            <a:off x="9549557" y="930016"/>
            <a:ext cx="1728042" cy="484632"/>
          </a:xfrm>
          <a:prstGeom prst="round2SameRect">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17" name="Table 3">
            <a:extLst>
              <a:ext uri="{FF2B5EF4-FFF2-40B4-BE49-F238E27FC236}">
                <a16:creationId xmlns:a16="http://schemas.microsoft.com/office/drawing/2014/main" id="{E6B9EBFC-B662-429B-90C1-F6A640A79436}"/>
              </a:ext>
            </a:extLst>
          </p:cNvPr>
          <p:cNvGraphicFramePr>
            <a:graphicFrameLocks noGrp="1"/>
          </p:cNvGraphicFramePr>
          <p:nvPr>
            <p:extLst>
              <p:ext uri="{D42A27DB-BD31-4B8C-83A1-F6EECF244321}">
                <p14:modId xmlns:p14="http://schemas.microsoft.com/office/powerpoint/2010/main" val="2518577776"/>
              </p:ext>
            </p:extLst>
          </p:nvPr>
        </p:nvGraphicFramePr>
        <p:xfrm>
          <a:off x="571500" y="930016"/>
          <a:ext cx="10721976" cy="5448147"/>
        </p:xfrm>
        <a:graphic>
          <a:graphicData uri="http://schemas.openxmlformats.org/drawingml/2006/table">
            <a:tbl>
              <a:tblPr firstRow="1" bandRow="1">
                <a:tableStyleId>{6E25E649-3F16-4E02-A733-19D2CDBF48F0}</a:tableStyleId>
              </a:tblPr>
              <a:tblGrid>
                <a:gridCol w="1786996">
                  <a:extLst>
                    <a:ext uri="{9D8B030D-6E8A-4147-A177-3AD203B41FA5}">
                      <a16:colId xmlns:a16="http://schemas.microsoft.com/office/drawing/2014/main" val="2294187780"/>
                    </a:ext>
                  </a:extLst>
                </a:gridCol>
                <a:gridCol w="1786996">
                  <a:extLst>
                    <a:ext uri="{9D8B030D-6E8A-4147-A177-3AD203B41FA5}">
                      <a16:colId xmlns:a16="http://schemas.microsoft.com/office/drawing/2014/main" val="3689756678"/>
                    </a:ext>
                  </a:extLst>
                </a:gridCol>
                <a:gridCol w="1786996">
                  <a:extLst>
                    <a:ext uri="{9D8B030D-6E8A-4147-A177-3AD203B41FA5}">
                      <a16:colId xmlns:a16="http://schemas.microsoft.com/office/drawing/2014/main" val="1367776002"/>
                    </a:ext>
                  </a:extLst>
                </a:gridCol>
                <a:gridCol w="1786996">
                  <a:extLst>
                    <a:ext uri="{9D8B030D-6E8A-4147-A177-3AD203B41FA5}">
                      <a16:colId xmlns:a16="http://schemas.microsoft.com/office/drawing/2014/main" val="3265401578"/>
                    </a:ext>
                  </a:extLst>
                </a:gridCol>
                <a:gridCol w="1786996">
                  <a:extLst>
                    <a:ext uri="{9D8B030D-6E8A-4147-A177-3AD203B41FA5}">
                      <a16:colId xmlns:a16="http://schemas.microsoft.com/office/drawing/2014/main" val="4088865505"/>
                    </a:ext>
                  </a:extLst>
                </a:gridCol>
                <a:gridCol w="1786996">
                  <a:extLst>
                    <a:ext uri="{9D8B030D-6E8A-4147-A177-3AD203B41FA5}">
                      <a16:colId xmlns:a16="http://schemas.microsoft.com/office/drawing/2014/main" val="168730566"/>
                    </a:ext>
                  </a:extLst>
                </a:gridCol>
              </a:tblGrid>
              <a:tr h="492220">
                <a:tc>
                  <a:txBody>
                    <a:bodyPr/>
                    <a:lstStyle/>
                    <a:p>
                      <a:pPr algn="ctr"/>
                      <a:r>
                        <a:rPr lang="en-US" sz="1400" dirty="0">
                          <a:solidFill>
                            <a:schemeClr val="bg1"/>
                          </a:solidFill>
                        </a:rPr>
                        <a:t>Offer Date</a:t>
                      </a:r>
                      <a:endParaRPr lang="en-IN" sz="1400" dirty="0">
                        <a:solidFill>
                          <a:schemeClr val="bg1"/>
                        </a:solidFill>
                      </a:endParaRPr>
                    </a:p>
                  </a:txBody>
                  <a:tcPr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algn="ctr"/>
                      <a:r>
                        <a:rPr lang="en-IN" sz="1400" dirty="0">
                          <a:solidFill>
                            <a:schemeClr val="bg1"/>
                          </a:solidFill>
                        </a:rPr>
                        <a:t>Issuer Name</a:t>
                      </a:r>
                    </a:p>
                  </a:txBody>
                  <a:tcPr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algn="ctr"/>
                      <a:r>
                        <a:rPr lang="en-IN" sz="1400" dirty="0">
                          <a:solidFill>
                            <a:schemeClr val="bg1"/>
                          </a:solidFill>
                        </a:rPr>
                        <a:t>Issuer Country</a:t>
                      </a:r>
                    </a:p>
                  </a:txBody>
                  <a:tcPr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algn="ctr"/>
                      <a:r>
                        <a:rPr lang="en-US" sz="1400" dirty="0">
                          <a:solidFill>
                            <a:schemeClr val="bg1"/>
                          </a:solidFill>
                        </a:rPr>
                        <a:t>Sector</a:t>
                      </a:r>
                      <a:endParaRPr lang="en-IN" sz="1400" dirty="0">
                        <a:solidFill>
                          <a:schemeClr val="bg1"/>
                        </a:solidFill>
                      </a:endParaRPr>
                    </a:p>
                  </a:txBody>
                  <a:tcPr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algn="ctr"/>
                      <a:r>
                        <a:rPr lang="en-US" sz="1400" dirty="0">
                          <a:solidFill>
                            <a:schemeClr val="bg1"/>
                          </a:solidFill>
                        </a:rPr>
                        <a:t>Exchange</a:t>
                      </a:r>
                      <a:endParaRPr lang="en-IN" sz="1400" dirty="0">
                        <a:solidFill>
                          <a:schemeClr val="bg1"/>
                        </a:solidFill>
                      </a:endParaRPr>
                    </a:p>
                  </a:txBody>
                  <a:tcPr anchor="ctr">
                    <a:lnL>
                      <a:noFill/>
                    </a:lnL>
                    <a:lnR>
                      <a:noFill/>
                    </a:lnR>
                    <a:lnT w="25400" cmpd="sng">
                      <a:noFill/>
                    </a:lnT>
                    <a:lnB w="25400" cmpd="sng">
                      <a:noFill/>
                    </a:lnB>
                    <a:lnTlToBr w="12700" cmpd="sng">
                      <a:noFill/>
                      <a:prstDash val="solid"/>
                    </a:lnTlToBr>
                    <a:lnBlToTr w="12700" cmpd="sng">
                      <a:noFill/>
                      <a:prstDash val="solid"/>
                    </a:lnBlToTr>
                    <a:noFill/>
                  </a:tcPr>
                </a:tc>
                <a:tc>
                  <a:txBody>
                    <a:bodyPr/>
                    <a:lstStyle/>
                    <a:p>
                      <a:pPr algn="ctr"/>
                      <a:r>
                        <a:rPr lang="en-US" sz="1400" dirty="0">
                          <a:solidFill>
                            <a:schemeClr val="bg1"/>
                          </a:solidFill>
                        </a:rPr>
                        <a:t>Proceeds ($Bn)</a:t>
                      </a:r>
                      <a:endParaRPr lang="en-IN" sz="1400" dirty="0">
                        <a:solidFill>
                          <a:schemeClr val="bg1"/>
                        </a:solidFill>
                      </a:endParaRPr>
                    </a:p>
                  </a:txBody>
                  <a:tcPr anchor="ctr">
                    <a:lnL>
                      <a:noFill/>
                    </a:lnL>
                    <a:lnR>
                      <a:noFill/>
                    </a:lnR>
                    <a:lnT w="25400" cmpd="sng">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29011059"/>
                  </a:ext>
                </a:extLst>
              </a:tr>
              <a:tr h="475488">
                <a:tc>
                  <a:txBody>
                    <a:bodyPr/>
                    <a:lstStyle/>
                    <a:p>
                      <a:pPr marL="0" algn="ctr" defTabSz="914400" rtl="0" eaLnBrk="1" fontAlgn="ctr" latinLnBrk="0" hangingPunct="1"/>
                      <a:r>
                        <a:rPr lang="en-IN" sz="1200" kern="1200" dirty="0">
                          <a:solidFill>
                            <a:schemeClr val="dk1"/>
                          </a:solidFill>
                          <a:latin typeface="+mn-lt"/>
                          <a:ea typeface="+mn-ea"/>
                          <a:cs typeface="+mn-cs"/>
                        </a:rPr>
                        <a:t>24-Jul-24</a:t>
                      </a:r>
                    </a:p>
                  </a:txBody>
                  <a:tcPr marL="9525" marR="9525" marT="57150" marB="57150" anchor="ctr">
                    <a:lnT w="25400" cmpd="sng">
                      <a:noFill/>
                    </a:lnT>
                  </a:tcPr>
                </a:tc>
                <a:tc>
                  <a:txBody>
                    <a:bodyPr/>
                    <a:lstStyle/>
                    <a:p>
                      <a:pPr marL="0" algn="ctr" defTabSz="914400" rtl="0" eaLnBrk="1" fontAlgn="ctr" latinLnBrk="0" hangingPunct="1"/>
                      <a:r>
                        <a:rPr lang="en-IN" sz="1200" kern="1200" dirty="0">
                          <a:solidFill>
                            <a:schemeClr val="dk1"/>
                          </a:solidFill>
                          <a:latin typeface="+mn-lt"/>
                          <a:ea typeface="+mn-ea"/>
                          <a:cs typeface="+mn-cs"/>
                        </a:rPr>
                        <a:t>Lineage</a:t>
                      </a:r>
                    </a:p>
                  </a:txBody>
                  <a:tcPr marL="9525" marR="9525" marT="57150" marB="57150" anchor="ctr">
                    <a:lnT w="25400" cmpd="sng">
                      <a:noFill/>
                    </a:lnT>
                  </a:tcPr>
                </a:tc>
                <a:tc>
                  <a:txBody>
                    <a:bodyPr/>
                    <a:lstStyle/>
                    <a:p>
                      <a:pPr algn="ctr"/>
                      <a:r>
                        <a:rPr lang="en-IN" sz="1200" dirty="0"/>
                        <a:t>US</a:t>
                      </a:r>
                    </a:p>
                  </a:txBody>
                  <a:tcPr anchor="ctr">
                    <a:lnT w="25400" cmpd="sng">
                      <a:noFill/>
                    </a:lnT>
                  </a:tcPr>
                </a:tc>
                <a:tc>
                  <a:txBody>
                    <a:bodyPr/>
                    <a:lstStyle/>
                    <a:p>
                      <a:pPr algn="ctr"/>
                      <a:r>
                        <a:rPr lang="en-US" sz="1200" b="0" dirty="0"/>
                        <a:t>Industrials</a:t>
                      </a:r>
                      <a:endParaRPr lang="en-IN" sz="1200" b="0" dirty="0"/>
                    </a:p>
                  </a:txBody>
                  <a:tcPr anchor="ctr">
                    <a:lnT w="25400" cmpd="sng">
                      <a:noFill/>
                    </a:lnT>
                  </a:tcPr>
                </a:tc>
                <a:tc>
                  <a:txBody>
                    <a:bodyPr/>
                    <a:lstStyle/>
                    <a:p>
                      <a:pPr algn="ctr"/>
                      <a:r>
                        <a:rPr lang="en-IN" sz="1200" b="0" dirty="0"/>
                        <a:t>US (NASDAQ)</a:t>
                      </a:r>
                    </a:p>
                  </a:txBody>
                  <a:tcPr anchor="ctr">
                    <a:lnT w="25400" cmpd="sng">
                      <a:noFill/>
                    </a:lnT>
                  </a:tcPr>
                </a:tc>
                <a:tc>
                  <a:txBody>
                    <a:bodyPr/>
                    <a:lstStyle/>
                    <a:p>
                      <a:pPr marL="0" algn="ctr" defTabSz="914400" rtl="0" eaLnBrk="1" fontAlgn="ctr" latinLnBrk="0" hangingPunct="1"/>
                      <a:r>
                        <a:rPr lang="en-IN" sz="1200" kern="1200" dirty="0">
                          <a:solidFill>
                            <a:schemeClr val="dk1"/>
                          </a:solidFill>
                          <a:latin typeface="+mn-lt"/>
                          <a:ea typeface="+mn-ea"/>
                          <a:cs typeface="+mn-cs"/>
                        </a:rPr>
                        <a:t>5.1</a:t>
                      </a:r>
                    </a:p>
                  </a:txBody>
                  <a:tcPr marL="9525" marR="9525" marT="9525" marB="0" anchor="ctr">
                    <a:lnT w="25400" cmpd="sng">
                      <a:noFill/>
                    </a:lnT>
                  </a:tcPr>
                </a:tc>
                <a:extLst>
                  <a:ext uri="{0D108BD9-81ED-4DB2-BD59-A6C34878D82A}">
                    <a16:rowId xmlns:a16="http://schemas.microsoft.com/office/drawing/2014/main" val="4174787570"/>
                  </a:ext>
                </a:extLst>
              </a:tr>
              <a:tr h="492220">
                <a:tc>
                  <a:txBody>
                    <a:bodyPr/>
                    <a:lstStyle/>
                    <a:p>
                      <a:pPr marL="0" algn="ctr" defTabSz="914400" rtl="0" eaLnBrk="1" fontAlgn="ctr" latinLnBrk="0" hangingPunct="1"/>
                      <a:r>
                        <a:rPr lang="en-IN" sz="1200" kern="1200" dirty="0">
                          <a:solidFill>
                            <a:schemeClr val="dk1"/>
                          </a:solidFill>
                          <a:latin typeface="+mn-lt"/>
                          <a:ea typeface="+mn-ea"/>
                          <a:cs typeface="+mn-cs"/>
                        </a:rPr>
                        <a:t>17-Oct-24</a:t>
                      </a:r>
                    </a:p>
                  </a:txBody>
                  <a:tcPr marL="9525" marR="9525" marT="57150" marB="57150" anchor="ctr"/>
                </a:tc>
                <a:tc>
                  <a:txBody>
                    <a:bodyPr/>
                    <a:lstStyle/>
                    <a:p>
                      <a:pPr marL="0" algn="ctr" defTabSz="914400" rtl="0" eaLnBrk="1" fontAlgn="ctr" latinLnBrk="0" hangingPunct="1"/>
                      <a:r>
                        <a:rPr lang="en-IN" sz="1200" kern="1200" dirty="0">
                          <a:solidFill>
                            <a:schemeClr val="dk1"/>
                          </a:solidFill>
                          <a:latin typeface="+mn-lt"/>
                          <a:ea typeface="+mn-ea"/>
                          <a:cs typeface="+mn-cs"/>
                        </a:rPr>
                        <a:t>Hyundai Motor India</a:t>
                      </a:r>
                    </a:p>
                  </a:txBody>
                  <a:tcPr marL="9525" marR="9525" marT="57150" marB="57150" anchor="ctr"/>
                </a:tc>
                <a:tc>
                  <a:txBody>
                    <a:bodyPr/>
                    <a:lstStyle/>
                    <a:p>
                      <a:pPr algn="ctr"/>
                      <a:r>
                        <a:rPr lang="en-US" sz="1200" dirty="0"/>
                        <a:t>I</a:t>
                      </a:r>
                      <a:r>
                        <a:rPr lang="en-IN" sz="1200" dirty="0"/>
                        <a:t>ndia</a:t>
                      </a:r>
                    </a:p>
                  </a:txBody>
                  <a:tcPr anchor="ctr"/>
                </a:tc>
                <a:tc>
                  <a:txBody>
                    <a:bodyPr/>
                    <a:lstStyle/>
                    <a:p>
                      <a:pPr algn="ctr"/>
                      <a:r>
                        <a:rPr lang="en-US" sz="1200" b="0" dirty="0"/>
                        <a:t>Consumer</a:t>
                      </a:r>
                      <a:endParaRPr lang="en-IN" sz="1200" b="0" dirty="0"/>
                    </a:p>
                  </a:txBody>
                  <a:tcPr anchor="ctr"/>
                </a:tc>
                <a:tc>
                  <a:txBody>
                    <a:bodyPr/>
                    <a:lstStyle/>
                    <a:p>
                      <a:pPr algn="ctr"/>
                      <a:r>
                        <a:rPr lang="en-IN" sz="1200" b="0" dirty="0"/>
                        <a:t>India (BSE)</a:t>
                      </a:r>
                    </a:p>
                  </a:txBody>
                  <a:tcPr anchor="ctr"/>
                </a:tc>
                <a:tc>
                  <a:txBody>
                    <a:bodyPr/>
                    <a:lstStyle/>
                    <a:p>
                      <a:pPr marL="0" algn="ctr" defTabSz="914400" rtl="0" eaLnBrk="1" fontAlgn="ctr" latinLnBrk="0" hangingPunct="1"/>
                      <a:r>
                        <a:rPr lang="en-IN" sz="1200" kern="1200" dirty="0">
                          <a:solidFill>
                            <a:schemeClr val="dk1"/>
                          </a:solidFill>
                          <a:latin typeface="+mn-lt"/>
                          <a:ea typeface="+mn-ea"/>
                          <a:cs typeface="+mn-cs"/>
                        </a:rPr>
                        <a:t>3.3</a:t>
                      </a:r>
                    </a:p>
                  </a:txBody>
                  <a:tcPr marL="9525" marR="9525" marT="9525" marB="0" anchor="ctr"/>
                </a:tc>
                <a:extLst>
                  <a:ext uri="{0D108BD9-81ED-4DB2-BD59-A6C34878D82A}">
                    <a16:rowId xmlns:a16="http://schemas.microsoft.com/office/drawing/2014/main" val="3371885637"/>
                  </a:ext>
                </a:extLst>
              </a:tr>
              <a:tr h="492220">
                <a:tc>
                  <a:txBody>
                    <a:bodyPr/>
                    <a:lstStyle/>
                    <a:p>
                      <a:pPr marL="0" algn="ctr" defTabSz="914400" rtl="0" eaLnBrk="1" fontAlgn="ctr" latinLnBrk="0" hangingPunct="1"/>
                      <a:r>
                        <a:rPr lang="en-IN" sz="1200" kern="1200" dirty="0">
                          <a:solidFill>
                            <a:schemeClr val="dk1"/>
                          </a:solidFill>
                          <a:latin typeface="+mn-lt"/>
                          <a:ea typeface="+mn-ea"/>
                          <a:cs typeface="+mn-cs"/>
                        </a:rPr>
                        <a:t>30-Apr-24</a:t>
                      </a:r>
                    </a:p>
                  </a:txBody>
                  <a:tcPr marL="9525" marR="9525" marT="57150" marB="57150" anchor="ctr"/>
                </a:tc>
                <a:tc>
                  <a:txBody>
                    <a:bodyPr/>
                    <a:lstStyle/>
                    <a:p>
                      <a:pPr marL="0" algn="ctr" defTabSz="914400" rtl="0" eaLnBrk="1" fontAlgn="ctr" latinLnBrk="0" hangingPunct="1"/>
                      <a:r>
                        <a:rPr lang="en-IN" sz="1200" kern="1200" dirty="0">
                          <a:solidFill>
                            <a:schemeClr val="dk1"/>
                          </a:solidFill>
                          <a:latin typeface="+mn-lt"/>
                          <a:ea typeface="+mn-ea"/>
                          <a:cs typeface="+mn-cs"/>
                        </a:rPr>
                        <a:t>Puig Brands</a:t>
                      </a:r>
                    </a:p>
                  </a:txBody>
                  <a:tcPr marL="9525" marR="9525" marT="57150" marB="57150" anchor="ctr"/>
                </a:tc>
                <a:tc>
                  <a:txBody>
                    <a:bodyPr/>
                    <a:lstStyle/>
                    <a:p>
                      <a:pPr algn="ctr"/>
                      <a:r>
                        <a:rPr lang="en-US" sz="1200" dirty="0"/>
                        <a:t>S</a:t>
                      </a:r>
                      <a:r>
                        <a:rPr lang="en-IN" sz="1200" dirty="0"/>
                        <a:t>pain</a:t>
                      </a:r>
                    </a:p>
                  </a:txBody>
                  <a:tcPr anchor="ctr"/>
                </a:tc>
                <a:tc>
                  <a:txBody>
                    <a:bodyPr/>
                    <a:lstStyle/>
                    <a:p>
                      <a:pPr algn="ctr"/>
                      <a:r>
                        <a:rPr lang="en-US" sz="1200" b="0" dirty="0"/>
                        <a:t>Consumer</a:t>
                      </a:r>
                      <a:endParaRPr lang="en-IN" sz="1200" b="0" dirty="0"/>
                    </a:p>
                  </a:txBody>
                  <a:tcPr anchor="ctr"/>
                </a:tc>
                <a:tc>
                  <a:txBody>
                    <a:bodyPr/>
                    <a:lstStyle/>
                    <a:p>
                      <a:pPr algn="ctr"/>
                      <a:r>
                        <a:rPr lang="en-IN" sz="1200" b="0" dirty="0"/>
                        <a:t>Spain (Madrid)</a:t>
                      </a:r>
                    </a:p>
                  </a:txBody>
                  <a:tcPr anchor="ctr"/>
                </a:tc>
                <a:tc>
                  <a:txBody>
                    <a:bodyPr/>
                    <a:lstStyle/>
                    <a:p>
                      <a:pPr marL="0" algn="ctr" defTabSz="914400" rtl="0" eaLnBrk="1" fontAlgn="ctr" latinLnBrk="0" hangingPunct="1"/>
                      <a:r>
                        <a:rPr lang="en-IN" sz="1200" kern="1200" dirty="0">
                          <a:solidFill>
                            <a:schemeClr val="dk1"/>
                          </a:solidFill>
                          <a:latin typeface="+mn-lt"/>
                          <a:ea typeface="+mn-ea"/>
                          <a:cs typeface="+mn-cs"/>
                        </a:rPr>
                        <a:t>2.9</a:t>
                      </a:r>
                    </a:p>
                  </a:txBody>
                  <a:tcPr marL="9525" marR="9525" marT="9525" marB="0" anchor="ctr"/>
                </a:tc>
                <a:extLst>
                  <a:ext uri="{0D108BD9-81ED-4DB2-BD59-A6C34878D82A}">
                    <a16:rowId xmlns:a16="http://schemas.microsoft.com/office/drawing/2014/main" val="3396435541"/>
                  </a:ext>
                </a:extLst>
              </a:tr>
              <a:tr h="624783">
                <a:tc>
                  <a:txBody>
                    <a:bodyPr/>
                    <a:lstStyle/>
                    <a:p>
                      <a:pPr marL="0" algn="ctr" defTabSz="914400" rtl="0" eaLnBrk="1" fontAlgn="ctr" latinLnBrk="0" hangingPunct="1"/>
                      <a:r>
                        <a:rPr lang="en-IN" sz="1200" kern="1200" dirty="0">
                          <a:solidFill>
                            <a:schemeClr val="dk1"/>
                          </a:solidFill>
                          <a:latin typeface="+mn-lt"/>
                          <a:ea typeface="+mn-ea"/>
                          <a:cs typeface="+mn-cs"/>
                        </a:rPr>
                        <a:t>21-Mar-24</a:t>
                      </a:r>
                    </a:p>
                  </a:txBody>
                  <a:tcPr marL="9525" marR="9525" marT="57150" marB="57150" anchor="ctr"/>
                </a:tc>
                <a:tc>
                  <a:txBody>
                    <a:bodyPr/>
                    <a:lstStyle/>
                    <a:p>
                      <a:pPr marL="0" algn="ctr" defTabSz="914400" rtl="0" eaLnBrk="1" fontAlgn="ctr" latinLnBrk="0" hangingPunct="1"/>
                      <a:r>
                        <a:rPr lang="en-IN" sz="1200" kern="1200" dirty="0">
                          <a:solidFill>
                            <a:schemeClr val="dk1"/>
                          </a:solidFill>
                          <a:latin typeface="+mn-lt"/>
                          <a:ea typeface="+mn-ea"/>
                          <a:cs typeface="+mn-cs"/>
                        </a:rPr>
                        <a:t>Galderma Group</a:t>
                      </a:r>
                    </a:p>
                  </a:txBody>
                  <a:tcPr marL="9525" marR="9525" marT="57150" marB="57150" anchor="ctr"/>
                </a:tc>
                <a:tc>
                  <a:txBody>
                    <a:bodyPr/>
                    <a:lstStyle/>
                    <a:p>
                      <a:pPr algn="ctr"/>
                      <a:r>
                        <a:rPr lang="en-US" sz="1200" dirty="0"/>
                        <a:t>Switzerland</a:t>
                      </a:r>
                      <a:endParaRPr lang="en-IN" sz="1200" dirty="0"/>
                    </a:p>
                  </a:txBody>
                  <a:tcPr anchor="ctr"/>
                </a:tc>
                <a:tc>
                  <a:txBody>
                    <a:bodyPr/>
                    <a:lstStyle/>
                    <a:p>
                      <a:pPr algn="ctr"/>
                      <a:r>
                        <a:rPr lang="en-US" sz="1200" b="0" dirty="0"/>
                        <a:t>Health and Life Sciences</a:t>
                      </a:r>
                      <a:endParaRPr lang="en-IN" sz="1200" b="0" dirty="0"/>
                    </a:p>
                  </a:txBody>
                  <a:tcPr anchor="ctr"/>
                </a:tc>
                <a:tc>
                  <a:txBody>
                    <a:bodyPr/>
                    <a:lstStyle/>
                    <a:p>
                      <a:pPr algn="ctr"/>
                      <a:r>
                        <a:rPr lang="en-IN" sz="1200" b="0" dirty="0"/>
                        <a:t>Switzerland (SIX)</a:t>
                      </a:r>
                    </a:p>
                  </a:txBody>
                  <a:tcPr anchor="ctr"/>
                </a:tc>
                <a:tc>
                  <a:txBody>
                    <a:bodyPr/>
                    <a:lstStyle/>
                    <a:p>
                      <a:pPr marL="0" algn="ctr" defTabSz="914400" rtl="0" eaLnBrk="1" fontAlgn="ctr" latinLnBrk="0" hangingPunct="1"/>
                      <a:r>
                        <a:rPr lang="en-IN" sz="1200" kern="1200" dirty="0">
                          <a:solidFill>
                            <a:schemeClr val="dk1"/>
                          </a:solidFill>
                          <a:latin typeface="+mn-lt"/>
                          <a:ea typeface="+mn-ea"/>
                          <a:cs typeface="+mn-cs"/>
                        </a:rPr>
                        <a:t>2.6</a:t>
                      </a:r>
                    </a:p>
                  </a:txBody>
                  <a:tcPr marL="9525" marR="9525" marT="9525" marB="0" anchor="ctr"/>
                </a:tc>
                <a:extLst>
                  <a:ext uri="{0D108BD9-81ED-4DB2-BD59-A6C34878D82A}">
                    <a16:rowId xmlns:a16="http://schemas.microsoft.com/office/drawing/2014/main" val="2658253022"/>
                  </a:ext>
                </a:extLst>
              </a:tr>
              <a:tr h="475488">
                <a:tc>
                  <a:txBody>
                    <a:bodyPr/>
                    <a:lstStyle/>
                    <a:p>
                      <a:pPr marL="0" algn="ctr" defTabSz="914400" rtl="0" eaLnBrk="1" fontAlgn="ctr" latinLnBrk="0" hangingPunct="1"/>
                      <a:r>
                        <a:rPr lang="en-IN" sz="1200" kern="1200" dirty="0">
                          <a:solidFill>
                            <a:schemeClr val="dk1"/>
                          </a:solidFill>
                          <a:latin typeface="+mn-lt"/>
                          <a:ea typeface="+mn-ea"/>
                          <a:cs typeface="+mn-cs"/>
                        </a:rPr>
                        <a:t>26-Apr-24</a:t>
                      </a:r>
                    </a:p>
                  </a:txBody>
                  <a:tcPr marL="9525" marR="9525" marT="57150" marB="57150" anchor="ctr"/>
                </a:tc>
                <a:tc>
                  <a:txBody>
                    <a:bodyPr/>
                    <a:lstStyle/>
                    <a:p>
                      <a:pPr marL="0" algn="ctr" defTabSz="914400" rtl="0" eaLnBrk="1" fontAlgn="ctr" latinLnBrk="0" hangingPunct="1"/>
                      <a:r>
                        <a:rPr lang="en-IN" sz="1200" kern="1200" dirty="0">
                          <a:solidFill>
                            <a:schemeClr val="dk1"/>
                          </a:solidFill>
                          <a:latin typeface="+mn-lt"/>
                          <a:ea typeface="+mn-ea"/>
                          <a:cs typeface="+mn-cs"/>
                        </a:rPr>
                        <a:t>CVC Capital Partners</a:t>
                      </a:r>
                    </a:p>
                  </a:txBody>
                  <a:tcPr marL="9525" marR="9525" marT="57150" marB="57150" anchor="ctr"/>
                </a:tc>
                <a:tc>
                  <a:txBody>
                    <a:bodyPr/>
                    <a:lstStyle/>
                    <a:p>
                      <a:pPr algn="ctr"/>
                      <a:r>
                        <a:rPr lang="en-US" sz="1200" dirty="0"/>
                        <a:t>Jersey</a:t>
                      </a:r>
                      <a:endParaRPr lang="en-IN" sz="1200" dirty="0"/>
                    </a:p>
                  </a:txBody>
                  <a:tcPr anchor="ctr"/>
                </a:tc>
                <a:tc>
                  <a:txBody>
                    <a:bodyPr/>
                    <a:lstStyle/>
                    <a:p>
                      <a:pPr algn="ctr"/>
                      <a:r>
                        <a:rPr lang="en-US" sz="1200" b="0" dirty="0"/>
                        <a:t>Financials</a:t>
                      </a:r>
                      <a:endParaRPr lang="en-IN" sz="1200" b="0" dirty="0"/>
                    </a:p>
                  </a:txBody>
                  <a:tcPr anchor="ctr"/>
                </a:tc>
                <a:tc>
                  <a:txBody>
                    <a:bodyPr/>
                    <a:lstStyle/>
                    <a:p>
                      <a:pPr algn="ctr"/>
                      <a:r>
                        <a:rPr lang="en-IN" sz="1200" b="0" dirty="0"/>
                        <a:t>Amsterdam (Euronext)</a:t>
                      </a:r>
                    </a:p>
                  </a:txBody>
                  <a:tcPr anchor="ctr"/>
                </a:tc>
                <a:tc>
                  <a:txBody>
                    <a:bodyPr/>
                    <a:lstStyle/>
                    <a:p>
                      <a:pPr marL="0" algn="ctr" defTabSz="914400" rtl="0" eaLnBrk="1" fontAlgn="ctr" latinLnBrk="0" hangingPunct="1"/>
                      <a:r>
                        <a:rPr lang="en-IN" sz="1200" kern="1200" dirty="0">
                          <a:solidFill>
                            <a:schemeClr val="dk1"/>
                          </a:solidFill>
                          <a:latin typeface="+mn-lt"/>
                          <a:ea typeface="+mn-ea"/>
                          <a:cs typeface="+mn-cs"/>
                        </a:rPr>
                        <a:t>2.5</a:t>
                      </a:r>
                    </a:p>
                  </a:txBody>
                  <a:tcPr marL="9525" marR="9525" marT="9525" marB="0" anchor="ctr"/>
                </a:tc>
                <a:extLst>
                  <a:ext uri="{0D108BD9-81ED-4DB2-BD59-A6C34878D82A}">
                    <a16:rowId xmlns:a16="http://schemas.microsoft.com/office/drawing/2014/main" val="2051869466"/>
                  </a:ext>
                </a:extLst>
              </a:tr>
              <a:tr h="475488">
                <a:tc>
                  <a:txBody>
                    <a:bodyPr/>
                    <a:lstStyle/>
                    <a:p>
                      <a:pPr marL="0" algn="ctr" defTabSz="914400" rtl="0" eaLnBrk="1" fontAlgn="ctr" latinLnBrk="0" hangingPunct="1"/>
                      <a:r>
                        <a:rPr lang="en-IN" sz="1200" kern="1200" dirty="0">
                          <a:solidFill>
                            <a:schemeClr val="dk1"/>
                          </a:solidFill>
                          <a:latin typeface="+mn-lt"/>
                          <a:ea typeface="+mn-ea"/>
                          <a:cs typeface="+mn-cs"/>
                        </a:rPr>
                        <a:t>15-Oct-24</a:t>
                      </a:r>
                    </a:p>
                  </a:txBody>
                  <a:tcPr marL="9525" marR="9525" marT="57150" marB="57150" anchor="ctr"/>
                </a:tc>
                <a:tc>
                  <a:txBody>
                    <a:bodyPr/>
                    <a:lstStyle/>
                    <a:p>
                      <a:pPr marL="0" algn="ctr" defTabSz="914400" rtl="0" eaLnBrk="1" fontAlgn="ctr" latinLnBrk="0" hangingPunct="1"/>
                      <a:r>
                        <a:rPr lang="en-IN" sz="1200" kern="1200" dirty="0">
                          <a:solidFill>
                            <a:schemeClr val="dk1"/>
                          </a:solidFill>
                          <a:latin typeface="+mn-lt"/>
                          <a:ea typeface="+mn-ea"/>
                          <a:cs typeface="+mn-cs"/>
                        </a:rPr>
                        <a:t>Tokyo Metro</a:t>
                      </a:r>
                    </a:p>
                  </a:txBody>
                  <a:tcPr marL="9525" marR="9525" marT="57150" marB="57150" anchor="ctr"/>
                </a:tc>
                <a:tc>
                  <a:txBody>
                    <a:bodyPr/>
                    <a:lstStyle/>
                    <a:p>
                      <a:pPr algn="ctr"/>
                      <a:r>
                        <a:rPr lang="en-US" sz="1200" dirty="0"/>
                        <a:t>Japan</a:t>
                      </a:r>
                      <a:endParaRPr lang="en-IN" sz="1200" dirty="0"/>
                    </a:p>
                  </a:txBody>
                  <a:tcPr anchor="ctr"/>
                </a:tc>
                <a:tc>
                  <a:txBody>
                    <a:bodyPr/>
                    <a:lstStyle/>
                    <a:p>
                      <a:pPr algn="ctr"/>
                      <a:r>
                        <a:rPr lang="en-US" sz="1200" b="0" dirty="0"/>
                        <a:t>Industrials</a:t>
                      </a:r>
                      <a:endParaRPr lang="en-IN" sz="1200" b="0" dirty="0"/>
                    </a:p>
                  </a:txBody>
                  <a:tcPr anchor="ctr"/>
                </a:tc>
                <a:tc>
                  <a:txBody>
                    <a:bodyPr/>
                    <a:lstStyle/>
                    <a:p>
                      <a:pPr algn="ctr"/>
                      <a:r>
                        <a:rPr lang="en-IN" sz="1200" b="0" dirty="0"/>
                        <a:t>Tokyo (TSE-Prime)</a:t>
                      </a:r>
                    </a:p>
                  </a:txBody>
                  <a:tcPr anchor="ctr"/>
                </a:tc>
                <a:tc>
                  <a:txBody>
                    <a:bodyPr/>
                    <a:lstStyle/>
                    <a:p>
                      <a:pPr marL="0" algn="ctr" defTabSz="914400" rtl="0" eaLnBrk="1" fontAlgn="ctr" latinLnBrk="0" hangingPunct="1"/>
                      <a:r>
                        <a:rPr lang="en-IN" sz="1200" kern="1200" dirty="0">
                          <a:solidFill>
                            <a:schemeClr val="dk1"/>
                          </a:solidFill>
                          <a:latin typeface="+mn-lt"/>
                          <a:ea typeface="+mn-ea"/>
                          <a:cs typeface="+mn-cs"/>
                        </a:rPr>
                        <a:t>2.3</a:t>
                      </a:r>
                    </a:p>
                  </a:txBody>
                  <a:tcPr marL="9525" marR="9525" marT="9525" marB="0" anchor="ctr"/>
                </a:tc>
                <a:extLst>
                  <a:ext uri="{0D108BD9-81ED-4DB2-BD59-A6C34878D82A}">
                    <a16:rowId xmlns:a16="http://schemas.microsoft.com/office/drawing/2014/main" val="2170681454"/>
                  </a:ext>
                </a:extLst>
              </a:tr>
              <a:tr h="475488">
                <a:tc>
                  <a:txBody>
                    <a:bodyPr/>
                    <a:lstStyle/>
                    <a:p>
                      <a:pPr marL="0" algn="ctr" defTabSz="914400" rtl="0" eaLnBrk="1" fontAlgn="ctr" latinLnBrk="0" hangingPunct="1"/>
                      <a:r>
                        <a:rPr lang="en-IN" sz="1200" kern="1200" dirty="0">
                          <a:solidFill>
                            <a:schemeClr val="dk1"/>
                          </a:solidFill>
                          <a:latin typeface="+mn-lt"/>
                          <a:ea typeface="+mn-ea"/>
                          <a:cs typeface="+mn-cs"/>
                        </a:rPr>
                        <a:t>29-Nov-24</a:t>
                      </a:r>
                    </a:p>
                  </a:txBody>
                  <a:tcPr marL="9525" marR="9525" marT="57150" marB="57150" anchor="ctr"/>
                </a:tc>
                <a:tc>
                  <a:txBody>
                    <a:bodyPr/>
                    <a:lstStyle/>
                    <a:p>
                      <a:pPr marL="0" algn="ctr" defTabSz="914400" rtl="0" eaLnBrk="1" fontAlgn="ctr" latinLnBrk="0" hangingPunct="1"/>
                      <a:r>
                        <a:rPr lang="en-IN" sz="1200" kern="1200" dirty="0">
                          <a:solidFill>
                            <a:schemeClr val="dk1"/>
                          </a:solidFill>
                          <a:latin typeface="+mn-lt"/>
                          <a:ea typeface="+mn-ea"/>
                          <a:cs typeface="+mn-cs"/>
                        </a:rPr>
                        <a:t>Talabat Holding</a:t>
                      </a:r>
                    </a:p>
                  </a:txBody>
                  <a:tcPr marL="9525" marR="9525" marT="57150" marB="57150" anchor="ctr"/>
                </a:tc>
                <a:tc>
                  <a:txBody>
                    <a:bodyPr/>
                    <a:lstStyle/>
                    <a:p>
                      <a:pPr algn="ctr"/>
                      <a:r>
                        <a:rPr lang="en-US" sz="1200" dirty="0"/>
                        <a:t>The UAE</a:t>
                      </a:r>
                      <a:endParaRPr lang="en-IN" sz="1200" dirty="0"/>
                    </a:p>
                  </a:txBody>
                  <a:tcPr anchor="ctr"/>
                </a:tc>
                <a:tc>
                  <a:txBody>
                    <a:bodyPr/>
                    <a:lstStyle/>
                    <a:p>
                      <a:pPr algn="ctr"/>
                      <a:r>
                        <a:rPr lang="en-US" sz="1200" b="0" dirty="0"/>
                        <a:t>Retail</a:t>
                      </a:r>
                      <a:endParaRPr lang="en-IN" sz="1200" b="0" dirty="0"/>
                    </a:p>
                  </a:txBody>
                  <a:tcPr anchor="ctr"/>
                </a:tc>
                <a:tc>
                  <a:txBody>
                    <a:bodyPr/>
                    <a:lstStyle/>
                    <a:p>
                      <a:pPr algn="ctr"/>
                      <a:r>
                        <a:rPr lang="en-IN" sz="1200" b="0" dirty="0"/>
                        <a:t>Dubai (DFM)</a:t>
                      </a:r>
                    </a:p>
                  </a:txBody>
                  <a:tcPr anchor="ctr"/>
                </a:tc>
                <a:tc>
                  <a:txBody>
                    <a:bodyPr/>
                    <a:lstStyle/>
                    <a:p>
                      <a:pPr marL="0" algn="ctr" defTabSz="914400" rtl="0" eaLnBrk="1" fontAlgn="ctr" latinLnBrk="0" hangingPunct="1"/>
                      <a:r>
                        <a:rPr lang="en-IN" sz="1200" kern="1200" dirty="0">
                          <a:solidFill>
                            <a:schemeClr val="dk1"/>
                          </a:solidFill>
                          <a:latin typeface="+mn-lt"/>
                          <a:ea typeface="+mn-ea"/>
                          <a:cs typeface="+mn-cs"/>
                        </a:rPr>
                        <a:t>2.0</a:t>
                      </a:r>
                    </a:p>
                  </a:txBody>
                  <a:tcPr marL="9525" marR="9525" marT="9525" marB="0" anchor="ctr"/>
                </a:tc>
                <a:extLst>
                  <a:ext uri="{0D108BD9-81ED-4DB2-BD59-A6C34878D82A}">
                    <a16:rowId xmlns:a16="http://schemas.microsoft.com/office/drawing/2014/main" val="2326422790"/>
                  </a:ext>
                </a:extLst>
              </a:tr>
              <a:tr h="475488">
                <a:tc>
                  <a:txBody>
                    <a:bodyPr/>
                    <a:lstStyle/>
                    <a:p>
                      <a:pPr marL="0" algn="ctr" defTabSz="914400" rtl="0" eaLnBrk="1" fontAlgn="ctr" latinLnBrk="0" hangingPunct="1"/>
                      <a:r>
                        <a:rPr lang="en-IN" sz="1200" kern="1200" dirty="0">
                          <a:solidFill>
                            <a:schemeClr val="dk1"/>
                          </a:solidFill>
                          <a:latin typeface="+mn-lt"/>
                          <a:ea typeface="+mn-ea"/>
                          <a:cs typeface="+mn-cs"/>
                        </a:rPr>
                        <a:t>17-Oct-24</a:t>
                      </a:r>
                    </a:p>
                  </a:txBody>
                  <a:tcPr marL="9525" marR="9525" marT="57150" marB="57150" anchor="ctr"/>
                </a:tc>
                <a:tc>
                  <a:txBody>
                    <a:bodyPr/>
                    <a:lstStyle/>
                    <a:p>
                      <a:pPr marL="0" algn="ctr" defTabSz="914400" rtl="0" eaLnBrk="1" fontAlgn="ctr" latinLnBrk="0" hangingPunct="1"/>
                      <a:r>
                        <a:rPr lang="en-IN" sz="1200" kern="1200" dirty="0">
                          <a:solidFill>
                            <a:schemeClr val="dk1"/>
                          </a:solidFill>
                          <a:latin typeface="+mn-lt"/>
                          <a:ea typeface="+mn-ea"/>
                          <a:cs typeface="+mn-cs"/>
                        </a:rPr>
                        <a:t>OQEP</a:t>
                      </a:r>
                    </a:p>
                  </a:txBody>
                  <a:tcPr marL="9525" marR="9525" marT="57150" marB="57150" anchor="ctr"/>
                </a:tc>
                <a:tc>
                  <a:txBody>
                    <a:bodyPr/>
                    <a:lstStyle/>
                    <a:p>
                      <a:pPr algn="ctr"/>
                      <a:r>
                        <a:rPr lang="en-US" sz="1200" dirty="0"/>
                        <a:t>Oman</a:t>
                      </a:r>
                      <a:endParaRPr lang="en-IN" sz="1200" dirty="0"/>
                    </a:p>
                  </a:txBody>
                  <a:tcPr anchor="ctr"/>
                </a:tc>
                <a:tc>
                  <a:txBody>
                    <a:bodyPr/>
                    <a:lstStyle/>
                    <a:p>
                      <a:pPr algn="ctr"/>
                      <a:r>
                        <a:rPr lang="en-US" sz="1200" b="0" dirty="0"/>
                        <a:t>Energy</a:t>
                      </a:r>
                      <a:endParaRPr lang="en-IN" sz="1200" b="0" dirty="0"/>
                    </a:p>
                  </a:txBody>
                  <a:tcPr anchor="ctr"/>
                </a:tc>
                <a:tc>
                  <a:txBody>
                    <a:bodyPr/>
                    <a:lstStyle/>
                    <a:p>
                      <a:pPr algn="ctr"/>
                      <a:r>
                        <a:rPr lang="en-IN" sz="1200" b="0" dirty="0"/>
                        <a:t>Oman (MSX)</a:t>
                      </a:r>
                    </a:p>
                  </a:txBody>
                  <a:tcPr anchor="ctr"/>
                </a:tc>
                <a:tc>
                  <a:txBody>
                    <a:bodyPr/>
                    <a:lstStyle/>
                    <a:p>
                      <a:pPr marL="0" algn="ctr" defTabSz="914400" rtl="0" eaLnBrk="1" fontAlgn="ctr" latinLnBrk="0" hangingPunct="1"/>
                      <a:r>
                        <a:rPr lang="en-IN" sz="1200" kern="1200" dirty="0">
                          <a:solidFill>
                            <a:schemeClr val="dk1"/>
                          </a:solidFill>
                          <a:latin typeface="+mn-lt"/>
                          <a:ea typeface="+mn-ea"/>
                          <a:cs typeface="+mn-cs"/>
                        </a:rPr>
                        <a:t>2.0</a:t>
                      </a:r>
                    </a:p>
                  </a:txBody>
                  <a:tcPr marL="9525" marR="9525" marT="9525" marB="0" anchor="ctr"/>
                </a:tc>
                <a:extLst>
                  <a:ext uri="{0D108BD9-81ED-4DB2-BD59-A6C34878D82A}">
                    <a16:rowId xmlns:a16="http://schemas.microsoft.com/office/drawing/2014/main" val="4023977671"/>
                  </a:ext>
                </a:extLst>
              </a:tr>
              <a:tr h="475488">
                <a:tc>
                  <a:txBody>
                    <a:bodyPr/>
                    <a:lstStyle/>
                    <a:p>
                      <a:pPr marL="0" algn="ctr" defTabSz="914400" rtl="0" eaLnBrk="1" fontAlgn="ctr" latinLnBrk="0" hangingPunct="1"/>
                      <a:r>
                        <a:rPr lang="en-IN" sz="1200" kern="1200" dirty="0">
                          <a:solidFill>
                            <a:schemeClr val="dk1"/>
                          </a:solidFill>
                          <a:latin typeface="+mn-lt"/>
                          <a:ea typeface="+mn-ea"/>
                          <a:cs typeface="+mn-cs"/>
                        </a:rPr>
                        <a:t>30-Apr-24</a:t>
                      </a:r>
                    </a:p>
                  </a:txBody>
                  <a:tcPr marL="9525" marR="9525" marT="57150" marB="57150" anchor="ctr"/>
                </a:tc>
                <a:tc>
                  <a:txBody>
                    <a:bodyPr/>
                    <a:lstStyle/>
                    <a:p>
                      <a:pPr marL="0" algn="ctr" defTabSz="914400" rtl="0" eaLnBrk="1" fontAlgn="ctr" latinLnBrk="0" hangingPunct="1"/>
                      <a:r>
                        <a:rPr lang="en-IN" sz="1200" kern="1200" dirty="0">
                          <a:solidFill>
                            <a:schemeClr val="dk1"/>
                          </a:solidFill>
                          <a:latin typeface="+mn-lt"/>
                          <a:ea typeface="+mn-ea"/>
                          <a:cs typeface="+mn-cs"/>
                        </a:rPr>
                        <a:t>Viking Cruises</a:t>
                      </a:r>
                    </a:p>
                  </a:txBody>
                  <a:tcPr marL="9525" marR="9525" marT="57150" marB="57150" anchor="ctr"/>
                </a:tc>
                <a:tc>
                  <a:txBody>
                    <a:bodyPr/>
                    <a:lstStyle/>
                    <a:p>
                      <a:pPr algn="ctr"/>
                      <a:r>
                        <a:rPr lang="en-US" sz="1200" dirty="0"/>
                        <a:t>The US</a:t>
                      </a:r>
                      <a:endParaRPr lang="en-IN" sz="1200" dirty="0"/>
                    </a:p>
                  </a:txBody>
                  <a:tcPr anchor="ctr"/>
                </a:tc>
                <a:tc>
                  <a:txBody>
                    <a:bodyPr/>
                    <a:lstStyle/>
                    <a:p>
                      <a:pPr algn="ctr"/>
                      <a:r>
                        <a:rPr lang="en-US" sz="1200" b="0" dirty="0"/>
                        <a:t>Industrials</a:t>
                      </a:r>
                      <a:endParaRPr lang="en-IN" sz="1200" b="0" dirty="0"/>
                    </a:p>
                  </a:txBody>
                  <a:tcPr anchor="ctr"/>
                </a:tc>
                <a:tc>
                  <a:txBody>
                    <a:bodyPr/>
                    <a:lstStyle/>
                    <a:p>
                      <a:pPr algn="ctr"/>
                      <a:r>
                        <a:rPr lang="en-IN" sz="1200" b="0" dirty="0"/>
                        <a:t>US (NYSE)</a:t>
                      </a:r>
                    </a:p>
                  </a:txBody>
                  <a:tcPr anchor="ctr"/>
                </a:tc>
                <a:tc>
                  <a:txBody>
                    <a:bodyPr/>
                    <a:lstStyle/>
                    <a:p>
                      <a:pPr marL="0" algn="ctr" defTabSz="914400" rtl="0" eaLnBrk="1" fontAlgn="ctr" latinLnBrk="0" hangingPunct="1"/>
                      <a:r>
                        <a:rPr lang="en-IN" sz="1200" kern="1200" dirty="0">
                          <a:solidFill>
                            <a:schemeClr val="dk1"/>
                          </a:solidFill>
                          <a:latin typeface="+mn-lt"/>
                          <a:ea typeface="+mn-ea"/>
                          <a:cs typeface="+mn-cs"/>
                        </a:rPr>
                        <a:t>1.8</a:t>
                      </a:r>
                    </a:p>
                  </a:txBody>
                  <a:tcPr marL="9525" marR="9525" marT="9525" marB="0" anchor="ctr"/>
                </a:tc>
                <a:extLst>
                  <a:ext uri="{0D108BD9-81ED-4DB2-BD59-A6C34878D82A}">
                    <a16:rowId xmlns:a16="http://schemas.microsoft.com/office/drawing/2014/main" val="2634531690"/>
                  </a:ext>
                </a:extLst>
              </a:tr>
              <a:tr h="493776">
                <a:tc>
                  <a:txBody>
                    <a:bodyPr/>
                    <a:lstStyle/>
                    <a:p>
                      <a:pPr marL="0" algn="ctr" defTabSz="914400" rtl="0" eaLnBrk="1" fontAlgn="ctr" latinLnBrk="0" hangingPunct="1"/>
                      <a:r>
                        <a:rPr lang="en-IN" sz="1200" kern="1200" dirty="0">
                          <a:solidFill>
                            <a:schemeClr val="dk1"/>
                          </a:solidFill>
                          <a:latin typeface="+mn-lt"/>
                          <a:ea typeface="+mn-ea"/>
                          <a:cs typeface="+mn-cs"/>
                        </a:rPr>
                        <a:t>6-Nov-24</a:t>
                      </a:r>
                    </a:p>
                  </a:txBody>
                  <a:tcPr marL="9525" marR="9525" marT="57150" marB="57150" anchor="ctr"/>
                </a:tc>
                <a:tc>
                  <a:txBody>
                    <a:bodyPr/>
                    <a:lstStyle/>
                    <a:p>
                      <a:pPr marL="0" algn="ctr" defTabSz="914400" rtl="0" eaLnBrk="1" fontAlgn="ctr" latinLnBrk="0" hangingPunct="1"/>
                      <a:r>
                        <a:rPr lang="en-IN" sz="1200" kern="1200" dirty="0">
                          <a:solidFill>
                            <a:schemeClr val="dk1"/>
                          </a:solidFill>
                          <a:latin typeface="+mn-lt"/>
                          <a:ea typeface="+mn-ea"/>
                          <a:cs typeface="+mn-cs"/>
                        </a:rPr>
                        <a:t>Lulu Retail Holdings</a:t>
                      </a:r>
                    </a:p>
                  </a:txBody>
                  <a:tcPr marL="9525" marR="9525" marT="57150" marB="57150" anchor="ctr"/>
                </a:tc>
                <a:tc>
                  <a:txBody>
                    <a:bodyPr/>
                    <a:lstStyle/>
                    <a:p>
                      <a:pPr algn="ctr"/>
                      <a:r>
                        <a:rPr lang="en-US" sz="1200" dirty="0"/>
                        <a:t>The UAE</a:t>
                      </a:r>
                      <a:endParaRPr lang="en-IN" sz="1200" dirty="0"/>
                    </a:p>
                  </a:txBody>
                  <a:tcPr anchor="ctr"/>
                </a:tc>
                <a:tc>
                  <a:txBody>
                    <a:bodyPr/>
                    <a:lstStyle/>
                    <a:p>
                      <a:pPr algn="ctr"/>
                      <a:r>
                        <a:rPr lang="en-US" sz="1200" b="0" dirty="0"/>
                        <a:t>Retail</a:t>
                      </a:r>
                      <a:endParaRPr lang="en-IN" sz="1200" b="0" dirty="0"/>
                    </a:p>
                  </a:txBody>
                  <a:tcPr anchor="ctr"/>
                </a:tc>
                <a:tc>
                  <a:txBody>
                    <a:bodyPr/>
                    <a:lstStyle/>
                    <a:p>
                      <a:pPr algn="ctr"/>
                      <a:r>
                        <a:rPr lang="en-IN" sz="1200" b="0" dirty="0"/>
                        <a:t>Abu Dhabi (ADX)</a:t>
                      </a:r>
                    </a:p>
                  </a:txBody>
                  <a:tcPr anchor="ctr"/>
                </a:tc>
                <a:tc>
                  <a:txBody>
                    <a:bodyPr/>
                    <a:lstStyle/>
                    <a:p>
                      <a:pPr marL="0" algn="ctr" defTabSz="914400" rtl="0" eaLnBrk="1" fontAlgn="ctr" latinLnBrk="0" hangingPunct="1"/>
                      <a:r>
                        <a:rPr lang="en-IN" sz="1200" kern="1200" dirty="0">
                          <a:solidFill>
                            <a:schemeClr val="dk1"/>
                          </a:solidFill>
                          <a:latin typeface="+mn-lt"/>
                          <a:ea typeface="+mn-ea"/>
                          <a:cs typeface="+mn-cs"/>
                        </a:rPr>
                        <a:t>1.7</a:t>
                      </a:r>
                    </a:p>
                  </a:txBody>
                  <a:tcPr marL="9525" marR="9525" marT="9525" marB="0" anchor="ctr"/>
                </a:tc>
                <a:extLst>
                  <a:ext uri="{0D108BD9-81ED-4DB2-BD59-A6C34878D82A}">
                    <a16:rowId xmlns:a16="http://schemas.microsoft.com/office/drawing/2014/main" val="414750477"/>
                  </a:ext>
                </a:extLst>
              </a:tr>
            </a:tbl>
          </a:graphicData>
        </a:graphic>
      </p:graphicFrame>
      <p:sp>
        <p:nvSpPr>
          <p:cNvPr id="18" name="TextBox 17">
            <a:extLst>
              <a:ext uri="{FF2B5EF4-FFF2-40B4-BE49-F238E27FC236}">
                <a16:creationId xmlns:a16="http://schemas.microsoft.com/office/drawing/2014/main" id="{E277A7B7-773E-4A3A-8F95-20BD7C0CF94B}"/>
              </a:ext>
            </a:extLst>
          </p:cNvPr>
          <p:cNvSpPr txBox="1"/>
          <p:nvPr/>
        </p:nvSpPr>
        <p:spPr>
          <a:xfrm>
            <a:off x="571500" y="6543674"/>
            <a:ext cx="8788400" cy="161925"/>
          </a:xfrm>
          <a:prstGeom prst="rect">
            <a:avLst/>
          </a:prstGeom>
          <a:noFill/>
        </p:spPr>
        <p:txBody>
          <a:bodyPr wrap="square" lIns="45720" rtlCol="0" anchor="ctr">
            <a:noAutofit/>
          </a:bodyPr>
          <a:lstStyle/>
          <a:p>
            <a:pPr algn="l">
              <a:lnSpc>
                <a:spcPct val="90000"/>
              </a:lnSpc>
              <a:spcBef>
                <a:spcPts val="800"/>
              </a:spcBef>
              <a:buClr>
                <a:srgbClr val="E0044E"/>
              </a:buClr>
            </a:pPr>
            <a:r>
              <a:rPr lang="en-US" sz="900" dirty="0">
                <a:latin typeface="Segoe UI" panose="020B0502040204020203" pitchFamily="34" charset="0"/>
                <a:cs typeface="Segoe UI" panose="020B0502040204020203" pitchFamily="34" charset="0"/>
              </a:rPr>
              <a:t>Source: PwC, Press</a:t>
            </a:r>
            <a:endParaRPr lang="en-IN" sz="9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55778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name="Slide9">
    <p:spTree>
      <p:nvGrpSpPr>
        <p:cNvPr id="1" name=""/>
        <p:cNvGrpSpPr/>
        <p:nvPr/>
      </p:nvGrpSpPr>
      <p:grpSpPr>
        <a:xfrm>
          <a:off x="0" y="0"/>
          <a:ext cx="0" cy="0"/>
          <a:chOff x="0" y="0"/>
          <a:chExt cx="0" cy="0"/>
        </a:xfrm>
      </p:grpSpPr>
      <p:sp>
        <p:nvSpPr>
          <p:cNvPr id="6" name="Rectangle: Top Corners Rounded 5">
            <a:extLst>
              <a:ext uri="{FF2B5EF4-FFF2-40B4-BE49-F238E27FC236}">
                <a16:creationId xmlns:a16="http://schemas.microsoft.com/office/drawing/2014/main" id="{F2B5B296-430A-456D-B17E-0D8237B54518}"/>
              </a:ext>
            </a:extLst>
          </p:cNvPr>
          <p:cNvSpPr>
            <a:spLocks/>
          </p:cNvSpPr>
          <p:nvPr/>
        </p:nvSpPr>
        <p:spPr bwMode="auto">
          <a:xfrm flipH="1">
            <a:off x="3653332" y="915023"/>
            <a:ext cx="3427272" cy="599877"/>
          </a:xfrm>
          <a:prstGeom prst="round2SameRect">
            <a:avLst>
              <a:gd name="adj1" fmla="val 29421"/>
              <a:gd name="adj2" fmla="val 0"/>
            </a:avLst>
          </a:prstGeom>
          <a:solidFill>
            <a:srgbClr val="F9F9F9"/>
          </a:solidFill>
          <a:ln w="9525">
            <a:solidFill>
              <a:schemeClr val="bg2"/>
            </a:solidFill>
            <a:prstDash val="solid"/>
            <a:miter lim="800000"/>
            <a:headEnd/>
            <a:tailEnd/>
          </a:ln>
          <a:effectLst/>
        </p:spPr>
        <p:txBody>
          <a:bodyPr vert="horz" lIns="61595" tIns="91440" rIns="61595" bIns="61595" rtlCol="0" anchor="t">
            <a:noAutofit/>
          </a:bodyPr>
          <a:lstStyle/>
          <a:p>
            <a:pPr defTabSz="782269">
              <a:lnSpc>
                <a:spcPct val="120000"/>
              </a:lnSpc>
              <a:spcAft>
                <a:spcPts val="400"/>
              </a:spcAft>
              <a:buClr>
                <a:schemeClr val="tx1"/>
              </a:buClr>
            </a:pPr>
            <a:endParaRPr lang="en-GB" sz="1600" kern="0" dirty="0">
              <a:latin typeface="+mj-lt"/>
              <a:ea typeface="Verdana" pitchFamily="34" charset="0"/>
            </a:endParaRPr>
          </a:p>
        </p:txBody>
      </p:sp>
      <p:sp>
        <p:nvSpPr>
          <p:cNvPr id="8" name="Rectangle: Top Corners Rounded 7">
            <a:extLst>
              <a:ext uri="{FF2B5EF4-FFF2-40B4-BE49-F238E27FC236}">
                <a16:creationId xmlns:a16="http://schemas.microsoft.com/office/drawing/2014/main" id="{301D3F30-0627-4EE0-81BF-D41CB7D7F0AB}"/>
              </a:ext>
            </a:extLst>
          </p:cNvPr>
          <p:cNvSpPr>
            <a:spLocks/>
          </p:cNvSpPr>
          <p:nvPr/>
        </p:nvSpPr>
        <p:spPr bwMode="auto">
          <a:xfrm flipH="1">
            <a:off x="7899398" y="915023"/>
            <a:ext cx="3365501" cy="599877"/>
          </a:xfrm>
          <a:prstGeom prst="round2SameRect">
            <a:avLst>
              <a:gd name="adj1" fmla="val 25570"/>
              <a:gd name="adj2" fmla="val 0"/>
            </a:avLst>
          </a:prstGeom>
          <a:solidFill>
            <a:srgbClr val="F9F9F9"/>
          </a:solidFill>
          <a:ln w="9525">
            <a:solidFill>
              <a:schemeClr val="bg2"/>
            </a:solidFill>
            <a:prstDash val="solid"/>
            <a:miter lim="800000"/>
            <a:headEnd/>
            <a:tailEnd/>
          </a:ln>
          <a:effectLst/>
        </p:spPr>
        <p:txBody>
          <a:bodyPr vert="horz" lIns="61595" tIns="91440" rIns="61595" bIns="61595" rtlCol="0" anchor="t">
            <a:noAutofit/>
          </a:bodyPr>
          <a:lstStyle/>
          <a:p>
            <a:pPr defTabSz="782269">
              <a:lnSpc>
                <a:spcPct val="120000"/>
              </a:lnSpc>
              <a:spcAft>
                <a:spcPts val="400"/>
              </a:spcAft>
              <a:buClr>
                <a:schemeClr val="tx1"/>
              </a:buClr>
            </a:pPr>
            <a:endParaRPr lang="en-GB" sz="1600" kern="0" dirty="0">
              <a:latin typeface="+mj-lt"/>
              <a:ea typeface="Verdana" pitchFamily="34" charset="0"/>
            </a:endParaRPr>
          </a:p>
        </p:txBody>
      </p:sp>
      <p:graphicFrame>
        <p:nvGraphicFramePr>
          <p:cNvPr id="9" name="Table 3">
            <a:extLst>
              <a:ext uri="{FF2B5EF4-FFF2-40B4-BE49-F238E27FC236}">
                <a16:creationId xmlns:a16="http://schemas.microsoft.com/office/drawing/2014/main" id="{1F7F880C-FA7E-4C08-8E61-19632EF8B94D}"/>
              </a:ext>
            </a:extLst>
          </p:cNvPr>
          <p:cNvGraphicFramePr>
            <a:graphicFrameLocks noGrp="1"/>
          </p:cNvGraphicFramePr>
          <p:nvPr>
            <p:extLst>
              <p:ext uri="{D42A27DB-BD31-4B8C-83A1-F6EECF244321}">
                <p14:modId xmlns:p14="http://schemas.microsoft.com/office/powerpoint/2010/main" val="76265740"/>
              </p:ext>
            </p:extLst>
          </p:nvPr>
        </p:nvGraphicFramePr>
        <p:xfrm>
          <a:off x="571500" y="941832"/>
          <a:ext cx="10706098" cy="5451518"/>
        </p:xfrm>
        <a:graphic>
          <a:graphicData uri="http://schemas.openxmlformats.org/drawingml/2006/table">
            <a:tbl>
              <a:tblPr firstRow="1" bandRow="1">
                <a:tableStyleId>{6E25E649-3F16-4E02-A733-19D2CDBF48F0}</a:tableStyleId>
              </a:tblPr>
              <a:tblGrid>
                <a:gridCol w="821425">
                  <a:extLst>
                    <a:ext uri="{9D8B030D-6E8A-4147-A177-3AD203B41FA5}">
                      <a16:colId xmlns:a16="http://schemas.microsoft.com/office/drawing/2014/main" val="3500432877"/>
                    </a:ext>
                  </a:extLst>
                </a:gridCol>
                <a:gridCol w="2297583">
                  <a:extLst>
                    <a:ext uri="{9D8B030D-6E8A-4147-A177-3AD203B41FA5}">
                      <a16:colId xmlns:a16="http://schemas.microsoft.com/office/drawing/2014/main" val="1681262300"/>
                    </a:ext>
                  </a:extLst>
                </a:gridCol>
                <a:gridCol w="1691105">
                  <a:extLst>
                    <a:ext uri="{9D8B030D-6E8A-4147-A177-3AD203B41FA5}">
                      <a16:colId xmlns:a16="http://schemas.microsoft.com/office/drawing/2014/main" val="3689756678"/>
                    </a:ext>
                  </a:extLst>
                </a:gridCol>
                <a:gridCol w="1691105">
                  <a:extLst>
                    <a:ext uri="{9D8B030D-6E8A-4147-A177-3AD203B41FA5}">
                      <a16:colId xmlns:a16="http://schemas.microsoft.com/office/drawing/2014/main" val="168730566"/>
                    </a:ext>
                  </a:extLst>
                </a:gridCol>
                <a:gridCol w="821643">
                  <a:extLst>
                    <a:ext uri="{9D8B030D-6E8A-4147-A177-3AD203B41FA5}">
                      <a16:colId xmlns:a16="http://schemas.microsoft.com/office/drawing/2014/main" val="1088529152"/>
                    </a:ext>
                  </a:extLst>
                </a:gridCol>
                <a:gridCol w="1691619">
                  <a:extLst>
                    <a:ext uri="{9D8B030D-6E8A-4147-A177-3AD203B41FA5}">
                      <a16:colId xmlns:a16="http://schemas.microsoft.com/office/drawing/2014/main" val="1080458046"/>
                    </a:ext>
                  </a:extLst>
                </a:gridCol>
                <a:gridCol w="1691618">
                  <a:extLst>
                    <a:ext uri="{9D8B030D-6E8A-4147-A177-3AD203B41FA5}">
                      <a16:colId xmlns:a16="http://schemas.microsoft.com/office/drawing/2014/main" val="2604808122"/>
                    </a:ext>
                  </a:extLst>
                </a:gridCol>
              </a:tblGrid>
              <a:tr h="457200">
                <a:tc gridSpan="2">
                  <a:txBody>
                    <a:bodyPr/>
                    <a:lstStyle/>
                    <a:p>
                      <a:pPr algn="l"/>
                      <a:endParaRPr lang="en-IN" sz="1600" b="1" dirty="0">
                        <a:solidFill>
                          <a:schemeClr val="bg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IN" sz="1600" b="0" dirty="0">
                        <a:solidFill>
                          <a:schemeClr val="bg1"/>
                        </a:solidFill>
                      </a:endParaRPr>
                    </a:p>
                  </a:txBody>
                  <a:tcPr anchor="ctr">
                    <a:solidFill>
                      <a:srgbClr val="43224D"/>
                    </a:solidFill>
                  </a:tcPr>
                </a:tc>
                <a:tc gridSpan="2">
                  <a:txBody>
                    <a:bodyPr/>
                    <a:lstStyle/>
                    <a:p>
                      <a:pPr algn="ctr"/>
                      <a:r>
                        <a:rPr lang="en-IN" sz="1600" b="1" dirty="0">
                          <a:solidFill>
                            <a:schemeClr val="bg2"/>
                          </a:solidFill>
                        </a:rPr>
                        <a:t>2024</a:t>
                      </a:r>
                      <a:endParaRPr lang="en-IN" sz="16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IN" sz="1600" dirty="0"/>
                    </a:p>
                  </a:txBody>
                  <a:tcPr anchor="ctr">
                    <a:lnL>
                      <a:noFill/>
                    </a:lnL>
                    <a:solidFill>
                      <a:srgbClr val="43224D"/>
                    </a:solidFill>
                  </a:tcPr>
                </a:tc>
                <a:tc>
                  <a:txBody>
                    <a:bodyPr/>
                    <a:lstStyle/>
                    <a:p>
                      <a:pPr algn="l"/>
                      <a:endParaRPr lang="en-IN" sz="1400" b="1" dirty="0">
                        <a:solidFill>
                          <a:schemeClr val="bg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600" b="1" dirty="0">
                          <a:solidFill>
                            <a:schemeClr val="bg2"/>
                          </a:solidFill>
                        </a:rPr>
                        <a:t>2023</a:t>
                      </a:r>
                      <a:endParaRPr lang="en-IN" sz="1600" b="0" dirty="0">
                        <a:solidFill>
                          <a:schemeClr val="bg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IN" sz="1600" b="0" dirty="0">
                        <a:solidFill>
                          <a:schemeClr val="bg1"/>
                        </a:solidFill>
                      </a:endParaRPr>
                    </a:p>
                  </a:txBody>
                  <a:tcPr anchor="ctr">
                    <a:lnL>
                      <a:noFill/>
                    </a:lnL>
                    <a:solidFill>
                      <a:srgbClr val="43224D"/>
                    </a:solidFill>
                  </a:tcPr>
                </a:tc>
                <a:extLst>
                  <a:ext uri="{0D108BD9-81ED-4DB2-BD59-A6C34878D82A}">
                    <a16:rowId xmlns:a16="http://schemas.microsoft.com/office/drawing/2014/main" val="49113570"/>
                  </a:ext>
                </a:extLst>
              </a:tr>
              <a:tr h="510798">
                <a:tc>
                  <a:txBody>
                    <a:bodyPr/>
                    <a:lstStyle/>
                    <a:p>
                      <a:pPr algn="ctr"/>
                      <a:r>
                        <a:rPr lang="en-US" sz="1400" b="1" dirty="0">
                          <a:solidFill>
                            <a:schemeClr val="bg1"/>
                          </a:solidFill>
                        </a:rPr>
                        <a:t>Rank</a:t>
                      </a:r>
                      <a:endParaRPr lang="en-IN" sz="1400" b="1" dirty="0">
                        <a:solidFill>
                          <a:schemeClr val="bg1"/>
                        </a:solidFill>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3224D"/>
                    </a:solidFill>
                  </a:tcPr>
                </a:tc>
                <a:tc>
                  <a:txBody>
                    <a:bodyPr/>
                    <a:lstStyle/>
                    <a:p>
                      <a:pPr algn="ctr"/>
                      <a:r>
                        <a:rPr lang="en-IN" sz="1400" b="1" dirty="0">
                          <a:solidFill>
                            <a:schemeClr val="bg1"/>
                          </a:solidFill>
                        </a:rPr>
                        <a:t>Bookrunner</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3224D"/>
                    </a:solidFill>
                  </a:tcPr>
                </a:tc>
                <a:tc>
                  <a:txBody>
                    <a:bodyPr/>
                    <a:lstStyle/>
                    <a:p>
                      <a:pPr algn="ctr"/>
                      <a:r>
                        <a:rPr lang="en-IN" sz="1400" b="1" dirty="0">
                          <a:solidFill>
                            <a:schemeClr val="bg1"/>
                          </a:solidFill>
                        </a:rPr>
                        <a:t>Value ($B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3224D"/>
                    </a:solidFill>
                  </a:tcPr>
                </a:tc>
                <a:tc>
                  <a:txBody>
                    <a:bodyPr/>
                    <a:lstStyle/>
                    <a:p>
                      <a:pPr algn="ctr"/>
                      <a:r>
                        <a:rPr lang="en-US" sz="1400" b="1" dirty="0">
                          <a:solidFill>
                            <a:schemeClr val="bg1"/>
                          </a:solidFill>
                        </a:rPr>
                        <a:t>Number of Deals</a:t>
                      </a:r>
                      <a:endParaRPr lang="en-IN" sz="14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3224D"/>
                    </a:solidFill>
                  </a:tcPr>
                </a:tc>
                <a:tc>
                  <a:txBody>
                    <a:bodyPr/>
                    <a:lstStyle/>
                    <a:p>
                      <a:pPr algn="ctr"/>
                      <a:r>
                        <a:rPr lang="en-US" sz="1400" b="1" dirty="0">
                          <a:solidFill>
                            <a:schemeClr val="bg1"/>
                          </a:solidFill>
                        </a:rPr>
                        <a:t>Rank</a:t>
                      </a:r>
                      <a:endParaRPr lang="en-IN" sz="14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3224D"/>
                    </a:solidFill>
                  </a:tcPr>
                </a:tc>
                <a:tc>
                  <a:txBody>
                    <a:bodyPr/>
                    <a:lstStyle/>
                    <a:p>
                      <a:pPr algn="ctr"/>
                      <a:r>
                        <a:rPr lang="en-IN" sz="1400" b="1" dirty="0">
                          <a:solidFill>
                            <a:schemeClr val="bg1"/>
                          </a:solidFill>
                        </a:rPr>
                        <a:t>Value ($B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3224D"/>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rPr>
                        <a:t>Number of Deals</a:t>
                      </a:r>
                      <a:endParaRPr lang="en-IN" sz="1400" b="1" dirty="0">
                        <a:solidFill>
                          <a:schemeClr val="bg1"/>
                        </a:solidFill>
                      </a:endParaRPr>
                    </a:p>
                  </a:txBody>
                  <a:tcPr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3224D"/>
                    </a:solidFill>
                  </a:tcPr>
                </a:tc>
                <a:extLst>
                  <a:ext uri="{0D108BD9-81ED-4DB2-BD59-A6C34878D82A}">
                    <a16:rowId xmlns:a16="http://schemas.microsoft.com/office/drawing/2014/main" val="2229011059"/>
                  </a:ext>
                </a:extLst>
              </a:tr>
              <a:tr h="448352">
                <a:tc>
                  <a:txBody>
                    <a:bodyPr/>
                    <a:lstStyle/>
                    <a:p>
                      <a:pPr marL="0" algn="ctr" defTabSz="914400" rtl="0" eaLnBrk="1" latinLnBrk="0" hangingPunct="1"/>
                      <a:r>
                        <a:rPr lang="en-US" sz="1400" kern="1200" dirty="0">
                          <a:solidFill>
                            <a:schemeClr val="tx1"/>
                          </a:solidFill>
                          <a:latin typeface="+mj-lt"/>
                          <a:ea typeface="+mn-ea"/>
                          <a:cs typeface="+mn-cs"/>
                        </a:rPr>
                        <a:t>1</a:t>
                      </a:r>
                      <a:endParaRPr lang="en-IN" sz="1400" kern="1200" dirty="0">
                        <a:solidFill>
                          <a:schemeClr val="tx1"/>
                        </a:solidFill>
                        <a:latin typeface="+mj-lt"/>
                        <a:ea typeface="+mn-ea"/>
                        <a:cs typeface="+mn-cs"/>
                      </a:endParaRPr>
                    </a:p>
                  </a:txBody>
                  <a:tcPr anchor="ctr">
                    <a:lnT w="12700" cap="flat" cmpd="sng" algn="ctr">
                      <a:noFill/>
                      <a:prstDash val="solid"/>
                      <a:round/>
                      <a:headEnd type="none" w="med" len="med"/>
                      <a:tailEnd type="none" w="med" len="med"/>
                    </a:lnT>
                  </a:tcPr>
                </a:tc>
                <a:tc>
                  <a:txBody>
                    <a:bodyPr/>
                    <a:lstStyle/>
                    <a:p>
                      <a:pPr marL="0" algn="ctr" defTabSz="914400" rtl="0" eaLnBrk="1" fontAlgn="ctr" latinLnBrk="0" hangingPunct="1"/>
                      <a:r>
                        <a:rPr lang="en-IN" sz="1400" kern="1200" dirty="0">
                          <a:solidFill>
                            <a:schemeClr val="tx1"/>
                          </a:solidFill>
                          <a:latin typeface="+mj-lt"/>
                          <a:ea typeface="+mn-ea"/>
                          <a:cs typeface="+mn-cs"/>
                        </a:rPr>
                        <a:t>Morgan Stanley</a:t>
                      </a:r>
                    </a:p>
                  </a:txBody>
                  <a:tcPr marL="9525" marR="9525" marT="57150" marB="57150" anchor="ctr">
                    <a:lnT w="12700" cap="flat" cmpd="sng" algn="ctr">
                      <a:noFill/>
                      <a:prstDash val="solid"/>
                      <a:round/>
                      <a:headEnd type="none" w="med" len="med"/>
                      <a:tailEnd type="none" w="med" len="med"/>
                    </a:lnT>
                  </a:tcPr>
                </a:tc>
                <a:tc>
                  <a:txBody>
                    <a:bodyPr/>
                    <a:lstStyle/>
                    <a:p>
                      <a:pPr marL="0" algn="ctr" defTabSz="914400" rtl="0" eaLnBrk="1" fontAlgn="ctr" latinLnBrk="0" hangingPunct="1"/>
                      <a:r>
                        <a:rPr lang="en-IN" sz="1400" b="0" i="0" u="none" strike="noStrike" kern="1200" dirty="0">
                          <a:solidFill>
                            <a:schemeClr val="tx1"/>
                          </a:solidFill>
                          <a:effectLst/>
                          <a:latin typeface="+mj-lt"/>
                          <a:ea typeface="+mn-ea"/>
                          <a:cs typeface="+mn-cs"/>
                        </a:rPr>
                        <a:t>$7.07</a:t>
                      </a:r>
                    </a:p>
                  </a:txBody>
                  <a:tcPr marL="9525" marR="9525" marT="57150" marB="57150" anchor="ctr">
                    <a:lnT w="12700" cap="flat" cmpd="sng" algn="ctr">
                      <a:noFill/>
                      <a:prstDash val="solid"/>
                      <a:round/>
                      <a:headEnd type="none" w="med" len="med"/>
                      <a:tailEnd type="none" w="med" len="med"/>
                    </a:lnT>
                  </a:tcPr>
                </a:tc>
                <a:tc>
                  <a:txBody>
                    <a:bodyPr/>
                    <a:lstStyle/>
                    <a:p>
                      <a:pPr marL="0" algn="ctr" defTabSz="914400" rtl="0" eaLnBrk="1" fontAlgn="ctr" latinLnBrk="0" hangingPunct="1"/>
                      <a:r>
                        <a:rPr lang="en-IN" sz="1400" kern="1200" dirty="0">
                          <a:solidFill>
                            <a:schemeClr val="tx1"/>
                          </a:solidFill>
                          <a:latin typeface="+mj-lt"/>
                          <a:ea typeface="+mn-ea"/>
                          <a:cs typeface="+mn-cs"/>
                        </a:rPr>
                        <a:t>65</a:t>
                      </a:r>
                    </a:p>
                  </a:txBody>
                  <a:tcPr marL="9525" marR="9525" marT="57150" marB="57150" anchor="ctr">
                    <a:lnT w="12700" cap="flat" cmpd="sng" algn="ctr">
                      <a:noFill/>
                      <a:prstDash val="solid"/>
                      <a:round/>
                      <a:headEnd type="none" w="med" len="med"/>
                      <a:tailEnd type="none" w="med" len="med"/>
                    </a:lnT>
                  </a:tcPr>
                </a:tc>
                <a:tc>
                  <a:txBody>
                    <a:bodyPr/>
                    <a:lstStyle/>
                    <a:p>
                      <a:pPr marL="0" algn="ctr" defTabSz="914400" rtl="0" eaLnBrk="1" fontAlgn="ctr" latinLnBrk="0" hangingPunct="1"/>
                      <a:r>
                        <a:rPr lang="en-IN" sz="1400" kern="1200" dirty="0">
                          <a:solidFill>
                            <a:schemeClr val="tx1"/>
                          </a:solidFill>
                          <a:latin typeface="+mj-lt"/>
                          <a:ea typeface="+mn-ea"/>
                          <a:cs typeface="+mn-cs"/>
                        </a:rPr>
                        <a:t>18</a:t>
                      </a:r>
                    </a:p>
                  </a:txBody>
                  <a:tcPr marL="9525" marR="9525" marT="57150" marB="57150" anchor="ctr">
                    <a:lnT w="12700" cap="flat" cmpd="sng" algn="ctr">
                      <a:noFill/>
                      <a:prstDash val="solid"/>
                      <a:round/>
                      <a:headEnd type="none" w="med" len="med"/>
                      <a:tailEnd type="none" w="med" len="med"/>
                    </a:lnT>
                  </a:tcPr>
                </a:tc>
                <a:tc>
                  <a:txBody>
                    <a:bodyPr/>
                    <a:lstStyle/>
                    <a:p>
                      <a:pPr marL="0" algn="ctr" defTabSz="914400" rtl="0" eaLnBrk="1" fontAlgn="ctr" latinLnBrk="0" hangingPunct="1"/>
                      <a:r>
                        <a:rPr lang="en-IN" sz="1400" kern="1200" dirty="0">
                          <a:solidFill>
                            <a:schemeClr val="tx1"/>
                          </a:solidFill>
                          <a:latin typeface="+mj-lt"/>
                          <a:ea typeface="+mn-ea"/>
                          <a:cs typeface="+mn-cs"/>
                        </a:rPr>
                        <a:t>$1.70</a:t>
                      </a:r>
                    </a:p>
                  </a:txBody>
                  <a:tcPr marL="9525" marR="9525" marT="57150" marB="57150" anchor="ctr">
                    <a:lnT w="12700" cap="flat" cmpd="sng" algn="ctr">
                      <a:noFill/>
                      <a:prstDash val="solid"/>
                      <a:round/>
                      <a:headEnd type="none" w="med" len="med"/>
                      <a:tailEnd type="none" w="med" len="med"/>
                    </a:lnT>
                  </a:tcPr>
                </a:tc>
                <a:tc>
                  <a:txBody>
                    <a:bodyPr/>
                    <a:lstStyle/>
                    <a:p>
                      <a:pPr marL="0" algn="ctr" defTabSz="914400" rtl="0" eaLnBrk="1" fontAlgn="ctr" latinLnBrk="0" hangingPunct="1"/>
                      <a:r>
                        <a:rPr lang="en-IN" sz="1400" kern="1200" dirty="0">
                          <a:solidFill>
                            <a:schemeClr val="tx1"/>
                          </a:solidFill>
                          <a:latin typeface="+mj-lt"/>
                          <a:ea typeface="+mn-ea"/>
                          <a:cs typeface="+mn-cs"/>
                        </a:rPr>
                        <a:t>28</a:t>
                      </a:r>
                    </a:p>
                  </a:txBody>
                  <a:tcPr marL="9525" marR="9525" marT="57150" marB="57150" anchor="ctr">
                    <a:lnT w="12700" cap="flat" cmpd="sng" algn="ctr">
                      <a:noFill/>
                      <a:prstDash val="solid"/>
                      <a:round/>
                      <a:headEnd type="none" w="med" len="med"/>
                      <a:tailEnd type="none" w="med" len="med"/>
                    </a:lnT>
                  </a:tcPr>
                </a:tc>
                <a:extLst>
                  <a:ext uri="{0D108BD9-81ED-4DB2-BD59-A6C34878D82A}">
                    <a16:rowId xmlns:a16="http://schemas.microsoft.com/office/drawing/2014/main" val="4174787570"/>
                  </a:ext>
                </a:extLst>
              </a:tr>
              <a:tr h="448352">
                <a:tc>
                  <a:txBody>
                    <a:bodyPr/>
                    <a:lstStyle/>
                    <a:p>
                      <a:pPr marL="0" algn="ctr" defTabSz="914400" rtl="0" eaLnBrk="1" latinLnBrk="0" hangingPunct="1"/>
                      <a:r>
                        <a:rPr lang="en-US" sz="1400" kern="1200" dirty="0">
                          <a:solidFill>
                            <a:schemeClr val="tx1"/>
                          </a:solidFill>
                          <a:latin typeface="+mj-lt"/>
                          <a:ea typeface="+mn-ea"/>
                          <a:cs typeface="+mn-cs"/>
                        </a:rPr>
                        <a:t>2</a:t>
                      </a:r>
                      <a:endParaRPr lang="en-IN" sz="1400" kern="1200" dirty="0">
                        <a:solidFill>
                          <a:schemeClr val="tx1"/>
                        </a:solidFill>
                        <a:latin typeface="+mj-lt"/>
                        <a:ea typeface="+mn-ea"/>
                        <a:cs typeface="+mn-cs"/>
                      </a:endParaRPr>
                    </a:p>
                  </a:txBody>
                  <a:tcPr anchor="ctr"/>
                </a:tc>
                <a:tc>
                  <a:txBody>
                    <a:bodyPr/>
                    <a:lstStyle/>
                    <a:p>
                      <a:pPr marL="0" algn="ctr" defTabSz="914400" rtl="0" eaLnBrk="1" fontAlgn="ctr" latinLnBrk="0" hangingPunct="1"/>
                      <a:r>
                        <a:rPr lang="en-IN" sz="1400" kern="1200" dirty="0">
                          <a:solidFill>
                            <a:schemeClr val="tx1"/>
                          </a:solidFill>
                          <a:latin typeface="+mj-lt"/>
                          <a:ea typeface="+mn-ea"/>
                          <a:cs typeface="+mn-cs"/>
                        </a:rPr>
                        <a:t>JPMorgan</a:t>
                      </a:r>
                    </a:p>
                  </a:txBody>
                  <a:tcPr marL="9525" marR="9525" marT="57150" marB="57150" anchor="ctr"/>
                </a:tc>
                <a:tc>
                  <a:txBody>
                    <a:bodyPr/>
                    <a:lstStyle/>
                    <a:p>
                      <a:pPr marL="0" algn="ctr" defTabSz="914400" rtl="0" eaLnBrk="1" fontAlgn="ctr" latinLnBrk="0" hangingPunct="1"/>
                      <a:r>
                        <a:rPr lang="en-IN" sz="1400" b="0" i="0" u="none" strike="noStrike" kern="1200" dirty="0">
                          <a:solidFill>
                            <a:schemeClr val="tx1"/>
                          </a:solidFill>
                          <a:effectLst/>
                          <a:latin typeface="+mj-lt"/>
                          <a:ea typeface="+mn-ea"/>
                          <a:cs typeface="+mn-cs"/>
                        </a:rPr>
                        <a:t>$6.22</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55</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7</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3.09</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30</a:t>
                      </a:r>
                    </a:p>
                  </a:txBody>
                  <a:tcPr marL="9525" marR="9525" marT="57150" marB="57150" anchor="ctr"/>
                </a:tc>
                <a:extLst>
                  <a:ext uri="{0D108BD9-81ED-4DB2-BD59-A6C34878D82A}">
                    <a16:rowId xmlns:a16="http://schemas.microsoft.com/office/drawing/2014/main" val="203796690"/>
                  </a:ext>
                </a:extLst>
              </a:tr>
              <a:tr h="448352">
                <a:tc>
                  <a:txBody>
                    <a:bodyPr/>
                    <a:lstStyle/>
                    <a:p>
                      <a:pPr marL="0" algn="ctr" defTabSz="914400" rtl="0" eaLnBrk="1" latinLnBrk="0" hangingPunct="1"/>
                      <a:r>
                        <a:rPr lang="en-US" sz="1400" kern="1200" dirty="0">
                          <a:solidFill>
                            <a:schemeClr val="tx1"/>
                          </a:solidFill>
                          <a:latin typeface="+mj-lt"/>
                          <a:ea typeface="+mn-ea"/>
                          <a:cs typeface="+mn-cs"/>
                        </a:rPr>
                        <a:t>3</a:t>
                      </a:r>
                      <a:endParaRPr lang="en-IN" sz="1400" kern="1200" dirty="0">
                        <a:solidFill>
                          <a:schemeClr val="tx1"/>
                        </a:solidFill>
                        <a:latin typeface="+mj-lt"/>
                        <a:ea typeface="+mn-ea"/>
                        <a:cs typeface="+mn-cs"/>
                      </a:endParaRPr>
                    </a:p>
                  </a:txBody>
                  <a:tcPr anchor="ctr"/>
                </a:tc>
                <a:tc>
                  <a:txBody>
                    <a:bodyPr/>
                    <a:lstStyle/>
                    <a:p>
                      <a:pPr marL="0" algn="ctr" defTabSz="914400" rtl="0" eaLnBrk="1" fontAlgn="ctr" latinLnBrk="0" hangingPunct="1"/>
                      <a:r>
                        <a:rPr lang="en-IN" sz="1400" kern="1200" dirty="0">
                          <a:solidFill>
                            <a:schemeClr val="tx1"/>
                          </a:solidFill>
                          <a:latin typeface="+mj-lt"/>
                          <a:ea typeface="+mn-ea"/>
                          <a:cs typeface="+mn-cs"/>
                        </a:rPr>
                        <a:t>Goldman Sachs</a:t>
                      </a:r>
                    </a:p>
                  </a:txBody>
                  <a:tcPr marL="9525" marR="9525" marT="57150" marB="57150" anchor="ctr"/>
                </a:tc>
                <a:tc>
                  <a:txBody>
                    <a:bodyPr/>
                    <a:lstStyle/>
                    <a:p>
                      <a:pPr marL="0" algn="ctr" defTabSz="914400" rtl="0" eaLnBrk="1" fontAlgn="ctr" latinLnBrk="0" hangingPunct="1"/>
                      <a:r>
                        <a:rPr lang="en-IN" sz="1400" b="0" i="0" u="none" strike="noStrike" kern="1200" dirty="0">
                          <a:solidFill>
                            <a:schemeClr val="tx1"/>
                          </a:solidFill>
                          <a:effectLst/>
                          <a:latin typeface="+mj-lt"/>
                          <a:ea typeface="+mn-ea"/>
                          <a:cs typeface="+mn-cs"/>
                        </a:rPr>
                        <a:t>$5.53</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42</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12</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2.53</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28</a:t>
                      </a:r>
                    </a:p>
                  </a:txBody>
                  <a:tcPr marL="9525" marR="9525" marT="57150" marB="57150" anchor="ctr"/>
                </a:tc>
                <a:extLst>
                  <a:ext uri="{0D108BD9-81ED-4DB2-BD59-A6C34878D82A}">
                    <a16:rowId xmlns:a16="http://schemas.microsoft.com/office/drawing/2014/main" val="4005161017"/>
                  </a:ext>
                </a:extLst>
              </a:tr>
              <a:tr h="448352">
                <a:tc>
                  <a:txBody>
                    <a:bodyPr/>
                    <a:lstStyle/>
                    <a:p>
                      <a:pPr marL="0" algn="ctr" defTabSz="914400" rtl="0" eaLnBrk="1" latinLnBrk="0" hangingPunct="1"/>
                      <a:r>
                        <a:rPr lang="en-US" sz="1400" kern="1200" dirty="0">
                          <a:solidFill>
                            <a:schemeClr val="tx1"/>
                          </a:solidFill>
                          <a:latin typeface="+mj-lt"/>
                          <a:ea typeface="+mn-ea"/>
                          <a:cs typeface="+mn-cs"/>
                        </a:rPr>
                        <a:t>4</a:t>
                      </a:r>
                      <a:endParaRPr lang="en-IN" sz="1400" kern="1200" dirty="0">
                        <a:solidFill>
                          <a:schemeClr val="tx1"/>
                        </a:solidFill>
                        <a:latin typeface="+mj-lt"/>
                        <a:ea typeface="+mn-ea"/>
                        <a:cs typeface="+mn-cs"/>
                      </a:endParaRPr>
                    </a:p>
                  </a:txBody>
                  <a:tcPr anchor="ctr"/>
                </a:tc>
                <a:tc>
                  <a:txBody>
                    <a:bodyPr/>
                    <a:lstStyle/>
                    <a:p>
                      <a:pPr marL="0" algn="ctr" defTabSz="914400" rtl="0" eaLnBrk="1" fontAlgn="ctr" latinLnBrk="0" hangingPunct="1"/>
                      <a:r>
                        <a:rPr lang="en-IN" sz="1400" kern="1200" dirty="0">
                          <a:solidFill>
                            <a:schemeClr val="tx1"/>
                          </a:solidFill>
                          <a:latin typeface="+mj-lt"/>
                          <a:ea typeface="+mn-ea"/>
                          <a:cs typeface="+mn-cs"/>
                        </a:rPr>
                        <a:t>BofA Securities</a:t>
                      </a:r>
                    </a:p>
                  </a:txBody>
                  <a:tcPr marL="9525" marR="9525" marT="57150" marB="57150" anchor="ctr"/>
                </a:tc>
                <a:tc>
                  <a:txBody>
                    <a:bodyPr/>
                    <a:lstStyle/>
                    <a:p>
                      <a:pPr marL="0" algn="ctr" defTabSz="914400" rtl="0" eaLnBrk="1" fontAlgn="ctr" latinLnBrk="0" hangingPunct="1"/>
                      <a:r>
                        <a:rPr lang="en-IN" sz="1400" b="0" i="0" u="none" strike="noStrike" kern="1200" dirty="0">
                          <a:solidFill>
                            <a:schemeClr val="tx1"/>
                          </a:solidFill>
                          <a:effectLst/>
                          <a:latin typeface="+mj-lt"/>
                          <a:ea typeface="+mn-ea"/>
                          <a:cs typeface="+mn-cs"/>
                        </a:rPr>
                        <a:t>$4.92</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43</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11</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2.77</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26</a:t>
                      </a:r>
                    </a:p>
                  </a:txBody>
                  <a:tcPr marL="9525" marR="9525" marT="57150" marB="57150" anchor="ctr"/>
                </a:tc>
                <a:extLst>
                  <a:ext uri="{0D108BD9-81ED-4DB2-BD59-A6C34878D82A}">
                    <a16:rowId xmlns:a16="http://schemas.microsoft.com/office/drawing/2014/main" val="2658253022"/>
                  </a:ext>
                </a:extLst>
              </a:tr>
              <a:tr h="448352">
                <a:tc>
                  <a:txBody>
                    <a:bodyPr/>
                    <a:lstStyle/>
                    <a:p>
                      <a:pPr marL="0" algn="ctr" defTabSz="914400" rtl="0" eaLnBrk="1" latinLnBrk="0" hangingPunct="1"/>
                      <a:r>
                        <a:rPr lang="en-US" sz="1400" kern="1200" dirty="0">
                          <a:solidFill>
                            <a:schemeClr val="tx1"/>
                          </a:solidFill>
                          <a:latin typeface="+mj-lt"/>
                          <a:ea typeface="+mn-ea"/>
                          <a:cs typeface="+mn-cs"/>
                        </a:rPr>
                        <a:t>5</a:t>
                      </a:r>
                      <a:endParaRPr lang="en-IN" sz="1400" kern="1200" dirty="0">
                        <a:solidFill>
                          <a:schemeClr val="tx1"/>
                        </a:solidFill>
                        <a:latin typeface="+mj-lt"/>
                        <a:ea typeface="+mn-ea"/>
                        <a:cs typeface="+mn-cs"/>
                      </a:endParaRPr>
                    </a:p>
                  </a:txBody>
                  <a:tcPr anchor="ctr"/>
                </a:tc>
                <a:tc>
                  <a:txBody>
                    <a:bodyPr/>
                    <a:lstStyle/>
                    <a:p>
                      <a:pPr marL="0" algn="ctr" defTabSz="914400" rtl="0" eaLnBrk="1" fontAlgn="ctr" latinLnBrk="0" hangingPunct="1"/>
                      <a:r>
                        <a:rPr lang="en-IN" sz="1400" kern="1200" dirty="0">
                          <a:solidFill>
                            <a:schemeClr val="tx1"/>
                          </a:solidFill>
                          <a:latin typeface="+mj-lt"/>
                          <a:ea typeface="+mn-ea"/>
                          <a:cs typeface="+mn-cs"/>
                        </a:rPr>
                        <a:t>Citi</a:t>
                      </a:r>
                    </a:p>
                  </a:txBody>
                  <a:tcPr marL="9525" marR="9525" marT="57150" marB="57150" anchor="ctr"/>
                </a:tc>
                <a:tc>
                  <a:txBody>
                    <a:bodyPr/>
                    <a:lstStyle/>
                    <a:p>
                      <a:pPr marL="0" algn="ctr" defTabSz="914400" rtl="0" eaLnBrk="1" fontAlgn="ctr" latinLnBrk="0" hangingPunct="1"/>
                      <a:r>
                        <a:rPr lang="en-IN" sz="1400" b="0" i="0" u="none" strike="noStrike" kern="1200" dirty="0">
                          <a:solidFill>
                            <a:schemeClr val="tx1"/>
                          </a:solidFill>
                          <a:effectLst/>
                          <a:latin typeface="+mj-lt"/>
                          <a:ea typeface="+mn-ea"/>
                          <a:cs typeface="+mn-cs"/>
                        </a:rPr>
                        <a:t>$4.45</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43</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4</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4.21</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39</a:t>
                      </a:r>
                    </a:p>
                  </a:txBody>
                  <a:tcPr marL="9525" marR="9525" marT="57150" marB="57150" anchor="ctr"/>
                </a:tc>
                <a:extLst>
                  <a:ext uri="{0D108BD9-81ED-4DB2-BD59-A6C34878D82A}">
                    <a16:rowId xmlns:a16="http://schemas.microsoft.com/office/drawing/2014/main" val="2051869466"/>
                  </a:ext>
                </a:extLst>
              </a:tr>
              <a:tr h="448352">
                <a:tc>
                  <a:txBody>
                    <a:bodyPr/>
                    <a:lstStyle/>
                    <a:p>
                      <a:pPr marL="0" algn="ctr" defTabSz="914400" rtl="0" eaLnBrk="1" latinLnBrk="0" hangingPunct="1"/>
                      <a:r>
                        <a:rPr lang="en-US" sz="1400" kern="1200" dirty="0">
                          <a:solidFill>
                            <a:schemeClr val="tx1"/>
                          </a:solidFill>
                          <a:latin typeface="+mj-lt"/>
                          <a:ea typeface="+mn-ea"/>
                          <a:cs typeface="+mn-cs"/>
                        </a:rPr>
                        <a:t>6</a:t>
                      </a:r>
                      <a:endParaRPr lang="en-IN" sz="1400" kern="1200" dirty="0">
                        <a:solidFill>
                          <a:schemeClr val="tx1"/>
                        </a:solidFill>
                        <a:latin typeface="+mj-lt"/>
                        <a:ea typeface="+mn-ea"/>
                        <a:cs typeface="+mn-cs"/>
                      </a:endParaRPr>
                    </a:p>
                  </a:txBody>
                  <a:tcPr anchor="ctr"/>
                </a:tc>
                <a:tc>
                  <a:txBody>
                    <a:bodyPr/>
                    <a:lstStyle/>
                    <a:p>
                      <a:pPr marL="0" algn="ctr" defTabSz="914400" rtl="0" eaLnBrk="1" fontAlgn="ctr" latinLnBrk="0" hangingPunct="1"/>
                      <a:r>
                        <a:rPr lang="en-IN" sz="1400" kern="1200" dirty="0">
                          <a:solidFill>
                            <a:schemeClr val="tx1"/>
                          </a:solidFill>
                          <a:latin typeface="+mj-lt"/>
                          <a:ea typeface="+mn-ea"/>
                          <a:cs typeface="+mn-cs"/>
                        </a:rPr>
                        <a:t>HSBC</a:t>
                      </a:r>
                    </a:p>
                  </a:txBody>
                  <a:tcPr marL="9525" marR="9525" marT="57150" marB="57150" anchor="ctr"/>
                </a:tc>
                <a:tc>
                  <a:txBody>
                    <a:bodyPr/>
                    <a:lstStyle/>
                    <a:p>
                      <a:pPr marL="0" algn="ctr" defTabSz="914400" rtl="0" eaLnBrk="1" fontAlgn="ctr" latinLnBrk="0" hangingPunct="1"/>
                      <a:r>
                        <a:rPr lang="en-IN" sz="1400" b="0" i="0" u="none" strike="noStrike" kern="1200" dirty="0">
                          <a:solidFill>
                            <a:schemeClr val="tx1"/>
                          </a:solidFill>
                          <a:effectLst/>
                          <a:latin typeface="+mj-lt"/>
                          <a:ea typeface="+mn-ea"/>
                          <a:cs typeface="+mn-cs"/>
                        </a:rPr>
                        <a:t>$3.66</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22</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13</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2.52</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17</a:t>
                      </a:r>
                    </a:p>
                  </a:txBody>
                  <a:tcPr marL="9525" marR="9525" marT="57150" marB="57150" anchor="ctr"/>
                </a:tc>
                <a:extLst>
                  <a:ext uri="{0D108BD9-81ED-4DB2-BD59-A6C34878D82A}">
                    <a16:rowId xmlns:a16="http://schemas.microsoft.com/office/drawing/2014/main" val="2170681454"/>
                  </a:ext>
                </a:extLst>
              </a:tr>
              <a:tr h="448352">
                <a:tc>
                  <a:txBody>
                    <a:bodyPr/>
                    <a:lstStyle/>
                    <a:p>
                      <a:pPr marL="0" algn="ctr" defTabSz="914400" rtl="0" eaLnBrk="1" latinLnBrk="0" hangingPunct="1"/>
                      <a:r>
                        <a:rPr lang="en-US" sz="1400" kern="1200" dirty="0">
                          <a:solidFill>
                            <a:schemeClr val="tx1"/>
                          </a:solidFill>
                          <a:latin typeface="+mj-lt"/>
                          <a:ea typeface="+mn-ea"/>
                          <a:cs typeface="+mn-cs"/>
                        </a:rPr>
                        <a:t>7</a:t>
                      </a:r>
                      <a:endParaRPr lang="en-IN" sz="1400" kern="1200" dirty="0">
                        <a:solidFill>
                          <a:schemeClr val="tx1"/>
                        </a:solidFill>
                        <a:latin typeface="+mj-lt"/>
                        <a:ea typeface="+mn-ea"/>
                        <a:cs typeface="+mn-cs"/>
                      </a:endParaRPr>
                    </a:p>
                  </a:txBody>
                  <a:tcPr anchor="ctr"/>
                </a:tc>
                <a:tc>
                  <a:txBody>
                    <a:bodyPr/>
                    <a:lstStyle/>
                    <a:p>
                      <a:pPr marL="0" algn="ctr" defTabSz="914400" rtl="0" eaLnBrk="1" fontAlgn="ctr" latinLnBrk="0" hangingPunct="1"/>
                      <a:r>
                        <a:rPr lang="en-IN" sz="1400" kern="1200" dirty="0">
                          <a:solidFill>
                            <a:schemeClr val="tx1"/>
                          </a:solidFill>
                          <a:latin typeface="+mj-lt"/>
                          <a:ea typeface="+mn-ea"/>
                          <a:cs typeface="+mn-cs"/>
                        </a:rPr>
                        <a:t>Cantor Fitzgerald &amp; Co</a:t>
                      </a:r>
                    </a:p>
                  </a:txBody>
                  <a:tcPr marL="9525" marR="9525" marT="57150" marB="57150" anchor="ctr"/>
                </a:tc>
                <a:tc>
                  <a:txBody>
                    <a:bodyPr/>
                    <a:lstStyle/>
                    <a:p>
                      <a:pPr marL="0" algn="ctr" defTabSz="914400" rtl="0" eaLnBrk="1" fontAlgn="ctr" latinLnBrk="0" hangingPunct="1"/>
                      <a:r>
                        <a:rPr lang="en-IN" sz="1400" b="0" i="0" u="none" strike="noStrike" kern="1200" dirty="0">
                          <a:solidFill>
                            <a:schemeClr val="tx1"/>
                          </a:solidFill>
                          <a:effectLst/>
                          <a:latin typeface="+mj-lt"/>
                          <a:ea typeface="+mn-ea"/>
                          <a:cs typeface="+mn-cs"/>
                        </a:rPr>
                        <a:t>$3.30</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19</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42</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0.64</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5</a:t>
                      </a:r>
                    </a:p>
                  </a:txBody>
                  <a:tcPr marL="9525" marR="9525" marT="57150" marB="57150" anchor="ctr"/>
                </a:tc>
                <a:extLst>
                  <a:ext uri="{0D108BD9-81ED-4DB2-BD59-A6C34878D82A}">
                    <a16:rowId xmlns:a16="http://schemas.microsoft.com/office/drawing/2014/main" val="2326422790"/>
                  </a:ext>
                </a:extLst>
              </a:tr>
              <a:tr h="448352">
                <a:tc>
                  <a:txBody>
                    <a:bodyPr/>
                    <a:lstStyle/>
                    <a:p>
                      <a:pPr marL="0" algn="ctr" defTabSz="914400" rtl="0" eaLnBrk="1" latinLnBrk="0" hangingPunct="1"/>
                      <a:r>
                        <a:rPr lang="en-US" sz="1400" kern="1200" dirty="0">
                          <a:solidFill>
                            <a:schemeClr val="tx1"/>
                          </a:solidFill>
                          <a:latin typeface="+mj-lt"/>
                          <a:ea typeface="+mn-ea"/>
                          <a:cs typeface="+mn-cs"/>
                        </a:rPr>
                        <a:t>8</a:t>
                      </a:r>
                      <a:endParaRPr lang="en-IN" sz="1400" kern="1200" dirty="0">
                        <a:solidFill>
                          <a:schemeClr val="tx1"/>
                        </a:solidFill>
                        <a:latin typeface="+mj-lt"/>
                        <a:ea typeface="+mn-ea"/>
                        <a:cs typeface="+mn-cs"/>
                      </a:endParaRPr>
                    </a:p>
                  </a:txBody>
                  <a:tcPr anchor="ctr"/>
                </a:tc>
                <a:tc>
                  <a:txBody>
                    <a:bodyPr/>
                    <a:lstStyle/>
                    <a:p>
                      <a:pPr marL="0" algn="ctr" defTabSz="914400" rtl="0" eaLnBrk="1" fontAlgn="ctr" latinLnBrk="0" hangingPunct="1"/>
                      <a:r>
                        <a:rPr lang="en-IN" sz="1400" kern="1200" dirty="0">
                          <a:solidFill>
                            <a:schemeClr val="tx1"/>
                          </a:solidFill>
                          <a:latin typeface="+mj-lt"/>
                          <a:ea typeface="+mn-ea"/>
                          <a:cs typeface="+mn-cs"/>
                        </a:rPr>
                        <a:t>UBS</a:t>
                      </a:r>
                    </a:p>
                  </a:txBody>
                  <a:tcPr marL="9525" marR="9525" marT="57150" marB="57150" anchor="ctr"/>
                </a:tc>
                <a:tc>
                  <a:txBody>
                    <a:bodyPr/>
                    <a:lstStyle/>
                    <a:p>
                      <a:pPr marL="0" algn="ctr" defTabSz="914400" rtl="0" eaLnBrk="1" fontAlgn="ctr" latinLnBrk="0" hangingPunct="1"/>
                      <a:r>
                        <a:rPr lang="en-IN" sz="1400" b="0" i="0" u="none" strike="noStrike" kern="1200" dirty="0">
                          <a:solidFill>
                            <a:schemeClr val="tx1"/>
                          </a:solidFill>
                          <a:effectLst/>
                          <a:latin typeface="+mj-lt"/>
                          <a:ea typeface="+mn-ea"/>
                          <a:cs typeface="+mn-cs"/>
                        </a:rPr>
                        <a:t>$3.16</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29</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9</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2.83</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25</a:t>
                      </a:r>
                    </a:p>
                  </a:txBody>
                  <a:tcPr marL="9525" marR="9525" marT="57150" marB="57150" anchor="ctr"/>
                </a:tc>
                <a:extLst>
                  <a:ext uri="{0D108BD9-81ED-4DB2-BD59-A6C34878D82A}">
                    <a16:rowId xmlns:a16="http://schemas.microsoft.com/office/drawing/2014/main" val="4023977671"/>
                  </a:ext>
                </a:extLst>
              </a:tr>
              <a:tr h="448352">
                <a:tc>
                  <a:txBody>
                    <a:bodyPr/>
                    <a:lstStyle/>
                    <a:p>
                      <a:pPr marL="0" algn="ctr" defTabSz="914400" rtl="0" eaLnBrk="1" latinLnBrk="0" hangingPunct="1"/>
                      <a:r>
                        <a:rPr lang="en-US" sz="1400" kern="1200" dirty="0">
                          <a:solidFill>
                            <a:schemeClr val="tx1"/>
                          </a:solidFill>
                          <a:latin typeface="+mj-lt"/>
                          <a:ea typeface="+mn-ea"/>
                          <a:cs typeface="+mn-cs"/>
                        </a:rPr>
                        <a:t>9</a:t>
                      </a:r>
                      <a:endParaRPr lang="en-IN" sz="1400" kern="1200" dirty="0">
                        <a:solidFill>
                          <a:schemeClr val="tx1"/>
                        </a:solidFill>
                        <a:latin typeface="+mj-lt"/>
                        <a:ea typeface="+mn-ea"/>
                        <a:cs typeface="+mn-cs"/>
                      </a:endParaRPr>
                    </a:p>
                  </a:txBody>
                  <a:tcPr anchor="ctr"/>
                </a:tc>
                <a:tc>
                  <a:txBody>
                    <a:bodyPr/>
                    <a:lstStyle/>
                    <a:p>
                      <a:pPr marL="0" algn="ctr" defTabSz="914400" rtl="0" eaLnBrk="1" fontAlgn="ctr" latinLnBrk="0" hangingPunct="1"/>
                      <a:r>
                        <a:rPr lang="en-IN" sz="1400" kern="1200" dirty="0">
                          <a:solidFill>
                            <a:schemeClr val="tx1"/>
                          </a:solidFill>
                          <a:latin typeface="+mj-lt"/>
                          <a:ea typeface="+mn-ea"/>
                          <a:cs typeface="+mn-cs"/>
                        </a:rPr>
                        <a:t>Jefferies</a:t>
                      </a:r>
                    </a:p>
                  </a:txBody>
                  <a:tcPr marL="9525" marR="9525" marT="57150" marB="57150" anchor="ctr"/>
                </a:tc>
                <a:tc>
                  <a:txBody>
                    <a:bodyPr/>
                    <a:lstStyle/>
                    <a:p>
                      <a:pPr marL="0" algn="ctr" defTabSz="914400" rtl="0" eaLnBrk="1" fontAlgn="ctr" latinLnBrk="0" hangingPunct="1"/>
                      <a:r>
                        <a:rPr lang="en-IN" sz="1400" b="0" i="0" u="none" strike="noStrike" kern="1200" dirty="0">
                          <a:solidFill>
                            <a:schemeClr val="tx1"/>
                          </a:solidFill>
                          <a:effectLst/>
                          <a:latin typeface="+mj-lt"/>
                          <a:ea typeface="+mn-ea"/>
                          <a:cs typeface="+mn-cs"/>
                        </a:rPr>
                        <a:t>$3.01</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36</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15</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2.08</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19</a:t>
                      </a:r>
                    </a:p>
                  </a:txBody>
                  <a:tcPr marL="9525" marR="9525" marT="57150" marB="57150" anchor="ctr"/>
                </a:tc>
                <a:extLst>
                  <a:ext uri="{0D108BD9-81ED-4DB2-BD59-A6C34878D82A}">
                    <a16:rowId xmlns:a16="http://schemas.microsoft.com/office/drawing/2014/main" val="2634531690"/>
                  </a:ext>
                </a:extLst>
              </a:tr>
              <a:tr h="448352">
                <a:tc>
                  <a:txBody>
                    <a:bodyPr/>
                    <a:lstStyle/>
                    <a:p>
                      <a:pPr marL="0" algn="ctr" defTabSz="914400" rtl="0" eaLnBrk="1" latinLnBrk="0" hangingPunct="1"/>
                      <a:r>
                        <a:rPr lang="en-US" sz="1400" kern="1200" dirty="0">
                          <a:solidFill>
                            <a:schemeClr val="tx1"/>
                          </a:solidFill>
                          <a:latin typeface="+mj-lt"/>
                          <a:ea typeface="+mn-ea"/>
                          <a:cs typeface="+mn-cs"/>
                        </a:rPr>
                        <a:t>10</a:t>
                      </a:r>
                      <a:endParaRPr lang="en-IN" sz="1400" kern="1200" dirty="0">
                        <a:solidFill>
                          <a:schemeClr val="tx1"/>
                        </a:solidFill>
                        <a:latin typeface="+mj-lt"/>
                        <a:ea typeface="+mn-ea"/>
                        <a:cs typeface="+mn-cs"/>
                      </a:endParaRPr>
                    </a:p>
                  </a:txBody>
                  <a:tcPr anchor="ctr"/>
                </a:tc>
                <a:tc>
                  <a:txBody>
                    <a:bodyPr/>
                    <a:lstStyle/>
                    <a:p>
                      <a:pPr marL="0" algn="ctr" defTabSz="914400" rtl="0" eaLnBrk="1" fontAlgn="ctr" latinLnBrk="0" hangingPunct="1"/>
                      <a:r>
                        <a:rPr lang="en-IN" sz="1400" kern="1200" dirty="0">
                          <a:solidFill>
                            <a:schemeClr val="tx1"/>
                          </a:solidFill>
                          <a:latin typeface="+mj-lt"/>
                          <a:ea typeface="+mn-ea"/>
                          <a:cs typeface="+mn-cs"/>
                        </a:rPr>
                        <a:t>Deutsche Bank</a:t>
                      </a:r>
                    </a:p>
                  </a:txBody>
                  <a:tcPr marL="9525" marR="9525" marT="57150" marB="57150" anchor="ctr"/>
                </a:tc>
                <a:tc>
                  <a:txBody>
                    <a:bodyPr/>
                    <a:lstStyle/>
                    <a:p>
                      <a:pPr marL="0" algn="ctr" defTabSz="914400" rtl="0" eaLnBrk="1" fontAlgn="ctr" latinLnBrk="0" hangingPunct="1"/>
                      <a:r>
                        <a:rPr lang="en-IN" sz="1400" b="0" i="0" u="none" strike="noStrike" kern="1200" dirty="0">
                          <a:solidFill>
                            <a:schemeClr val="tx1"/>
                          </a:solidFill>
                          <a:effectLst/>
                          <a:latin typeface="+mj-lt"/>
                          <a:ea typeface="+mn-ea"/>
                          <a:cs typeface="+mn-cs"/>
                        </a:rPr>
                        <a:t>$2.15</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23</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17</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1.79</a:t>
                      </a:r>
                    </a:p>
                  </a:txBody>
                  <a:tcPr marL="9525" marR="9525" marT="57150" marB="57150" anchor="ctr"/>
                </a:tc>
                <a:tc>
                  <a:txBody>
                    <a:bodyPr/>
                    <a:lstStyle/>
                    <a:p>
                      <a:pPr marL="0" algn="ctr" defTabSz="914400" rtl="0" eaLnBrk="1" fontAlgn="ctr" latinLnBrk="0" hangingPunct="1"/>
                      <a:r>
                        <a:rPr lang="en-IN" sz="1400" kern="1200" dirty="0">
                          <a:solidFill>
                            <a:schemeClr val="tx1"/>
                          </a:solidFill>
                          <a:latin typeface="+mj-lt"/>
                          <a:ea typeface="+mn-ea"/>
                          <a:cs typeface="+mn-cs"/>
                        </a:rPr>
                        <a:t>12</a:t>
                      </a:r>
                    </a:p>
                  </a:txBody>
                  <a:tcPr marL="9525" marR="9525" marT="57150" marB="57150" anchor="ctr"/>
                </a:tc>
                <a:extLst>
                  <a:ext uri="{0D108BD9-81ED-4DB2-BD59-A6C34878D82A}">
                    <a16:rowId xmlns:a16="http://schemas.microsoft.com/office/drawing/2014/main" val="414750477"/>
                  </a:ext>
                </a:extLst>
              </a:tr>
            </a:tbl>
          </a:graphicData>
        </a:graphic>
      </p:graphicFrame>
      <p:sp>
        <p:nvSpPr>
          <p:cNvPr id="40" name="Slide Number Placeholder 39">
            <a:extLst>
              <a:ext uri="{FF2B5EF4-FFF2-40B4-BE49-F238E27FC236}">
                <a16:creationId xmlns:a16="http://schemas.microsoft.com/office/drawing/2014/main" id="{C7532BC8-4745-4BB2-8C81-6C639A6284C4}"/>
              </a:ext>
            </a:extLst>
          </p:cNvPr>
          <p:cNvSpPr>
            <a:spLocks noGrp="1"/>
          </p:cNvSpPr>
          <p:nvPr>
            <p:ph type="sldNum" sz="quarter" idx="17"/>
          </p:nvPr>
        </p:nvSpPr>
        <p:spPr/>
        <p:txBody>
          <a:bodyPr/>
          <a:lstStyle/>
          <a:p>
            <a:fld id="{2604F1CA-F590-4AD7-82C4-33C5478F726E}" type="slidenum">
              <a:rPr lang="en-GB" smtClean="0"/>
              <a:pPr/>
              <a:t>9</a:t>
            </a:fld>
            <a:endParaRPr lang="en-GB" dirty="0"/>
          </a:p>
        </p:txBody>
      </p:sp>
      <p:sp>
        <p:nvSpPr>
          <p:cNvPr id="7" name="Title 6">
            <a:extLst>
              <a:ext uri="{FF2B5EF4-FFF2-40B4-BE49-F238E27FC236}">
                <a16:creationId xmlns:a16="http://schemas.microsoft.com/office/drawing/2014/main" id="{3147817E-AB33-489B-9DF3-A9955C51574D}"/>
              </a:ext>
            </a:extLst>
          </p:cNvPr>
          <p:cNvSpPr>
            <a:spLocks noGrp="1"/>
          </p:cNvSpPr>
          <p:nvPr>
            <p:ph type="title"/>
          </p:nvPr>
        </p:nvSpPr>
        <p:spPr/>
        <p:txBody>
          <a:bodyPr/>
          <a:lstStyle/>
          <a:p>
            <a:r>
              <a:rPr lang="en-US" dirty="0"/>
              <a:t>Global IPOs Bookrunner Ranking</a:t>
            </a:r>
          </a:p>
        </p:txBody>
      </p:sp>
      <p:cxnSp>
        <p:nvCxnSpPr>
          <p:cNvPr id="10" name="Straight Connector 9">
            <a:extLst>
              <a:ext uri="{FF2B5EF4-FFF2-40B4-BE49-F238E27FC236}">
                <a16:creationId xmlns:a16="http://schemas.microsoft.com/office/drawing/2014/main" id="{33509BAD-9C52-4E58-9DFD-366944D30DB4}"/>
              </a:ext>
            </a:extLst>
          </p:cNvPr>
          <p:cNvCxnSpPr>
            <a:cxnSpLocks/>
          </p:cNvCxnSpPr>
          <p:nvPr/>
        </p:nvCxnSpPr>
        <p:spPr>
          <a:xfrm>
            <a:off x="5182259" y="1334207"/>
            <a:ext cx="369418"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1932D404-5D51-4EE0-8968-DFAEBFE6A23E}"/>
              </a:ext>
            </a:extLst>
          </p:cNvPr>
          <p:cNvSpPr>
            <a:spLocks/>
          </p:cNvSpPr>
          <p:nvPr/>
        </p:nvSpPr>
        <p:spPr>
          <a:xfrm>
            <a:off x="3653332" y="1409699"/>
            <a:ext cx="3427272" cy="4983647"/>
          </a:xfrm>
          <a:prstGeom prst="rect">
            <a:avLst/>
          </a:prstGeom>
          <a:noFill/>
          <a:ln w="9525">
            <a:solidFill>
              <a:schemeClr val="bg2"/>
            </a:solidFill>
            <a:prstDash val="solid"/>
            <a:miter lim="800000"/>
            <a:headEnd/>
            <a:tailEnd/>
          </a:ln>
          <a:effectLst/>
        </p:spPr>
        <p:txBody>
          <a:bodyPr vert="horz" lIns="61595" tIns="91440" rIns="61595" bIns="61595" rtlCol="0" anchor="t">
            <a:noAutofit/>
          </a:bodyPr>
          <a:lstStyle/>
          <a:p>
            <a:pPr defTabSz="782269">
              <a:lnSpc>
                <a:spcPct val="120000"/>
              </a:lnSpc>
              <a:spcAft>
                <a:spcPts val="400"/>
              </a:spcAft>
              <a:buClr>
                <a:schemeClr val="tx1"/>
              </a:buClr>
            </a:pPr>
            <a:endParaRPr lang="en-IN" sz="1600" kern="0" dirty="0">
              <a:solidFill>
                <a:schemeClr val="tx1"/>
              </a:solidFill>
              <a:latin typeface="+mj-lt"/>
              <a:ea typeface="Verdana" pitchFamily="34" charset="0"/>
            </a:endParaRPr>
          </a:p>
        </p:txBody>
      </p:sp>
      <p:sp>
        <p:nvSpPr>
          <p:cNvPr id="13" name="Rectangle 12">
            <a:extLst>
              <a:ext uri="{FF2B5EF4-FFF2-40B4-BE49-F238E27FC236}">
                <a16:creationId xmlns:a16="http://schemas.microsoft.com/office/drawing/2014/main" id="{C08E4BD3-7B26-42E1-9A6A-83F5496B290D}"/>
              </a:ext>
            </a:extLst>
          </p:cNvPr>
          <p:cNvSpPr>
            <a:spLocks/>
          </p:cNvSpPr>
          <p:nvPr/>
        </p:nvSpPr>
        <p:spPr>
          <a:xfrm>
            <a:off x="7871560" y="1409699"/>
            <a:ext cx="3393339" cy="4983647"/>
          </a:xfrm>
          <a:prstGeom prst="rect">
            <a:avLst/>
          </a:prstGeom>
          <a:noFill/>
          <a:ln w="9525">
            <a:solidFill>
              <a:schemeClr val="bg2"/>
            </a:solidFill>
            <a:prstDash val="solid"/>
            <a:miter lim="800000"/>
            <a:headEnd/>
            <a:tailEnd/>
          </a:ln>
          <a:effectLst/>
        </p:spPr>
        <p:txBody>
          <a:bodyPr vert="horz" lIns="61595" tIns="91440" rIns="61595" bIns="61595" rtlCol="0" anchor="t">
            <a:noAutofit/>
          </a:bodyPr>
          <a:lstStyle/>
          <a:p>
            <a:pPr defTabSz="782269">
              <a:lnSpc>
                <a:spcPct val="120000"/>
              </a:lnSpc>
              <a:spcAft>
                <a:spcPts val="400"/>
              </a:spcAft>
              <a:buClr>
                <a:schemeClr val="tx1"/>
              </a:buClr>
            </a:pPr>
            <a:endParaRPr lang="en-IN" sz="1600" kern="0" dirty="0">
              <a:solidFill>
                <a:schemeClr val="tx1"/>
              </a:solidFill>
              <a:latin typeface="+mj-lt"/>
              <a:ea typeface="Verdana" pitchFamily="34" charset="0"/>
            </a:endParaRPr>
          </a:p>
        </p:txBody>
      </p:sp>
      <p:cxnSp>
        <p:nvCxnSpPr>
          <p:cNvPr id="11" name="Straight Connector 10">
            <a:extLst>
              <a:ext uri="{FF2B5EF4-FFF2-40B4-BE49-F238E27FC236}">
                <a16:creationId xmlns:a16="http://schemas.microsoft.com/office/drawing/2014/main" id="{1E3ACF78-19B2-40C8-B5E3-BBE871EFF859}"/>
              </a:ext>
            </a:extLst>
          </p:cNvPr>
          <p:cNvCxnSpPr>
            <a:cxnSpLocks/>
          </p:cNvCxnSpPr>
          <p:nvPr/>
        </p:nvCxnSpPr>
        <p:spPr>
          <a:xfrm flipH="1">
            <a:off x="9397439" y="1334207"/>
            <a:ext cx="369418" cy="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A4B58694-E1E3-4125-A697-6CCC636BFA2A}"/>
              </a:ext>
            </a:extLst>
          </p:cNvPr>
          <p:cNvSpPr txBox="1"/>
          <p:nvPr/>
        </p:nvSpPr>
        <p:spPr>
          <a:xfrm>
            <a:off x="571500" y="6543674"/>
            <a:ext cx="8788400" cy="161925"/>
          </a:xfrm>
          <a:prstGeom prst="rect">
            <a:avLst/>
          </a:prstGeom>
          <a:noFill/>
        </p:spPr>
        <p:txBody>
          <a:bodyPr wrap="square" lIns="45720" rtlCol="0" anchor="ctr">
            <a:noAutofit/>
          </a:bodyPr>
          <a:lstStyle/>
          <a:p>
            <a:pPr algn="l">
              <a:lnSpc>
                <a:spcPct val="90000"/>
              </a:lnSpc>
              <a:spcBef>
                <a:spcPts val="800"/>
              </a:spcBef>
              <a:buClr>
                <a:srgbClr val="E0044E"/>
              </a:buClr>
            </a:pPr>
            <a:r>
              <a:rPr lang="en-US" sz="900" dirty="0">
                <a:latin typeface="Segoe UI" panose="020B0502040204020203" pitchFamily="34" charset="0"/>
                <a:cs typeface="Segoe UI" panose="020B0502040204020203" pitchFamily="34" charset="0"/>
              </a:rPr>
              <a:t>Source: Press</a:t>
            </a:r>
            <a:endParaRPr lang="en-IN" sz="9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26661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OFFICE THEME" val="9HZAeM0A"/>
  <p:tag name="ARTICULATE_PROJECT_OPEN" val="0"/>
  <p:tag name="ARTICULATE_SLIDE_COUNT" val="9"/>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wYZ9uxqfGUWNxrWazh_T_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r8X2pqpO02CVTVYdglTG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KL7dHkH30.YaM_5dhSO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YkKUKWa2UKaDJPar2nwfA"/>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Custom 18">
      <a:dk1>
        <a:srgbClr val="414042"/>
      </a:dk1>
      <a:lt1>
        <a:srgbClr val="FFFFFF"/>
      </a:lt1>
      <a:dk2>
        <a:srgbClr val="E0044E"/>
      </a:dk2>
      <a:lt2>
        <a:srgbClr val="43224D"/>
      </a:lt2>
      <a:accent1>
        <a:srgbClr val="786EAA"/>
      </a:accent1>
      <a:accent2>
        <a:srgbClr val="3265AA"/>
      </a:accent2>
      <a:accent3>
        <a:srgbClr val="4CB4E7"/>
      </a:accent3>
      <a:accent4>
        <a:srgbClr val="993684"/>
      </a:accent4>
      <a:accent5>
        <a:srgbClr val="A297B4"/>
      </a:accent5>
      <a:accent6>
        <a:srgbClr val="4D80AF"/>
      </a:accent6>
      <a:hlink>
        <a:srgbClr val="AA274F"/>
      </a:hlink>
      <a:folHlink>
        <a:srgbClr val="954F72"/>
      </a:folHlink>
    </a:clrScheme>
    <a:fontScheme name="Custom 1">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none" rtlCol="0">
        <a:spAutoFit/>
      </a:bodyPr>
      <a:lstStyle>
        <a:defPPr algn="l">
          <a:lnSpc>
            <a:spcPct val="90000"/>
          </a:lnSpc>
          <a:spcBef>
            <a:spcPts val="800"/>
          </a:spcBef>
          <a:buClr>
            <a:srgbClr val="E0044E"/>
          </a:buClr>
          <a:defRPr sz="1600" dirty="0" err="1" smtClean="0"/>
        </a:defPPr>
      </a:lstStyle>
    </a:txDef>
  </a:objectDefaults>
  <a:extraClrSchemeLst/>
  <a:extLst>
    <a:ext uri="{05A4C25C-085E-4340-85A3-A5531E510DB2}">
      <thm15:themeFamily xmlns:thm15="http://schemas.microsoft.com/office/thememl/2012/main" name="Evalueserve Powerpoint Template 04" id="{020C719E-F4FB-4995-B1E7-D82B4596F5F1}" vid="{35711192-66DD-4798-9ABD-3D2E2B3B652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E7FA39C95688340B78EF5A92F18E689" ma:contentTypeVersion="12" ma:contentTypeDescription="Create a new document." ma:contentTypeScope="" ma:versionID="93d5277494259916130e5284f023ff9d">
  <xsd:schema xmlns:xsd="http://www.w3.org/2001/XMLSchema" xmlns:xs="http://www.w3.org/2001/XMLSchema" xmlns:p="http://schemas.microsoft.com/office/2006/metadata/properties" xmlns:ns3="7563a683-9d53-4557-b1e7-5ebfadc22b5a" xmlns:ns4="1399b8ac-30da-4c22-a80b-579a5186b133" targetNamespace="http://schemas.microsoft.com/office/2006/metadata/properties" ma:root="true" ma:fieldsID="2daeb8f229171872e65a2b02dd997a13" ns3:_="" ns4:_="">
    <xsd:import namespace="7563a683-9d53-4557-b1e7-5ebfadc22b5a"/>
    <xsd:import namespace="1399b8ac-30da-4c22-a80b-579a5186b133"/>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63a683-9d53-4557-b1e7-5ebfadc22b5a"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399b8ac-30da-4c22-a80b-579a5186b13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6924814-BD7F-49F2-93CB-CCE798BABE3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563a683-9d53-4557-b1e7-5ebfadc22b5a"/>
    <ds:schemaRef ds:uri="1399b8ac-30da-4c22-a80b-579a5186b13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41AA570-F3AC-4DB7-9994-899B05E9329D}">
  <ds:schemaRefs>
    <ds:schemaRef ds:uri="http://schemas.microsoft.com/sharepoint/v3/contenttype/forms"/>
  </ds:schemaRefs>
</ds:datastoreItem>
</file>

<file path=customXml/itemProps3.xml><?xml version="1.0" encoding="utf-8"?>
<ds:datastoreItem xmlns:ds="http://schemas.openxmlformats.org/officeDocument/2006/customXml" ds:itemID="{5F9BB0FC-876D-48FD-9C18-2987A830FE5F}">
  <ds:schemaRefs>
    <ds:schemaRef ds:uri="http://purl.org/dc/elements/1.1/"/>
    <ds:schemaRef ds:uri="7563a683-9d53-4557-b1e7-5ebfadc22b5a"/>
    <ds:schemaRef ds:uri="http://purl.org/dc/terms/"/>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1399b8ac-30da-4c22-a80b-579a5186b133"/>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0b3ab16f-2b80-4aea-bde8-77b48c8d3723}" enabled="1" method="Standard" siteId="{0483ae51-a627-466e-a7dd-de2ac7e1238e}" contentBits="2" removed="0"/>
</clbl:labelList>
</file>

<file path=docProps/app.xml><?xml version="1.0" encoding="utf-8"?>
<Properties xmlns="http://schemas.openxmlformats.org/officeDocument/2006/extended-properties" xmlns:vt="http://schemas.openxmlformats.org/officeDocument/2006/docPropsVTypes">
  <Template>BETA TESTING Evalueserve Powerpoint Template</Template>
  <TotalTime>16751</TotalTime>
  <Words>3037</Words>
  <Application>Microsoft Office PowerPoint</Application>
  <PresentationFormat>Widescreen</PresentationFormat>
  <Paragraphs>325</Paragraphs>
  <Slides>13</Slides>
  <Notes>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3</vt:i4>
      </vt:variant>
    </vt:vector>
  </HeadingPairs>
  <TitlesOfParts>
    <vt:vector size="18" baseType="lpstr">
      <vt:lpstr>Arial</vt:lpstr>
      <vt:lpstr>Calibri</vt:lpstr>
      <vt:lpstr>Courier New</vt:lpstr>
      <vt:lpstr>Segoe UI</vt:lpstr>
      <vt:lpstr>Office Theme</vt:lpstr>
      <vt:lpstr>PowerPoint Presentation</vt:lpstr>
      <vt:lpstr>Global IPO Market Trends: A Roller Coaster Journey from Peak to Recovery</vt:lpstr>
      <vt:lpstr>Themes / Factors Impacting 2024 Global IPO Market</vt:lpstr>
      <vt:lpstr>Surge in EMEIA IPO Activity: A Beacon Amid Global Uncertainties</vt:lpstr>
      <vt:lpstr>Global IPO Market by Geography – Gross Proceeds ($Bn) and Deal Volume</vt:lpstr>
      <vt:lpstr>Global IPO Activity by Sector – Gross Proceeds ($Bn)</vt:lpstr>
      <vt:lpstr>Global IPO Activity by Sector – Deal Volume</vt:lpstr>
      <vt:lpstr>Top 10 Largest IPOs 2024 (Global)</vt:lpstr>
      <vt:lpstr>Global IPOs Bookrunner Ranking</vt:lpstr>
      <vt:lpstr>Global IPO Outlook for 2025</vt:lpstr>
      <vt:lpstr>Expert Views</vt:lpstr>
      <vt:lpstr>About the Author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dhurima Majumdar</dc:creator>
  <cp:lastModifiedBy>Mallika Grover</cp:lastModifiedBy>
  <cp:revision>1115</cp:revision>
  <dcterms:created xsi:type="dcterms:W3CDTF">2022-02-07T07:25:08Z</dcterms:created>
  <dcterms:modified xsi:type="dcterms:W3CDTF">2025-02-13T11:3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E7FA39C95688340B78EF5A92F18E689</vt:lpwstr>
  </property>
  <property fmtid="{D5CDD505-2E9C-101B-9397-08002B2CF9AE}" pid="3" name="ArticulateGUID">
    <vt:lpwstr>E6070F01-EA0A-4E05-B7B5-C48573FC321B</vt:lpwstr>
  </property>
  <property fmtid="{D5CDD505-2E9C-101B-9397-08002B2CF9AE}" pid="4" name="ArticulatePath">
    <vt:lpwstr>https://brightcarbon.sharepoint.com/sites/Intranet/Projects/ABCD/Contrast &amp; Co/CONC 6900 - Evalueserve PowerPoint Template/Evalueserve PowerPoint Template 02</vt:lpwstr>
  </property>
  <property fmtid="{D5CDD505-2E9C-101B-9397-08002B2CF9AE}" pid="5" name="_NewReviewCycle">
    <vt:lpwstr/>
  </property>
  <property fmtid="{D5CDD505-2E9C-101B-9397-08002B2CF9AE}" pid="6" name="ClassificationContentMarkingFooterLocations">
    <vt:lpwstr>Office Theme:6</vt:lpwstr>
  </property>
  <property fmtid="{D5CDD505-2E9C-101B-9397-08002B2CF9AE}" pid="7" name="ClassificationContentMarkingFooterText">
    <vt:lpwstr>Sensitivity: Public</vt:lpwstr>
  </property>
</Properties>
</file>